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comments/modernComment_14C_3C06997.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14D_5F5FBCF0.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comments/modernComment_14E_592A1DBC.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comments/modernComment_14B_FA5F0B9E.xml" ContentType="application/vnd.ms-powerpoint.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comments/modernComment_14F_7C288A23.xml" ContentType="application/vnd.ms-powerpoint.comment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comments/modernComment_136_58F87FFE.xml" ContentType="application/vnd.ms-powerpoint.comments+xml"/>
  <Override PartName="/ppt/notesSlides/notesSlide22.xml" ContentType="application/vnd.openxmlformats-officedocument.presentationml.notesSlide+xml"/>
  <Override PartName="/ppt/comments/modernComment_124_1B1E6000.xml" ContentType="application/vnd.ms-powerpoint.comment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3.xml" ContentType="application/vnd.openxmlformats-officedocument.presentationml.notesSlide+xml"/>
  <Override PartName="/ppt/comments/modernComment_133_FE3D15DE.xml" ContentType="application/vnd.ms-powerpoint.comment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4.xml" ContentType="application/vnd.openxmlformats-officedocument.presentationml.notesSlide+xml"/>
  <Override PartName="/ppt/comments/modernComment_125_6C61CB86.xml" ContentType="application/vnd.ms-powerpoint.comment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5.xml" ContentType="application/vnd.openxmlformats-officedocument.presentationml.notesSlide+xml"/>
  <Override PartName="/ppt/comments/modernComment_126_A770F50C.xml" ContentType="application/vnd.ms-powerpoint.comment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6.xml" ContentType="application/vnd.openxmlformats-officedocument.presentationml.notesSlide+xml"/>
  <Override PartName="/ppt/comments/modernComment_128_6D635B61.xml" ContentType="application/vnd.ms-powerpoint.comment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7.xml" ContentType="application/vnd.openxmlformats-officedocument.presentationml.notesSlide+xml"/>
  <Override PartName="/ppt/comments/modernComment_150_F40F7C27.xml" ContentType="application/vnd.ms-powerpoint.comment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comments/modernComment_12C_FF5F6BBD.xml" ContentType="application/vnd.ms-powerpoint.comment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9.xml" ContentType="application/vnd.openxmlformats-officedocument.presentationml.notesSlide+xml"/>
  <Override PartName="/ppt/comments/modernComment_13C_51762742.xml" ContentType="application/vnd.ms-powerpoint.comment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omments/modernComment_11E_66A91B9.xml" ContentType="application/vnd.ms-powerpoint.comment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2.xml" ContentType="application/vnd.openxmlformats-officedocument.presentationml.notesSlide+xml"/>
  <Override PartName="/ppt/comments/modernComment_11F_21E664F7.xml" ContentType="application/vnd.ms-powerpoint.comments+xml"/>
  <Override PartName="/ppt/notesSlides/notesSlide33.xml" ContentType="application/vnd.openxmlformats-officedocument.presentationml.notesSlide+xml"/>
  <Override PartName="/ppt/comments/modernComment_138_3BCF2244.xml" ContentType="application/vnd.ms-powerpoint.comments+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5.xml" ContentType="application/vnd.openxmlformats-officedocument.presentationml.notesSlide+xml"/>
  <Override PartName="/ppt/comments/modernComment_120_D883752E.xml" ContentType="application/vnd.ms-powerpoint.comments+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6.xml" ContentType="application/vnd.openxmlformats-officedocument.presentationml.notesSlide+xml"/>
  <Override PartName="/ppt/comments/modernComment_121_838493ED.xml" ContentType="application/vnd.ms-powerpoint.comments+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7.xml" ContentType="application/vnd.openxmlformats-officedocument.presentationml.notesSlide+xml"/>
  <Override PartName="/ppt/comments/modernComment_13B_A121831A.xml" ContentType="application/vnd.ms-powerpoint.comments+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8.xml" ContentType="application/vnd.openxmlformats-officedocument.presentationml.notesSlide+xml"/>
  <Override PartName="/ppt/comments/modernComment_152_E6D8117C.xml" ContentType="application/vnd.ms-powerpoint.comments+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9.xml" ContentType="application/vnd.openxmlformats-officedocument.presentationml.notesSlide+xml"/>
  <Override PartName="/ppt/comments/modernComment_153_66261EA5.xml" ContentType="application/vnd.ms-powerpoint.comments+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0.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1.xml" ContentType="application/vnd.openxmlformats-officedocument.presentationml.notesSlide+xml"/>
  <Override PartName="/ppt/comments/modernComment_122_4893E1C9.xml" ContentType="application/vnd.ms-powerpoint.comments+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2.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43.xml" ContentType="application/vnd.openxmlformats-officedocument.presentationml.notesSlide+xml"/>
  <Override PartName="/ppt/tags/tag15.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omments/modernComment_157_93680444.xml" ContentType="application/vnd.ms-powerpoint.comments+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46.xml" ContentType="application/vnd.openxmlformats-officedocument.presentationml.notesSlide+xml"/>
  <Override PartName="/ppt/comments/modernComment_158_D9D04F09.xml" ContentType="application/vnd.ms-powerpoint.comments+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47.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48.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tags/tag16.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53.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54.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55.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56.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57.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58.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59.xml" ContentType="application/vnd.openxmlformats-officedocument.presentationml.notesSlide+xml"/>
  <Override PartName="/ppt/comments/modernComment_146_CDA52B4C.xml" ContentType="application/vnd.ms-powerpoint.comments+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tags/tag17.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6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9"/>
    <p:sldMasterId id="2147484229" r:id="rId10"/>
    <p:sldMasterId id="2147484270" r:id="rId11"/>
    <p:sldMasterId id="2147484323" r:id="rId12"/>
    <p:sldMasterId id="2147484368" r:id="rId13"/>
    <p:sldMasterId id="2147484417" r:id="rId14"/>
  </p:sldMasterIdLst>
  <p:notesMasterIdLst>
    <p:notesMasterId r:id="rId81"/>
  </p:notesMasterIdLst>
  <p:handoutMasterIdLst>
    <p:handoutMasterId r:id="rId82"/>
  </p:handoutMasterIdLst>
  <p:sldIdLst>
    <p:sldId id="332" r:id="rId15"/>
    <p:sldId id="277" r:id="rId16"/>
    <p:sldId id="276" r:id="rId17"/>
    <p:sldId id="278" r:id="rId18"/>
    <p:sldId id="2076137324" r:id="rId19"/>
    <p:sldId id="1933" r:id="rId20"/>
    <p:sldId id="1837" r:id="rId21"/>
    <p:sldId id="2076137328" r:id="rId22"/>
    <p:sldId id="2076137329" r:id="rId23"/>
    <p:sldId id="388" r:id="rId24"/>
    <p:sldId id="389" r:id="rId25"/>
    <p:sldId id="390" r:id="rId26"/>
    <p:sldId id="2076137330" r:id="rId27"/>
    <p:sldId id="1694" r:id="rId28"/>
    <p:sldId id="279" r:id="rId29"/>
    <p:sldId id="445" r:id="rId30"/>
    <p:sldId id="333" r:id="rId31"/>
    <p:sldId id="450" r:id="rId32"/>
    <p:sldId id="334" r:id="rId33"/>
    <p:sldId id="331" r:id="rId34"/>
    <p:sldId id="335" r:id="rId35"/>
    <p:sldId id="310" r:id="rId36"/>
    <p:sldId id="292" r:id="rId37"/>
    <p:sldId id="307" r:id="rId38"/>
    <p:sldId id="293" r:id="rId39"/>
    <p:sldId id="294" r:id="rId40"/>
    <p:sldId id="296" r:id="rId41"/>
    <p:sldId id="336" r:id="rId42"/>
    <p:sldId id="300" r:id="rId43"/>
    <p:sldId id="316" r:id="rId44"/>
    <p:sldId id="280" r:id="rId45"/>
    <p:sldId id="286" r:id="rId46"/>
    <p:sldId id="287" r:id="rId47"/>
    <p:sldId id="312" r:id="rId48"/>
    <p:sldId id="313" r:id="rId49"/>
    <p:sldId id="288" r:id="rId50"/>
    <p:sldId id="289" r:id="rId51"/>
    <p:sldId id="315" r:id="rId52"/>
    <p:sldId id="338" r:id="rId53"/>
    <p:sldId id="339" r:id="rId54"/>
    <p:sldId id="341" r:id="rId55"/>
    <p:sldId id="290" r:id="rId56"/>
    <p:sldId id="354" r:id="rId57"/>
    <p:sldId id="337" r:id="rId58"/>
    <p:sldId id="446" r:id="rId59"/>
    <p:sldId id="343" r:id="rId60"/>
    <p:sldId id="344" r:id="rId61"/>
    <p:sldId id="345" r:id="rId62"/>
    <p:sldId id="346" r:id="rId63"/>
    <p:sldId id="347" r:id="rId64"/>
    <p:sldId id="449" r:id="rId65"/>
    <p:sldId id="342" r:id="rId66"/>
    <p:sldId id="448" r:id="rId67"/>
    <p:sldId id="320" r:id="rId68"/>
    <p:sldId id="321" r:id="rId69"/>
    <p:sldId id="322" r:id="rId70"/>
    <p:sldId id="348" r:id="rId71"/>
    <p:sldId id="323" r:id="rId72"/>
    <p:sldId id="325" r:id="rId73"/>
    <p:sldId id="324" r:id="rId74"/>
    <p:sldId id="326" r:id="rId75"/>
    <p:sldId id="328" r:id="rId76"/>
    <p:sldId id="349" r:id="rId77"/>
    <p:sldId id="350" r:id="rId78"/>
    <p:sldId id="447" r:id="rId79"/>
    <p:sldId id="268" r:id="rId8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7B2F46-45D0-6B15-8535-6650CC91931E}" name="Maria del Carmen Vasquez Lamazares" initials="ML" userId="S::carmenv@microsoft.com::09d41e7d-d748-4bc8-8a51-7a8717d71867" providerId="AD"/>
  <p188:author id="{B3A03A83-8476-0708-893D-02B86E8EADE6}" name="Nick Salch" initials="NS" userId="S::nicksalc@microsoft.com::47ab95ae-ac26-4648-966b-37822820099a" providerId="AD"/>
  <p188:author id="{A1A373B1-09CE-2331-5A96-146A126F9862}" name="Simon Facer" initials="SF" userId="S::Sfacer@microsoft.com::1543db97-1a0c-4e06-9be1-d0e92d9d2eb2" providerId="AD"/>
  <p188:author id="{3EAA0BB8-ADED-0607-8649-BECD004EB963}" name="Felipe De Assis" initials="FDA" userId="S::fassis@microsoft.com::fedc4fe9-b909-48c3-b8ca-78d40727f11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2050"/>
    <a:srgbClr val="B4009E"/>
    <a:srgbClr val="00188F"/>
    <a:srgbClr val="008272"/>
    <a:srgbClr val="0078D7"/>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22100E-4198-4389-B419-C7DB7F18029F}" v="2" dt="2020-10-05T23:31:02.686"/>
    <p1510:client id="{87D30D2C-D67C-40E8-5D84-C5D79B26713F}" v="48" dt="2020-08-30T17:32:22.525"/>
    <p1510:client id="{CEF5AC5C-2094-4E11-8F43-216BF2DE75CF}" v="41" dt="2020-08-24T17:48:56.6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072" autoAdjust="0"/>
  </p:normalViewPr>
  <p:slideViewPr>
    <p:cSldViewPr snapToGrid="0">
      <p:cViewPr varScale="1">
        <p:scale>
          <a:sx n="56" d="100"/>
          <a:sy n="56" d="100"/>
        </p:scale>
        <p:origin x="350" y="3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 Target="slides/slide2.xml"/><Relationship Id="rId11" Type="http://schemas.openxmlformats.org/officeDocument/2006/relationships/slideMaster" Target="slideMasters/slideMaster3.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5" Type="http://schemas.openxmlformats.org/officeDocument/2006/relationships/customXml" Target="../customXml/item5.xml"/><Relationship Id="rId90" Type="http://schemas.microsoft.com/office/2018/10/relationships/authors" Target="authors.xml"/><Relationship Id="rId14" Type="http://schemas.openxmlformats.org/officeDocument/2006/relationships/slideMaster" Target="slideMasters/slideMaster6.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8" Type="http://schemas.openxmlformats.org/officeDocument/2006/relationships/customXml" Target="../customXml/item8.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4.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commentAuthors" Target="commentAuthors.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2.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notesMaster" Target="notesMasters/notesMaster1.xml"/><Relationship Id="rId86"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1.xml"/><Relationship Id="rId13" Type="http://schemas.openxmlformats.org/officeDocument/2006/relationships/slideMaster" Target="slideMasters/slideMaster5.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7" Type="http://schemas.openxmlformats.org/officeDocument/2006/relationships/customXml" Target="../customXml/item7.xml"/><Relationship Id="rId71"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tableStyles" Target="tableStyles.xml"/><Relationship Id="rId61" Type="http://schemas.openxmlformats.org/officeDocument/2006/relationships/slide" Target="slides/slide47.xml"/><Relationship Id="rId82" Type="http://schemas.openxmlformats.org/officeDocument/2006/relationships/handoutMaster" Target="handoutMasters/handoutMaster1.xml"/><Relationship Id="rId1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lipe De Assis" userId="fedc4fe9-b909-48c3-b8ca-78d40727f114" providerId="ADAL" clId="{6CC0A634-A678-4844-8055-00237EA17884}"/>
    <pc:docChg chg="modSld">
      <pc:chgData name="Felipe De Assis" userId="fedc4fe9-b909-48c3-b8ca-78d40727f114" providerId="ADAL" clId="{6CC0A634-A678-4844-8055-00237EA17884}" dt="2020-07-31T19:29:08.255" v="14"/>
      <pc:docMkLst>
        <pc:docMk/>
      </pc:docMkLst>
      <pc:sldChg chg="modAnim modCm">
        <pc:chgData name="Felipe De Assis" userId="fedc4fe9-b909-48c3-b8ca-78d40727f114" providerId="ADAL" clId="{6CC0A634-A678-4844-8055-00237EA17884}" dt="2020-07-31T19:29:08.255" v="14"/>
        <pc:sldMkLst>
          <pc:docMk/>
          <pc:sldMk cId="568747255" sldId="287"/>
        </pc:sldMkLst>
      </pc:sldChg>
    </pc:docChg>
  </pc:docChgLst>
  <pc:docChgLst>
    <pc:chgData name="Simon Facer" userId="S::sfacer@microsoft.com::1543db97-1a0c-4e06-9be1-d0e92d9d2eb2" providerId="AD" clId="Web-{87D30D2C-D67C-40E8-5D84-C5D79B26713F}"/>
    <pc:docChg chg="modSld">
      <pc:chgData name="Simon Facer" userId="S::sfacer@microsoft.com::1543db97-1a0c-4e06-9be1-d0e92d9d2eb2" providerId="AD" clId="Web-{87D30D2C-D67C-40E8-5D84-C5D79B26713F}" dt="2020-08-30T17:38:48.611" v="96"/>
      <pc:docMkLst>
        <pc:docMk/>
      </pc:docMkLst>
      <pc:sldChg chg="modCm">
        <pc:chgData name="Simon Facer" userId="S::sfacer@microsoft.com::1543db97-1a0c-4e06-9be1-d0e92d9d2eb2" providerId="AD" clId="Web-{87D30D2C-D67C-40E8-5D84-C5D79B26713F}" dt="2020-08-30T17:30:21.413" v="11"/>
        <pc:sldMkLst>
          <pc:docMk/>
          <pc:sldMk cId="107647417" sldId="286"/>
        </pc:sldMkLst>
      </pc:sldChg>
      <pc:sldChg chg="modCm">
        <pc:chgData name="Simon Facer" userId="S::sfacer@microsoft.com::1543db97-1a0c-4e06-9be1-d0e92d9d2eb2" providerId="AD" clId="Web-{87D30D2C-D67C-40E8-5D84-C5D79B26713F}" dt="2020-08-30T17:30:11.334" v="10"/>
        <pc:sldMkLst>
          <pc:docMk/>
          <pc:sldMk cId="568747255" sldId="287"/>
        </pc:sldMkLst>
      </pc:sldChg>
      <pc:sldChg chg="modCm">
        <pc:chgData name="Simon Facer" userId="S::sfacer@microsoft.com::1543db97-1a0c-4e06-9be1-d0e92d9d2eb2" providerId="AD" clId="Web-{87D30D2C-D67C-40E8-5D84-C5D79B26713F}" dt="2020-08-30T17:29:55.849" v="7"/>
        <pc:sldMkLst>
          <pc:docMk/>
          <pc:sldMk cId="3632493870" sldId="288"/>
        </pc:sldMkLst>
      </pc:sldChg>
      <pc:sldChg chg="modCm">
        <pc:chgData name="Simon Facer" userId="S::sfacer@microsoft.com::1543db97-1a0c-4e06-9be1-d0e92d9d2eb2" providerId="AD" clId="Web-{87D30D2C-D67C-40E8-5D84-C5D79B26713F}" dt="2020-08-30T17:29:51.568" v="6"/>
        <pc:sldMkLst>
          <pc:docMk/>
          <pc:sldMk cId="2206503917" sldId="289"/>
        </pc:sldMkLst>
      </pc:sldChg>
      <pc:sldChg chg="modCm">
        <pc:chgData name="Simon Facer" userId="S::sfacer@microsoft.com::1543db97-1a0c-4e06-9be1-d0e92d9d2eb2" providerId="AD" clId="Web-{87D30D2C-D67C-40E8-5D84-C5D79B26713F}" dt="2020-08-30T17:31:41.602" v="19"/>
        <pc:sldMkLst>
          <pc:docMk/>
          <pc:sldMk cId="454975488" sldId="292"/>
        </pc:sldMkLst>
      </pc:sldChg>
      <pc:sldChg chg="modCm">
        <pc:chgData name="Simon Facer" userId="S::sfacer@microsoft.com::1543db97-1a0c-4e06-9be1-d0e92d9d2eb2" providerId="AD" clId="Web-{87D30D2C-D67C-40E8-5D84-C5D79B26713F}" dt="2020-08-30T17:31:11.382" v="17"/>
        <pc:sldMkLst>
          <pc:docMk/>
          <pc:sldMk cId="1818348422" sldId="293"/>
        </pc:sldMkLst>
      </pc:sldChg>
      <pc:sldChg chg="modCm">
        <pc:chgData name="Simon Facer" userId="S::sfacer@microsoft.com::1543db97-1a0c-4e06-9be1-d0e92d9d2eb2" providerId="AD" clId="Web-{87D30D2C-D67C-40E8-5D84-C5D79B26713F}" dt="2020-08-30T17:30:40.210" v="15"/>
        <pc:sldMkLst>
          <pc:docMk/>
          <pc:sldMk cId="2809197836" sldId="294"/>
        </pc:sldMkLst>
      </pc:sldChg>
      <pc:sldChg chg="modCm">
        <pc:chgData name="Simon Facer" userId="S::sfacer@microsoft.com::1543db97-1a0c-4e06-9be1-d0e92d9d2eb2" providerId="AD" clId="Web-{87D30D2C-D67C-40E8-5D84-C5D79B26713F}" dt="2020-08-30T17:30:30.569" v="13"/>
        <pc:sldMkLst>
          <pc:docMk/>
          <pc:sldMk cId="4284443581" sldId="300"/>
        </pc:sldMkLst>
      </pc:sldChg>
      <pc:sldChg chg="modCm">
        <pc:chgData name="Simon Facer" userId="S::sfacer@microsoft.com::1543db97-1a0c-4e06-9be1-d0e92d9d2eb2" providerId="AD" clId="Web-{87D30D2C-D67C-40E8-5D84-C5D79B26713F}" dt="2020-08-30T17:31:31.820" v="18"/>
        <pc:sldMkLst>
          <pc:docMk/>
          <pc:sldMk cId="4265416158" sldId="307"/>
        </pc:sldMkLst>
      </pc:sldChg>
      <pc:sldChg chg="modCm">
        <pc:chgData name="Simon Facer" userId="S::sfacer@microsoft.com::1543db97-1a0c-4e06-9be1-d0e92d9d2eb2" providerId="AD" clId="Web-{87D30D2C-D67C-40E8-5D84-C5D79B26713F}" dt="2020-08-30T17:31:47.368" v="20"/>
        <pc:sldMkLst>
          <pc:docMk/>
          <pc:sldMk cId="1492680702" sldId="310"/>
        </pc:sldMkLst>
      </pc:sldChg>
      <pc:sldChg chg="modCm">
        <pc:chgData name="Simon Facer" userId="S::sfacer@microsoft.com::1543db97-1a0c-4e06-9be1-d0e92d9d2eb2" providerId="AD" clId="Web-{87D30D2C-D67C-40E8-5D84-C5D79B26713F}" dt="2020-08-30T17:30:03.990" v="9"/>
        <pc:sldMkLst>
          <pc:docMk/>
          <pc:sldMk cId="1003430468" sldId="312"/>
        </pc:sldMkLst>
      </pc:sldChg>
      <pc:sldChg chg="modCm">
        <pc:chgData name="Simon Facer" userId="S::sfacer@microsoft.com::1543db97-1a0c-4e06-9be1-d0e92d9d2eb2" providerId="AD" clId="Web-{87D30D2C-D67C-40E8-5D84-C5D79B26713F}" dt="2020-08-30T17:29:47.443" v="5"/>
        <pc:sldMkLst>
          <pc:docMk/>
          <pc:sldMk cId="2703328026" sldId="315"/>
        </pc:sldMkLst>
      </pc:sldChg>
      <pc:sldChg chg="modCm">
        <pc:chgData name="Simon Facer" userId="S::sfacer@microsoft.com::1543db97-1a0c-4e06-9be1-d0e92d9d2eb2" providerId="AD" clId="Web-{87D30D2C-D67C-40E8-5D84-C5D79B26713F}" dt="2020-08-30T17:30:26.397" v="12"/>
        <pc:sldMkLst>
          <pc:docMk/>
          <pc:sldMk cId="1366697794" sldId="316"/>
        </pc:sldMkLst>
      </pc:sldChg>
      <pc:sldChg chg="modCm">
        <pc:chgData name="Simon Facer" userId="S::sfacer@microsoft.com::1543db97-1a0c-4e06-9be1-d0e92d9d2eb2" providerId="AD" clId="Web-{87D30D2C-D67C-40E8-5D84-C5D79B26713F}" dt="2020-08-30T17:31:51.383" v="21"/>
        <pc:sldMkLst>
          <pc:docMk/>
          <pc:sldMk cId="4200532894" sldId="331"/>
        </pc:sldMkLst>
      </pc:sldChg>
      <pc:sldChg chg="modCm">
        <pc:chgData name="Simon Facer" userId="S::sfacer@microsoft.com::1543db97-1a0c-4e06-9be1-d0e92d9d2eb2" providerId="AD" clId="Web-{87D30D2C-D67C-40E8-5D84-C5D79B26713F}" dt="2020-08-30T17:32:12.462" v="23"/>
        <pc:sldMkLst>
          <pc:docMk/>
          <pc:sldMk cId="62941591" sldId="332"/>
        </pc:sldMkLst>
      </pc:sldChg>
      <pc:sldChg chg="modCm">
        <pc:chgData name="Simon Facer" userId="S::sfacer@microsoft.com::1543db97-1a0c-4e06-9be1-d0e92d9d2eb2" providerId="AD" clId="Web-{87D30D2C-D67C-40E8-5D84-C5D79B26713F}" dt="2020-08-30T17:31:55.384" v="22"/>
        <pc:sldMkLst>
          <pc:docMk/>
          <pc:sldMk cId="1495932348" sldId="334"/>
        </pc:sldMkLst>
      </pc:sldChg>
      <pc:sldChg chg="modCm">
        <pc:chgData name="Simon Facer" userId="S::sfacer@microsoft.com::1543db97-1a0c-4e06-9be1-d0e92d9d2eb2" providerId="AD" clId="Web-{87D30D2C-D67C-40E8-5D84-C5D79B26713F}" dt="2020-08-30T17:30:35.428" v="14"/>
        <pc:sldMkLst>
          <pc:docMk/>
          <pc:sldMk cId="4094655527" sldId="336"/>
        </pc:sldMkLst>
      </pc:sldChg>
      <pc:sldChg chg="modCm">
        <pc:chgData name="Simon Facer" userId="S::sfacer@microsoft.com::1543db97-1a0c-4e06-9be1-d0e92d9d2eb2" providerId="AD" clId="Web-{87D30D2C-D67C-40E8-5D84-C5D79B26713F}" dt="2020-08-30T17:29:42.615" v="4"/>
        <pc:sldMkLst>
          <pc:docMk/>
          <pc:sldMk cId="3872919932" sldId="338"/>
        </pc:sldMkLst>
      </pc:sldChg>
      <pc:sldChg chg="modSp modCm modNotes">
        <pc:chgData name="Simon Facer" userId="S::sfacer@microsoft.com::1543db97-1a0c-4e06-9be1-d0e92d9d2eb2" providerId="AD" clId="Web-{87D30D2C-D67C-40E8-5D84-C5D79B26713F}" dt="2020-08-30T17:38:48.611" v="96"/>
        <pc:sldMkLst>
          <pc:docMk/>
          <pc:sldMk cId="1713774245" sldId="339"/>
        </pc:sldMkLst>
        <pc:graphicFrameChg chg="modGraphic">
          <ac:chgData name="Simon Facer" userId="S::sfacer@microsoft.com::1543db97-1a0c-4e06-9be1-d0e92d9d2eb2" providerId="AD" clId="Web-{87D30D2C-D67C-40E8-5D84-C5D79B26713F}" dt="2020-08-30T17:29:03.473" v="2" actId="20577"/>
          <ac:graphicFrameMkLst>
            <pc:docMk/>
            <pc:sldMk cId="1713774245" sldId="339"/>
            <ac:graphicFrameMk id="5" creationId="{C9668ADF-443C-4469-8045-8A14E877D489}"/>
          </ac:graphicFrameMkLst>
        </pc:graphicFrameChg>
      </pc:sldChg>
      <pc:sldChg chg="modCm">
        <pc:chgData name="Simon Facer" userId="S::sfacer@microsoft.com::1543db97-1a0c-4e06-9be1-d0e92d9d2eb2" providerId="AD" clId="Web-{87D30D2C-D67C-40E8-5D84-C5D79B26713F}" dt="2020-08-30T17:32:22.525" v="24"/>
        <pc:sldMkLst>
          <pc:docMk/>
          <pc:sldMk cId="2675992697" sldId="340"/>
        </pc:sldMkLst>
      </pc:sldChg>
    </pc:docChg>
  </pc:docChgLst>
  <pc:docChgLst>
    <pc:chgData name="Maria del Carmen Vasquez Lamazares" userId="S::carmenv@microsoft.com::09d41e7d-d748-4bc8-8a51-7a8717d71867" providerId="AD" clId="Web-{736E25F5-F3B5-44A1-97B6-0C7CCCC4A987}"/>
    <pc:docChg chg="modSld">
      <pc:chgData name="Maria del Carmen Vasquez Lamazares" userId="S::carmenv@microsoft.com::09d41e7d-d748-4bc8-8a51-7a8717d71867" providerId="AD" clId="Web-{736E25F5-F3B5-44A1-97B6-0C7CCCC4A987}" dt="2020-07-31T08:41:47.434" v="26"/>
      <pc:docMkLst>
        <pc:docMk/>
      </pc:docMkLst>
      <pc:sldChg chg="modCm">
        <pc:chgData name="Maria del Carmen Vasquez Lamazares" userId="S::carmenv@microsoft.com::09d41e7d-d748-4bc8-8a51-7a8717d71867" providerId="AD" clId="Web-{736E25F5-F3B5-44A1-97B6-0C7CCCC4A987}" dt="2020-07-31T08:38:05.081" v="22"/>
        <pc:sldMkLst>
          <pc:docMk/>
          <pc:sldMk cId="107647417" sldId="286"/>
        </pc:sldMkLst>
      </pc:sldChg>
      <pc:sldChg chg="modCm">
        <pc:chgData name="Maria del Carmen Vasquez Lamazares" userId="S::carmenv@microsoft.com::09d41e7d-d748-4bc8-8a51-7a8717d71867" providerId="AD" clId="Web-{736E25F5-F3B5-44A1-97B6-0C7CCCC4A987}" dt="2020-07-31T08:38:49.162" v="23"/>
        <pc:sldMkLst>
          <pc:docMk/>
          <pc:sldMk cId="3632493870" sldId="288"/>
        </pc:sldMkLst>
      </pc:sldChg>
      <pc:sldChg chg="modCm">
        <pc:chgData name="Maria del Carmen Vasquez Lamazares" userId="S::carmenv@microsoft.com::09d41e7d-d748-4bc8-8a51-7a8717d71867" providerId="AD" clId="Web-{736E25F5-F3B5-44A1-97B6-0C7CCCC4A987}" dt="2020-07-31T08:33:14.967" v="13"/>
        <pc:sldMkLst>
          <pc:docMk/>
          <pc:sldMk cId="454975488" sldId="292"/>
        </pc:sldMkLst>
      </pc:sldChg>
      <pc:sldChg chg="modCm">
        <pc:chgData name="Maria del Carmen Vasquez Lamazares" userId="S::carmenv@microsoft.com::09d41e7d-d748-4bc8-8a51-7a8717d71867" providerId="AD" clId="Web-{736E25F5-F3B5-44A1-97B6-0C7CCCC4A987}" dt="2020-07-31T08:34:41.614" v="14"/>
        <pc:sldMkLst>
          <pc:docMk/>
          <pc:sldMk cId="2809197836" sldId="294"/>
        </pc:sldMkLst>
      </pc:sldChg>
      <pc:sldChg chg="modCm">
        <pc:chgData name="Maria del Carmen Vasquez Lamazares" userId="S::carmenv@microsoft.com::09d41e7d-d748-4bc8-8a51-7a8717d71867" providerId="AD" clId="Web-{736E25F5-F3B5-44A1-97B6-0C7CCCC4A987}" dt="2020-07-31T08:34:58.662" v="15"/>
        <pc:sldMkLst>
          <pc:docMk/>
          <pc:sldMk cId="1835228001" sldId="296"/>
        </pc:sldMkLst>
      </pc:sldChg>
      <pc:sldChg chg="modCm">
        <pc:chgData name="Maria del Carmen Vasquez Lamazares" userId="S::carmenv@microsoft.com::09d41e7d-d748-4bc8-8a51-7a8717d71867" providerId="AD" clId="Web-{736E25F5-F3B5-44A1-97B6-0C7CCCC4A987}" dt="2020-07-31T08:35:18.648" v="16"/>
        <pc:sldMkLst>
          <pc:docMk/>
          <pc:sldMk cId="4284443581" sldId="300"/>
        </pc:sldMkLst>
      </pc:sldChg>
      <pc:sldChg chg="modCm">
        <pc:chgData name="Maria del Carmen Vasquez Lamazares" userId="S::carmenv@microsoft.com::09d41e7d-d748-4bc8-8a51-7a8717d71867" providerId="AD" clId="Web-{736E25F5-F3B5-44A1-97B6-0C7CCCC4A987}" dt="2020-07-31T08:32:38.090" v="12"/>
        <pc:sldMkLst>
          <pc:docMk/>
          <pc:sldMk cId="1492680702" sldId="310"/>
        </pc:sldMkLst>
      </pc:sldChg>
      <pc:sldChg chg="modCm">
        <pc:chgData name="Maria del Carmen Vasquez Lamazares" userId="S::carmenv@microsoft.com::09d41e7d-d748-4bc8-8a51-7a8717d71867" providerId="AD" clId="Web-{736E25F5-F3B5-44A1-97B6-0C7CCCC4A987}" dt="2020-07-31T08:36:52.904" v="18"/>
        <pc:sldMkLst>
          <pc:docMk/>
          <pc:sldMk cId="1366697794" sldId="316"/>
        </pc:sldMkLst>
      </pc:sldChg>
      <pc:sldChg chg="modCm">
        <pc:chgData name="Maria del Carmen Vasquez Lamazares" userId="S::carmenv@microsoft.com::09d41e7d-d748-4bc8-8a51-7a8717d71867" providerId="AD" clId="Web-{736E25F5-F3B5-44A1-97B6-0C7CCCC4A987}" dt="2020-07-31T08:41:47.434" v="26"/>
        <pc:sldMkLst>
          <pc:docMk/>
          <pc:sldMk cId="3450153804" sldId="326"/>
        </pc:sldMkLst>
      </pc:sldChg>
      <pc:sldChg chg="modCm">
        <pc:chgData name="Maria del Carmen Vasquez Lamazares" userId="S::carmenv@microsoft.com::09d41e7d-d748-4bc8-8a51-7a8717d71867" providerId="AD" clId="Web-{736E25F5-F3B5-44A1-97B6-0C7CCCC4A987}" dt="2020-07-31T08:31:50.211" v="9"/>
        <pc:sldMkLst>
          <pc:docMk/>
          <pc:sldMk cId="4200532894" sldId="331"/>
        </pc:sldMkLst>
      </pc:sldChg>
      <pc:sldChg chg="modSp modCm">
        <pc:chgData name="Maria del Carmen Vasquez Lamazares" userId="S::carmenv@microsoft.com::09d41e7d-d748-4bc8-8a51-7a8717d71867" providerId="AD" clId="Web-{736E25F5-F3B5-44A1-97B6-0C7CCCC4A987}" dt="2020-07-31T08:29:41.296" v="3"/>
        <pc:sldMkLst>
          <pc:docMk/>
          <pc:sldMk cId="1600109808" sldId="333"/>
        </pc:sldMkLst>
        <pc:graphicFrameChg chg="modGraphic">
          <ac:chgData name="Maria del Carmen Vasquez Lamazares" userId="S::carmenv@microsoft.com::09d41e7d-d748-4bc8-8a51-7a8717d71867" providerId="AD" clId="Web-{736E25F5-F3B5-44A1-97B6-0C7CCCC4A987}" dt="2020-07-31T08:29:35.374" v="2" actId="20577"/>
          <ac:graphicFrameMkLst>
            <pc:docMk/>
            <pc:sldMk cId="1600109808" sldId="333"/>
            <ac:graphicFrameMk id="5" creationId="{600B6F06-A3DB-4C3B-B8EF-ABECF7F5ADD4}"/>
          </ac:graphicFrameMkLst>
        </pc:graphicFrameChg>
      </pc:sldChg>
      <pc:sldChg chg="modCm">
        <pc:chgData name="Maria del Carmen Vasquez Lamazares" userId="S::carmenv@microsoft.com::09d41e7d-d748-4bc8-8a51-7a8717d71867" providerId="AD" clId="Web-{736E25F5-F3B5-44A1-97B6-0C7CCCC4A987}" dt="2020-07-31T08:30:11.642" v="5"/>
        <pc:sldMkLst>
          <pc:docMk/>
          <pc:sldMk cId="1495932348" sldId="334"/>
        </pc:sldMkLst>
      </pc:sldChg>
      <pc:sldChg chg="modCm">
        <pc:chgData name="Maria del Carmen Vasquez Lamazares" userId="S::carmenv@microsoft.com::09d41e7d-d748-4bc8-8a51-7a8717d71867" providerId="AD" clId="Web-{736E25F5-F3B5-44A1-97B6-0C7CCCC4A987}" dt="2020-07-31T08:32:19.338" v="10"/>
        <pc:sldMkLst>
          <pc:docMk/>
          <pc:sldMk cId="2083031587" sldId="335"/>
        </pc:sldMkLst>
      </pc:sldChg>
      <pc:sldChg chg="modCm">
        <pc:chgData name="Maria del Carmen Vasquez Lamazares" userId="S::carmenv@microsoft.com::09d41e7d-d748-4bc8-8a51-7a8717d71867" providerId="AD" clId="Web-{736E25F5-F3B5-44A1-97B6-0C7CCCC4A987}" dt="2020-07-31T08:37:38.939" v="21"/>
        <pc:sldMkLst>
          <pc:docMk/>
          <pc:sldMk cId="4094655527" sldId="336"/>
        </pc:sldMkLst>
      </pc:sldChg>
      <pc:sldChg chg="modCm">
        <pc:chgData name="Maria del Carmen Vasquez Lamazares" userId="S::carmenv@microsoft.com::09d41e7d-d748-4bc8-8a51-7a8717d71867" providerId="AD" clId="Web-{736E25F5-F3B5-44A1-97B6-0C7CCCC4A987}" dt="2020-07-31T08:39:34.244" v="24"/>
        <pc:sldMkLst>
          <pc:docMk/>
          <pc:sldMk cId="3872919932" sldId="338"/>
        </pc:sldMkLst>
      </pc:sldChg>
      <pc:sldChg chg="modCm">
        <pc:chgData name="Maria del Carmen Vasquez Lamazares" userId="S::carmenv@microsoft.com::09d41e7d-d748-4bc8-8a51-7a8717d71867" providerId="AD" clId="Web-{736E25F5-F3B5-44A1-97B6-0C7CCCC4A987}" dt="2020-07-31T08:39:53.198" v="25"/>
        <pc:sldMkLst>
          <pc:docMk/>
          <pc:sldMk cId="1713774245" sldId="339"/>
        </pc:sldMkLst>
      </pc:sldChg>
    </pc:docChg>
  </pc:docChgLst>
  <pc:docChgLst>
    <pc:chgData name="Nicolas Soukoff" userId="21d930ff-8613-4aee-bfc8-658aaa7e309c" providerId="ADAL" clId="{C5DC63F4-2F51-4526-908C-6183F41FA1C5}"/>
    <pc:docChg chg="undo custSel modSld">
      <pc:chgData name="Nicolas Soukoff" userId="21d930ff-8613-4aee-bfc8-658aaa7e309c" providerId="ADAL" clId="{C5DC63F4-2F51-4526-908C-6183F41FA1C5}" dt="2020-07-27T19:34:31.076" v="22"/>
      <pc:docMkLst>
        <pc:docMk/>
      </pc:docMkLst>
      <pc:sldChg chg="mod modShow">
        <pc:chgData name="Nicolas Soukoff" userId="21d930ff-8613-4aee-bfc8-658aaa7e309c" providerId="ADAL" clId="{C5DC63F4-2F51-4526-908C-6183F41FA1C5}" dt="2020-07-27T19:27:25.948" v="9" actId="729"/>
        <pc:sldMkLst>
          <pc:docMk/>
          <pc:sldMk cId="1076368552" sldId="276"/>
        </pc:sldMkLst>
      </pc:sldChg>
      <pc:sldChg chg="addSp delSp modSp mod">
        <pc:chgData name="Nicolas Soukoff" userId="21d930ff-8613-4aee-bfc8-658aaa7e309c" providerId="ADAL" clId="{C5DC63F4-2F51-4526-908C-6183F41FA1C5}" dt="2020-07-27T19:27:07.650" v="8" actId="1076"/>
        <pc:sldMkLst>
          <pc:docMk/>
          <pc:sldMk cId="1196121053" sldId="277"/>
        </pc:sldMkLst>
        <pc:spChg chg="del">
          <ac:chgData name="Nicolas Soukoff" userId="21d930ff-8613-4aee-bfc8-658aaa7e309c" providerId="ADAL" clId="{C5DC63F4-2F51-4526-908C-6183F41FA1C5}" dt="2020-07-27T19:26:42.718" v="1" actId="22"/>
          <ac:spMkLst>
            <pc:docMk/>
            <pc:sldMk cId="1196121053" sldId="277"/>
            <ac:spMk id="6" creationId="{0B24CF9C-EA03-4678-8221-3892B00F4889}"/>
          </ac:spMkLst>
        </pc:spChg>
        <pc:spChg chg="add mod">
          <ac:chgData name="Nicolas Soukoff" userId="21d930ff-8613-4aee-bfc8-658aaa7e309c" providerId="ADAL" clId="{C5DC63F4-2F51-4526-908C-6183F41FA1C5}" dt="2020-07-27T19:27:07.650" v="8" actId="1076"/>
          <ac:spMkLst>
            <pc:docMk/>
            <pc:sldMk cId="1196121053" sldId="277"/>
            <ac:spMk id="8" creationId="{EDC67D45-694A-4356-BDA3-30BA960758EC}"/>
          </ac:spMkLst>
        </pc:spChg>
        <pc:picChg chg="add del mod modCrop">
          <ac:chgData name="Nicolas Soukoff" userId="21d930ff-8613-4aee-bfc8-658aaa7e309c" providerId="ADAL" clId="{C5DC63F4-2F51-4526-908C-6183F41FA1C5}" dt="2020-07-27T19:26:52.227" v="3" actId="21"/>
          <ac:picMkLst>
            <pc:docMk/>
            <pc:sldMk cId="1196121053" sldId="277"/>
            <ac:picMk id="2" creationId="{56BAABB8-A666-497B-B799-67A2EE7FBC7A}"/>
          </ac:picMkLst>
        </pc:picChg>
        <pc:picChg chg="add mod">
          <ac:chgData name="Nicolas Soukoff" userId="21d930ff-8613-4aee-bfc8-658aaa7e309c" providerId="ADAL" clId="{C5DC63F4-2F51-4526-908C-6183F41FA1C5}" dt="2020-07-27T19:27:02.576" v="6" actId="1076"/>
          <ac:picMkLst>
            <pc:docMk/>
            <pc:sldMk cId="1196121053" sldId="277"/>
            <ac:picMk id="9" creationId="{D3DB6F98-EBE9-485D-9539-880565BAC9EC}"/>
          </ac:picMkLst>
        </pc:picChg>
      </pc:sldChg>
      <pc:sldChg chg="modSp">
        <pc:chgData name="Nicolas Soukoff" userId="21d930ff-8613-4aee-bfc8-658aaa7e309c" providerId="ADAL" clId="{C5DC63F4-2F51-4526-908C-6183F41FA1C5}" dt="2020-07-27T19:34:31.076" v="22"/>
        <pc:sldMkLst>
          <pc:docMk/>
          <pc:sldMk cId="454975488" sldId="292"/>
        </pc:sldMkLst>
        <pc:graphicFrameChg chg="mod">
          <ac:chgData name="Nicolas Soukoff" userId="21d930ff-8613-4aee-bfc8-658aaa7e309c" providerId="ADAL" clId="{C5DC63F4-2F51-4526-908C-6183F41FA1C5}" dt="2020-07-27T19:34:31.076" v="22"/>
          <ac:graphicFrameMkLst>
            <pc:docMk/>
            <pc:sldMk cId="454975488" sldId="292"/>
            <ac:graphicFrameMk id="11" creationId="{22450A68-EA79-4389-A75E-16B90A9D7D76}"/>
          </ac:graphicFrameMkLst>
        </pc:graphicFrameChg>
      </pc:sldChg>
      <pc:sldChg chg="modSp mod">
        <pc:chgData name="Nicolas Soukoff" userId="21d930ff-8613-4aee-bfc8-658aaa7e309c" providerId="ADAL" clId="{C5DC63F4-2F51-4526-908C-6183F41FA1C5}" dt="2020-07-27T19:25:54.861" v="0" actId="207"/>
        <pc:sldMkLst>
          <pc:docMk/>
          <pc:sldMk cId="62941591" sldId="332"/>
        </pc:sldMkLst>
        <pc:spChg chg="mod">
          <ac:chgData name="Nicolas Soukoff" userId="21d930ff-8613-4aee-bfc8-658aaa7e309c" providerId="ADAL" clId="{C5DC63F4-2F51-4526-908C-6183F41FA1C5}" dt="2020-07-27T19:25:54.861" v="0" actId="207"/>
          <ac:spMkLst>
            <pc:docMk/>
            <pc:sldMk cId="62941591" sldId="332"/>
            <ac:spMk id="7" creationId="{D3EAAD9A-76BF-48B0-A6BF-A24D0A8C5A8F}"/>
          </ac:spMkLst>
        </pc:spChg>
      </pc:sldChg>
      <pc:sldChg chg="modSp modNotesTx">
        <pc:chgData name="Nicolas Soukoff" userId="21d930ff-8613-4aee-bfc8-658aaa7e309c" providerId="ADAL" clId="{C5DC63F4-2F51-4526-908C-6183F41FA1C5}" dt="2020-07-27T19:31:19.722" v="21" actId="20577"/>
        <pc:sldMkLst>
          <pc:docMk/>
          <pc:sldMk cId="1495932348" sldId="334"/>
        </pc:sldMkLst>
        <pc:graphicFrameChg chg="mod">
          <ac:chgData name="Nicolas Soukoff" userId="21d930ff-8613-4aee-bfc8-658aaa7e309c" providerId="ADAL" clId="{C5DC63F4-2F51-4526-908C-6183F41FA1C5}" dt="2020-07-27T19:31:15.228" v="20" actId="20577"/>
          <ac:graphicFrameMkLst>
            <pc:docMk/>
            <pc:sldMk cId="1495932348" sldId="334"/>
            <ac:graphicFrameMk id="4" creationId="{EC632822-0EA5-4860-B595-5C32E8960896}"/>
          </ac:graphicFrameMkLst>
        </pc:graphicFrameChg>
      </pc:sldChg>
    </pc:docChg>
  </pc:docChgLst>
  <pc:docChgLst>
    <pc:chgData name="Simon Facer" userId="S::sfacer@microsoft.com::1543db97-1a0c-4e06-9be1-d0e92d9d2eb2" providerId="AD" clId="Web-{4722100E-4198-4389-B419-C7DB7F18029F}"/>
    <pc:docChg chg="modSld">
      <pc:chgData name="Simon Facer" userId="S::sfacer@microsoft.com::1543db97-1a0c-4e06-9be1-d0e92d9d2eb2" providerId="AD" clId="Web-{4722100E-4198-4389-B419-C7DB7F18029F}" dt="2020-10-05T23:31:02.686" v="1" actId="20577"/>
      <pc:docMkLst>
        <pc:docMk/>
      </pc:docMkLst>
      <pc:sldChg chg="modSp">
        <pc:chgData name="Simon Facer" userId="S::sfacer@microsoft.com::1543db97-1a0c-4e06-9be1-d0e92d9d2eb2" providerId="AD" clId="Web-{4722100E-4198-4389-B419-C7DB7F18029F}" dt="2020-10-05T23:31:02.686" v="1" actId="20577"/>
        <pc:sldMkLst>
          <pc:docMk/>
          <pc:sldMk cId="1615560134" sldId="278"/>
        </pc:sldMkLst>
        <pc:spChg chg="mod">
          <ac:chgData name="Simon Facer" userId="S::sfacer@microsoft.com::1543db97-1a0c-4e06-9be1-d0e92d9d2eb2" providerId="AD" clId="Web-{4722100E-4198-4389-B419-C7DB7F18029F}" dt="2020-10-05T23:31:02.686" v="1" actId="20577"/>
          <ac:spMkLst>
            <pc:docMk/>
            <pc:sldMk cId="1615560134" sldId="278"/>
            <ac:spMk id="3" creationId="{859B2BAE-A383-4E74-B3CF-9AC64DA11727}"/>
          </ac:spMkLst>
        </pc:spChg>
      </pc:sldChg>
    </pc:docChg>
  </pc:docChgLst>
  <pc:docChgLst>
    <pc:chgData name="Nick Salch" userId="47ab95ae-ac26-4648-966b-37822820099a" providerId="ADAL" clId="{08E984AB-F412-4BE9-BDD6-5F6B490BFEB2}"/>
    <pc:docChg chg="custSel delSld modSld">
      <pc:chgData name="Nick Salch" userId="47ab95ae-ac26-4648-966b-37822820099a" providerId="ADAL" clId="{08E984AB-F412-4BE9-BDD6-5F6B490BFEB2}" dt="2020-07-31T03:22:41.252" v="22204" actId="20577"/>
      <pc:docMkLst>
        <pc:docMk/>
      </pc:docMkLst>
      <pc:sldChg chg="modNotesTx">
        <pc:chgData name="Nick Salch" userId="47ab95ae-ac26-4648-966b-37822820099a" providerId="ADAL" clId="{08E984AB-F412-4BE9-BDD6-5F6B490BFEB2}" dt="2020-07-31T00:40:06.978" v="139" actId="20577"/>
        <pc:sldMkLst>
          <pc:docMk/>
          <pc:sldMk cId="4083746080" sldId="279"/>
        </pc:sldMkLst>
      </pc:sldChg>
      <pc:sldChg chg="modSp addCm modNotesTx">
        <pc:chgData name="Nick Salch" userId="47ab95ae-ac26-4648-966b-37822820099a" providerId="ADAL" clId="{08E984AB-F412-4BE9-BDD6-5F6B490BFEB2}" dt="2020-07-31T03:09:03.399" v="20056" actId="20577"/>
        <pc:sldMkLst>
          <pc:docMk/>
          <pc:sldMk cId="107647417" sldId="286"/>
        </pc:sldMkLst>
        <pc:spChg chg="mod">
          <ac:chgData name="Nick Salch" userId="47ab95ae-ac26-4648-966b-37822820099a" providerId="ADAL" clId="{08E984AB-F412-4BE9-BDD6-5F6B490BFEB2}" dt="2020-07-31T02:31:17.662" v="15417" actId="20577"/>
          <ac:spMkLst>
            <pc:docMk/>
            <pc:sldMk cId="107647417" sldId="286"/>
            <ac:spMk id="5" creationId="{C00FE8B9-B5D0-4335-B730-CCFBEAFBD756}"/>
          </ac:spMkLst>
        </pc:spChg>
        <pc:graphicFrameChg chg="mod">
          <ac:chgData name="Nick Salch" userId="47ab95ae-ac26-4648-966b-37822820099a" providerId="ADAL" clId="{08E984AB-F412-4BE9-BDD6-5F6B490BFEB2}" dt="2020-07-31T02:26:43.879" v="14267" actId="20577"/>
          <ac:graphicFrameMkLst>
            <pc:docMk/>
            <pc:sldMk cId="107647417" sldId="286"/>
            <ac:graphicFrameMk id="10" creationId="{1366102A-C6AB-4E54-B3C6-498CDD6E819F}"/>
          </ac:graphicFrameMkLst>
        </pc:graphicFrameChg>
      </pc:sldChg>
      <pc:sldChg chg="modAnim modCm modNotesTx">
        <pc:chgData name="Nick Salch" userId="47ab95ae-ac26-4648-966b-37822820099a" providerId="ADAL" clId="{08E984AB-F412-4BE9-BDD6-5F6B490BFEB2}" dt="2020-07-31T02:37:23.596" v="16755" actId="313"/>
        <pc:sldMkLst>
          <pc:docMk/>
          <pc:sldMk cId="568747255" sldId="287"/>
        </pc:sldMkLst>
      </pc:sldChg>
      <pc:sldChg chg="modSp addCm modNotesTx">
        <pc:chgData name="Nick Salch" userId="47ab95ae-ac26-4648-966b-37822820099a" providerId="ADAL" clId="{08E984AB-F412-4BE9-BDD6-5F6B490BFEB2}" dt="2020-07-31T03:06:36.097" v="19787"/>
        <pc:sldMkLst>
          <pc:docMk/>
          <pc:sldMk cId="3632493870" sldId="288"/>
        </pc:sldMkLst>
        <pc:graphicFrameChg chg="mod">
          <ac:chgData name="Nick Salch" userId="47ab95ae-ac26-4648-966b-37822820099a" providerId="ADAL" clId="{08E984AB-F412-4BE9-BDD6-5F6B490BFEB2}" dt="2020-07-31T02:43:58.670" v="18114" actId="20577"/>
          <ac:graphicFrameMkLst>
            <pc:docMk/>
            <pc:sldMk cId="3632493870" sldId="288"/>
            <ac:graphicFrameMk id="9" creationId="{CB346203-4DCE-4326-B503-3923A5113E1F}"/>
          </ac:graphicFrameMkLst>
        </pc:graphicFrameChg>
      </pc:sldChg>
      <pc:sldChg chg="modNotesTx">
        <pc:chgData name="Nick Salch" userId="47ab95ae-ac26-4648-966b-37822820099a" providerId="ADAL" clId="{08E984AB-F412-4BE9-BDD6-5F6B490BFEB2}" dt="2020-07-31T03:09:19.781" v="20088" actId="20577"/>
        <pc:sldMkLst>
          <pc:docMk/>
          <pc:sldMk cId="2206503917" sldId="289"/>
        </pc:sldMkLst>
      </pc:sldChg>
      <pc:sldChg chg="addCm modNotesTx">
        <pc:chgData name="Nick Salch" userId="47ab95ae-ac26-4648-966b-37822820099a" providerId="ADAL" clId="{08E984AB-F412-4BE9-BDD6-5F6B490BFEB2}" dt="2020-07-31T03:21:48.399" v="22064"/>
        <pc:sldMkLst>
          <pc:docMk/>
          <pc:sldMk cId="1217651145" sldId="290"/>
        </pc:sldMkLst>
      </pc:sldChg>
      <pc:sldChg chg="modSp addCm modNotesTx">
        <pc:chgData name="Nick Salch" userId="47ab95ae-ac26-4648-966b-37822820099a" providerId="ADAL" clId="{08E984AB-F412-4BE9-BDD6-5F6B490BFEB2}" dt="2020-07-31T01:40:10.652" v="10317"/>
        <pc:sldMkLst>
          <pc:docMk/>
          <pc:sldMk cId="454975488" sldId="292"/>
        </pc:sldMkLst>
        <pc:graphicFrameChg chg="mod">
          <ac:chgData name="Nick Salch" userId="47ab95ae-ac26-4648-966b-37822820099a" providerId="ADAL" clId="{08E984AB-F412-4BE9-BDD6-5F6B490BFEB2}" dt="2020-07-31T01:30:47.486" v="7948"/>
          <ac:graphicFrameMkLst>
            <pc:docMk/>
            <pc:sldMk cId="454975488" sldId="292"/>
            <ac:graphicFrameMk id="11" creationId="{22450A68-EA79-4389-A75E-16B90A9D7D76}"/>
          </ac:graphicFrameMkLst>
        </pc:graphicFrameChg>
      </pc:sldChg>
      <pc:sldChg chg="mod modShow addCm">
        <pc:chgData name="Nick Salch" userId="47ab95ae-ac26-4648-966b-37822820099a" providerId="ADAL" clId="{08E984AB-F412-4BE9-BDD6-5F6B490BFEB2}" dt="2020-07-31T01:47:03.830" v="10872" actId="729"/>
        <pc:sldMkLst>
          <pc:docMk/>
          <pc:sldMk cId="1818348422" sldId="293"/>
        </pc:sldMkLst>
      </pc:sldChg>
      <pc:sldChg chg="modSp modCm">
        <pc:chgData name="Nick Salch" userId="47ab95ae-ac26-4648-966b-37822820099a" providerId="ADAL" clId="{08E984AB-F412-4BE9-BDD6-5F6B490BFEB2}" dt="2020-07-31T01:48:04.930" v="10902"/>
        <pc:sldMkLst>
          <pc:docMk/>
          <pc:sldMk cId="2809197836" sldId="294"/>
        </pc:sldMkLst>
        <pc:graphicFrameChg chg="mod">
          <ac:chgData name="Nick Salch" userId="47ab95ae-ac26-4648-966b-37822820099a" providerId="ADAL" clId="{08E984AB-F412-4BE9-BDD6-5F6B490BFEB2}" dt="2020-07-31T01:47:55.513" v="10901" actId="20577"/>
          <ac:graphicFrameMkLst>
            <pc:docMk/>
            <pc:sldMk cId="2809197836" sldId="294"/>
            <ac:graphicFrameMk id="4" creationId="{6115D8A7-1774-47EA-8DA2-72EFC06BC97B}"/>
          </ac:graphicFrameMkLst>
        </pc:graphicFrameChg>
      </pc:sldChg>
      <pc:sldChg chg="modSp del modNotesTx">
        <pc:chgData name="Nick Salch" userId="47ab95ae-ac26-4648-966b-37822820099a" providerId="ADAL" clId="{08E984AB-F412-4BE9-BDD6-5F6B490BFEB2}" dt="2020-07-31T01:49:02.882" v="10913" actId="2696"/>
        <pc:sldMkLst>
          <pc:docMk/>
          <pc:sldMk cId="3733138963" sldId="295"/>
        </pc:sldMkLst>
        <pc:graphicFrameChg chg="mod">
          <ac:chgData name="Nick Salch" userId="47ab95ae-ac26-4648-966b-37822820099a" providerId="ADAL" clId="{08E984AB-F412-4BE9-BDD6-5F6B490BFEB2}" dt="2020-07-31T01:48:35.588" v="10912" actId="20577"/>
          <ac:graphicFrameMkLst>
            <pc:docMk/>
            <pc:sldMk cId="3733138963" sldId="295"/>
            <ac:graphicFrameMk id="4" creationId="{44AB456F-A9C7-428C-A066-340F83519514}"/>
          </ac:graphicFrameMkLst>
        </pc:graphicFrameChg>
      </pc:sldChg>
      <pc:sldChg chg="addCm modNotesTx">
        <pc:chgData name="Nick Salch" userId="47ab95ae-ac26-4648-966b-37822820099a" providerId="ADAL" clId="{08E984AB-F412-4BE9-BDD6-5F6B490BFEB2}" dt="2020-07-31T02:14:12.837" v="12714"/>
        <pc:sldMkLst>
          <pc:docMk/>
          <pc:sldMk cId="1835228001" sldId="296"/>
        </pc:sldMkLst>
      </pc:sldChg>
      <pc:sldChg chg="del">
        <pc:chgData name="Nick Salch" userId="47ab95ae-ac26-4648-966b-37822820099a" providerId="ADAL" clId="{08E984AB-F412-4BE9-BDD6-5F6B490BFEB2}" dt="2020-07-31T02:16:48.727" v="12878" actId="2696"/>
        <pc:sldMkLst>
          <pc:docMk/>
          <pc:sldMk cId="2853518653" sldId="297"/>
        </pc:sldMkLst>
      </pc:sldChg>
      <pc:sldChg chg="del">
        <pc:chgData name="Nick Salch" userId="47ab95ae-ac26-4648-966b-37822820099a" providerId="ADAL" clId="{08E984AB-F412-4BE9-BDD6-5F6B490BFEB2}" dt="2020-07-31T02:17:00.560" v="12879" actId="2696"/>
        <pc:sldMkLst>
          <pc:docMk/>
          <pc:sldMk cId="3798026529" sldId="298"/>
        </pc:sldMkLst>
      </pc:sldChg>
      <pc:sldChg chg="del">
        <pc:chgData name="Nick Salch" userId="47ab95ae-ac26-4648-966b-37822820099a" providerId="ADAL" clId="{08E984AB-F412-4BE9-BDD6-5F6B490BFEB2}" dt="2020-07-31T02:18:28.819" v="12881" actId="2696"/>
        <pc:sldMkLst>
          <pc:docMk/>
          <pc:sldMk cId="1945711902" sldId="299"/>
        </pc:sldMkLst>
      </pc:sldChg>
      <pc:sldChg chg="addCm modNotesTx">
        <pc:chgData name="Nick Salch" userId="47ab95ae-ac26-4648-966b-37822820099a" providerId="ADAL" clId="{08E984AB-F412-4BE9-BDD6-5F6B490BFEB2}" dt="2020-07-31T02:22:42.262" v="14040"/>
        <pc:sldMkLst>
          <pc:docMk/>
          <pc:sldMk cId="4284443581" sldId="300"/>
        </pc:sldMkLst>
      </pc:sldChg>
      <pc:sldChg chg="modSp modCm modNotesTx">
        <pc:chgData name="Nick Salch" userId="47ab95ae-ac26-4648-966b-37822820099a" providerId="ADAL" clId="{08E984AB-F412-4BE9-BDD6-5F6B490BFEB2}" dt="2020-07-31T01:44:43.629" v="10870" actId="20577"/>
        <pc:sldMkLst>
          <pc:docMk/>
          <pc:sldMk cId="4265416158" sldId="307"/>
        </pc:sldMkLst>
        <pc:graphicFrameChg chg="mod">
          <ac:chgData name="Nick Salch" userId="47ab95ae-ac26-4648-966b-37822820099a" providerId="ADAL" clId="{08E984AB-F412-4BE9-BDD6-5F6B490BFEB2}" dt="2020-07-31T01:41:17.682" v="10396" actId="20577"/>
          <ac:graphicFrameMkLst>
            <pc:docMk/>
            <pc:sldMk cId="4265416158" sldId="307"/>
            <ac:graphicFrameMk id="8" creationId="{68F8824B-B0F2-43CF-AC72-FE9FC1A6E14C}"/>
          </ac:graphicFrameMkLst>
        </pc:graphicFrameChg>
      </pc:sldChg>
      <pc:sldChg chg="addCm modNotesTx">
        <pc:chgData name="Nick Salch" userId="47ab95ae-ac26-4648-966b-37822820099a" providerId="ADAL" clId="{08E984AB-F412-4BE9-BDD6-5F6B490BFEB2}" dt="2020-07-31T01:26:11.520" v="7206" actId="313"/>
        <pc:sldMkLst>
          <pc:docMk/>
          <pc:sldMk cId="1492680702" sldId="310"/>
        </pc:sldMkLst>
      </pc:sldChg>
      <pc:sldChg chg="addCm modNotesTx">
        <pc:chgData name="Nick Salch" userId="47ab95ae-ac26-4648-966b-37822820099a" providerId="ADAL" clId="{08E984AB-F412-4BE9-BDD6-5F6B490BFEB2}" dt="2020-07-31T02:40:44.731" v="17822"/>
        <pc:sldMkLst>
          <pc:docMk/>
          <pc:sldMk cId="1003430468" sldId="312"/>
        </pc:sldMkLst>
      </pc:sldChg>
      <pc:sldChg chg="modNotesTx">
        <pc:chgData name="Nick Salch" userId="47ab95ae-ac26-4648-966b-37822820099a" providerId="ADAL" clId="{08E984AB-F412-4BE9-BDD6-5F6B490BFEB2}" dt="2020-07-31T03:08:45.621" v="19984" actId="20577"/>
        <pc:sldMkLst>
          <pc:docMk/>
          <pc:sldMk cId="2693014681" sldId="313"/>
        </pc:sldMkLst>
      </pc:sldChg>
      <pc:sldChg chg="del">
        <pc:chgData name="Nick Salch" userId="47ab95ae-ac26-4648-966b-37822820099a" providerId="ADAL" clId="{08E984AB-F412-4BE9-BDD6-5F6B490BFEB2}" dt="2020-07-31T02:41:26.841" v="17966" actId="2696"/>
        <pc:sldMkLst>
          <pc:docMk/>
          <pc:sldMk cId="4183901216" sldId="314"/>
        </pc:sldMkLst>
      </pc:sldChg>
      <pc:sldChg chg="modSp addCm modCm">
        <pc:chgData name="Nick Salch" userId="47ab95ae-ac26-4648-966b-37822820099a" providerId="ADAL" clId="{08E984AB-F412-4BE9-BDD6-5F6B490BFEB2}" dt="2020-07-31T02:25:34.350" v="14248"/>
        <pc:sldMkLst>
          <pc:docMk/>
          <pc:sldMk cId="1366697794" sldId="316"/>
        </pc:sldMkLst>
        <pc:graphicFrameChg chg="mod">
          <ac:chgData name="Nick Salch" userId="47ab95ae-ac26-4648-966b-37822820099a" providerId="ADAL" clId="{08E984AB-F412-4BE9-BDD6-5F6B490BFEB2}" dt="2020-07-31T02:24:44.857" v="14246" actId="20577"/>
          <ac:graphicFrameMkLst>
            <pc:docMk/>
            <pc:sldMk cId="1366697794" sldId="316"/>
            <ac:graphicFrameMk id="4" creationId="{EBEC4E38-B562-43AA-81F0-631A5333DDCD}"/>
          </ac:graphicFrameMkLst>
        </pc:graphicFrameChg>
      </pc:sldChg>
      <pc:sldChg chg="del modNotesTx">
        <pc:chgData name="Nick Salch" userId="47ab95ae-ac26-4648-966b-37822820099a" providerId="ADAL" clId="{08E984AB-F412-4BE9-BDD6-5F6B490BFEB2}" dt="2020-07-31T02:20:33.466" v="13361" actId="2696"/>
        <pc:sldMkLst>
          <pc:docMk/>
          <pc:sldMk cId="3158995429" sldId="317"/>
        </pc:sldMkLst>
      </pc:sldChg>
      <pc:sldChg chg="modSp addCm modNotesTx">
        <pc:chgData name="Nick Salch" userId="47ab95ae-ac26-4648-966b-37822820099a" providerId="ADAL" clId="{08E984AB-F412-4BE9-BDD6-5F6B490BFEB2}" dt="2020-07-31T01:13:00.169" v="4459"/>
        <pc:sldMkLst>
          <pc:docMk/>
          <pc:sldMk cId="4200532894" sldId="331"/>
        </pc:sldMkLst>
        <pc:spChg chg="mod">
          <ac:chgData name="Nick Salch" userId="47ab95ae-ac26-4648-966b-37822820099a" providerId="ADAL" clId="{08E984AB-F412-4BE9-BDD6-5F6B490BFEB2}" dt="2020-07-31T01:10:57.689" v="4095" actId="20577"/>
          <ac:spMkLst>
            <pc:docMk/>
            <pc:sldMk cId="4200532894" sldId="331"/>
            <ac:spMk id="44" creationId="{077207A7-1CF6-45B8-B469-C25E34940FA8}"/>
          </ac:spMkLst>
        </pc:spChg>
      </pc:sldChg>
      <pc:sldChg chg="addCm">
        <pc:chgData name="Nick Salch" userId="47ab95ae-ac26-4648-966b-37822820099a" providerId="ADAL" clId="{08E984AB-F412-4BE9-BDD6-5F6B490BFEB2}" dt="2020-07-31T02:18:03.957" v="12880"/>
        <pc:sldMkLst>
          <pc:docMk/>
          <pc:sldMk cId="62941591" sldId="332"/>
        </pc:sldMkLst>
      </pc:sldChg>
      <pc:sldChg chg="modSp addCm modNotesTx">
        <pc:chgData name="Nick Salch" userId="47ab95ae-ac26-4648-966b-37822820099a" providerId="ADAL" clId="{08E984AB-F412-4BE9-BDD6-5F6B490BFEB2}" dt="2020-07-31T00:53:44.278" v="1110"/>
        <pc:sldMkLst>
          <pc:docMk/>
          <pc:sldMk cId="1600109808" sldId="333"/>
        </pc:sldMkLst>
        <pc:graphicFrameChg chg="mod">
          <ac:chgData name="Nick Salch" userId="47ab95ae-ac26-4648-966b-37822820099a" providerId="ADAL" clId="{08E984AB-F412-4BE9-BDD6-5F6B490BFEB2}" dt="2020-07-31T00:41:21.075" v="240" actId="20577"/>
          <ac:graphicFrameMkLst>
            <pc:docMk/>
            <pc:sldMk cId="1600109808" sldId="333"/>
            <ac:graphicFrameMk id="5" creationId="{600B6F06-A3DB-4C3B-B8EF-ABECF7F5ADD4}"/>
          </ac:graphicFrameMkLst>
        </pc:graphicFrameChg>
      </pc:sldChg>
      <pc:sldChg chg="addCm modNotesTx">
        <pc:chgData name="Nick Salch" userId="47ab95ae-ac26-4648-966b-37822820099a" providerId="ADAL" clId="{08E984AB-F412-4BE9-BDD6-5F6B490BFEB2}" dt="2020-07-31T01:04:24.132" v="3629"/>
        <pc:sldMkLst>
          <pc:docMk/>
          <pc:sldMk cId="1495932348" sldId="334"/>
        </pc:sldMkLst>
      </pc:sldChg>
      <pc:sldChg chg="addCm modNotesTx">
        <pc:chgData name="Nick Salch" userId="47ab95ae-ac26-4648-966b-37822820099a" providerId="ADAL" clId="{08E984AB-F412-4BE9-BDD6-5F6B490BFEB2}" dt="2020-07-31T01:22:34.580" v="6462"/>
        <pc:sldMkLst>
          <pc:docMk/>
          <pc:sldMk cId="2083031587" sldId="335"/>
        </pc:sldMkLst>
      </pc:sldChg>
      <pc:sldChg chg="modSp mod addCm modCm modNotesTx">
        <pc:chgData name="Nick Salch" userId="47ab95ae-ac26-4648-966b-37822820099a" providerId="ADAL" clId="{08E984AB-F412-4BE9-BDD6-5F6B490BFEB2}" dt="2020-07-31T02:16:23.945" v="12877" actId="1076"/>
        <pc:sldMkLst>
          <pc:docMk/>
          <pc:sldMk cId="4094655527" sldId="336"/>
        </pc:sldMkLst>
        <pc:graphicFrameChg chg="mod">
          <ac:chgData name="Nick Salch" userId="47ab95ae-ac26-4648-966b-37822820099a" providerId="ADAL" clId="{08E984AB-F412-4BE9-BDD6-5F6B490BFEB2}" dt="2020-07-31T02:16:23.450" v="12876" actId="207"/>
          <ac:graphicFrameMkLst>
            <pc:docMk/>
            <pc:sldMk cId="4094655527" sldId="336"/>
            <ac:graphicFrameMk id="7" creationId="{632D32C6-59ED-4C39-B3BA-AE03370EFCB6}"/>
          </ac:graphicFrameMkLst>
        </pc:graphicFrameChg>
        <pc:picChg chg="mod">
          <ac:chgData name="Nick Salch" userId="47ab95ae-ac26-4648-966b-37822820099a" providerId="ADAL" clId="{08E984AB-F412-4BE9-BDD6-5F6B490BFEB2}" dt="2020-07-31T02:16:23.945" v="12877" actId="1076"/>
          <ac:picMkLst>
            <pc:docMk/>
            <pc:sldMk cId="4094655527" sldId="336"/>
            <ac:picMk id="17" creationId="{20934F4E-EA67-4D5A-918E-F3A104C0D518}"/>
          </ac:picMkLst>
        </pc:picChg>
      </pc:sldChg>
      <pc:sldChg chg="modNotesTx">
        <pc:chgData name="Nick Salch" userId="47ab95ae-ac26-4648-966b-37822820099a" providerId="ADAL" clId="{08E984AB-F412-4BE9-BDD6-5F6B490BFEB2}" dt="2020-07-31T03:22:41.252" v="22204" actId="20577"/>
        <pc:sldMkLst>
          <pc:docMk/>
          <pc:sldMk cId="4217591162" sldId="337"/>
        </pc:sldMkLst>
      </pc:sldChg>
      <pc:sldChg chg="addSp delSp modSp mod addCm modNotesTx">
        <pc:chgData name="Nick Salch" userId="47ab95ae-ac26-4648-966b-37822820099a" providerId="ADAL" clId="{08E984AB-F412-4BE9-BDD6-5F6B490BFEB2}" dt="2020-07-31T03:14:20.827" v="20521"/>
        <pc:sldMkLst>
          <pc:docMk/>
          <pc:sldMk cId="3872919932" sldId="338"/>
        </pc:sldMkLst>
        <pc:graphicFrameChg chg="mod">
          <ac:chgData name="Nick Salch" userId="47ab95ae-ac26-4648-966b-37822820099a" providerId="ADAL" clId="{08E984AB-F412-4BE9-BDD6-5F6B490BFEB2}" dt="2020-07-31T03:12:48.918" v="20117" actId="20577"/>
          <ac:graphicFrameMkLst>
            <pc:docMk/>
            <pc:sldMk cId="3872919932" sldId="338"/>
            <ac:graphicFrameMk id="2" creationId="{7DEF3A66-3BB2-41CF-BA1E-70CB716AE539}"/>
          </ac:graphicFrameMkLst>
        </pc:graphicFrameChg>
        <pc:picChg chg="add del mod">
          <ac:chgData name="Nick Salch" userId="47ab95ae-ac26-4648-966b-37822820099a" providerId="ADAL" clId="{08E984AB-F412-4BE9-BDD6-5F6B490BFEB2}" dt="2020-07-31T03:12:17.987" v="20097" actId="478"/>
          <ac:picMkLst>
            <pc:docMk/>
            <pc:sldMk cId="3872919932" sldId="338"/>
            <ac:picMk id="5" creationId="{E9917DE4-9CCD-4AF0-8600-D9D4E8E59B1D}"/>
          </ac:picMkLst>
        </pc:picChg>
        <pc:picChg chg="add mod">
          <ac:chgData name="Nick Salch" userId="47ab95ae-ac26-4648-966b-37822820099a" providerId="ADAL" clId="{08E984AB-F412-4BE9-BDD6-5F6B490BFEB2}" dt="2020-07-31T03:12:27.513" v="20103" actId="1076"/>
          <ac:picMkLst>
            <pc:docMk/>
            <pc:sldMk cId="3872919932" sldId="338"/>
            <ac:picMk id="7" creationId="{D260D09E-C16D-4115-87E1-2AAB10DDEE5D}"/>
          </ac:picMkLst>
        </pc:picChg>
        <pc:picChg chg="del">
          <ac:chgData name="Nick Salch" userId="47ab95ae-ac26-4648-966b-37822820099a" providerId="ADAL" clId="{08E984AB-F412-4BE9-BDD6-5F6B490BFEB2}" dt="2020-07-31T03:11:13.812" v="20089" actId="478"/>
          <ac:picMkLst>
            <pc:docMk/>
            <pc:sldMk cId="3872919932" sldId="338"/>
            <ac:picMk id="1026" creationId="{C65C0019-3A11-44F3-ADAB-801C9EB5D2CA}"/>
          </ac:picMkLst>
        </pc:picChg>
      </pc:sldChg>
      <pc:sldChg chg="addCm modNotesTx">
        <pc:chgData name="Nick Salch" userId="47ab95ae-ac26-4648-966b-37822820099a" providerId="ADAL" clId="{08E984AB-F412-4BE9-BDD6-5F6B490BFEB2}" dt="2020-07-31T03:15:44.851" v="20749"/>
        <pc:sldMkLst>
          <pc:docMk/>
          <pc:sldMk cId="1713774245" sldId="339"/>
        </pc:sldMkLst>
      </pc:sldChg>
      <pc:sldChg chg="addCm modNotesTx">
        <pc:chgData name="Nick Salch" userId="47ab95ae-ac26-4648-966b-37822820099a" providerId="ADAL" clId="{08E984AB-F412-4BE9-BDD6-5F6B490BFEB2}" dt="2020-07-31T03:16:41.307" v="20751"/>
        <pc:sldMkLst>
          <pc:docMk/>
          <pc:sldMk cId="2675992697" sldId="340"/>
        </pc:sldMkLst>
      </pc:sldChg>
      <pc:sldChg chg="modNotesTx">
        <pc:chgData name="Nick Salch" userId="47ab95ae-ac26-4648-966b-37822820099a" providerId="ADAL" clId="{08E984AB-F412-4BE9-BDD6-5F6B490BFEB2}" dt="2020-07-31T03:18:54.638" v="21204" actId="20577"/>
        <pc:sldMkLst>
          <pc:docMk/>
          <pc:sldMk cId="705010898" sldId="341"/>
        </pc:sldMkLst>
      </pc:sldChg>
    </pc:docChg>
  </pc:docChgLst>
  <pc:docChgLst>
    <pc:chgData name="Nick Salch" userId="47ab95ae-ac26-4648-966b-37822820099a" providerId="ADAL" clId="{CEF5AC5C-2094-4E11-8F43-216BF2DE75CF}"/>
    <pc:docChg chg="undo custSel modSld">
      <pc:chgData name="Nick Salch" userId="47ab95ae-ac26-4648-966b-37822820099a" providerId="ADAL" clId="{CEF5AC5C-2094-4E11-8F43-216BF2DE75CF}" dt="2020-08-24T18:00:30.750" v="6426" actId="20577"/>
      <pc:docMkLst>
        <pc:docMk/>
      </pc:docMkLst>
      <pc:sldChg chg="modNotesTx">
        <pc:chgData name="Nick Salch" userId="47ab95ae-ac26-4648-966b-37822820099a" providerId="ADAL" clId="{CEF5AC5C-2094-4E11-8F43-216BF2DE75CF}" dt="2020-08-24T16:45:46.926" v="900" actId="6549"/>
        <pc:sldMkLst>
          <pc:docMk/>
          <pc:sldMk cId="2703328026" sldId="315"/>
        </pc:sldMkLst>
      </pc:sldChg>
      <pc:sldChg chg="modSp">
        <pc:chgData name="Nick Salch" userId="47ab95ae-ac26-4648-966b-37822820099a" providerId="ADAL" clId="{CEF5AC5C-2094-4E11-8F43-216BF2DE75CF}" dt="2020-08-24T17:48:56.613" v="3980" actId="20577"/>
        <pc:sldMkLst>
          <pc:docMk/>
          <pc:sldMk cId="344886651" sldId="321"/>
        </pc:sldMkLst>
        <pc:graphicFrameChg chg="mod">
          <ac:chgData name="Nick Salch" userId="47ab95ae-ac26-4648-966b-37822820099a" providerId="ADAL" clId="{CEF5AC5C-2094-4E11-8F43-216BF2DE75CF}" dt="2020-08-24T17:48:56.613" v="3980" actId="20577"/>
          <ac:graphicFrameMkLst>
            <pc:docMk/>
            <pc:sldMk cId="344886651" sldId="321"/>
            <ac:graphicFrameMk id="10" creationId="{8F7CEEAF-20D2-4838-BB53-3FF109300784}"/>
          </ac:graphicFrameMkLst>
        </pc:graphicFrameChg>
      </pc:sldChg>
      <pc:sldChg chg="modNotesTx">
        <pc:chgData name="Nick Salch" userId="47ab95ae-ac26-4648-966b-37822820099a" providerId="ADAL" clId="{CEF5AC5C-2094-4E11-8F43-216BF2DE75CF}" dt="2020-08-24T17:53:06.410" v="4502" actId="20577"/>
        <pc:sldMkLst>
          <pc:docMk/>
          <pc:sldMk cId="2043615524" sldId="323"/>
        </pc:sldMkLst>
      </pc:sldChg>
      <pc:sldChg chg="modNotesTx">
        <pc:chgData name="Nick Salch" userId="47ab95ae-ac26-4648-966b-37822820099a" providerId="ADAL" clId="{CEF5AC5C-2094-4E11-8F43-216BF2DE75CF}" dt="2020-08-24T17:58:32.239" v="6096" actId="20577"/>
        <pc:sldMkLst>
          <pc:docMk/>
          <pc:sldMk cId="519805071" sldId="324"/>
        </pc:sldMkLst>
      </pc:sldChg>
      <pc:sldChg chg="modNotesTx">
        <pc:chgData name="Nick Salch" userId="47ab95ae-ac26-4648-966b-37822820099a" providerId="ADAL" clId="{CEF5AC5C-2094-4E11-8F43-216BF2DE75CF}" dt="2020-08-24T17:57:05.334" v="5805" actId="20577"/>
        <pc:sldMkLst>
          <pc:docMk/>
          <pc:sldMk cId="482338584" sldId="325"/>
        </pc:sldMkLst>
      </pc:sldChg>
      <pc:sldChg chg="modNotesTx">
        <pc:chgData name="Nick Salch" userId="47ab95ae-ac26-4648-966b-37822820099a" providerId="ADAL" clId="{CEF5AC5C-2094-4E11-8F43-216BF2DE75CF}" dt="2020-08-24T18:00:30.750" v="6426" actId="20577"/>
        <pc:sldMkLst>
          <pc:docMk/>
          <pc:sldMk cId="2285777989" sldId="328"/>
        </pc:sldMkLst>
      </pc:sldChg>
      <pc:sldChg chg="addCm modCm modNotesTx">
        <pc:chgData name="Nick Salch" userId="47ab95ae-ac26-4648-966b-37822820099a" providerId="ADAL" clId="{CEF5AC5C-2094-4E11-8F43-216BF2DE75CF}" dt="2020-08-24T17:27:31.237" v="1905"/>
        <pc:sldMkLst>
          <pc:docMk/>
          <pc:sldMk cId="2473067588" sldId="343"/>
        </pc:sldMkLst>
      </pc:sldChg>
      <pc:sldChg chg="addCm modCm modNotesTx">
        <pc:chgData name="Nick Salch" userId="47ab95ae-ac26-4648-966b-37822820099a" providerId="ADAL" clId="{CEF5AC5C-2094-4E11-8F43-216BF2DE75CF}" dt="2020-08-24T17:27:23.684" v="1904"/>
        <pc:sldMkLst>
          <pc:docMk/>
          <pc:sldMk cId="3654307593" sldId="344"/>
        </pc:sldMkLst>
      </pc:sldChg>
      <pc:sldChg chg="delSp modSp mod modShow addCm modNotesTx">
        <pc:chgData name="Nick Salch" userId="47ab95ae-ac26-4648-966b-37822820099a" providerId="ADAL" clId="{CEF5AC5C-2094-4E11-8F43-216BF2DE75CF}" dt="2020-08-24T17:42:36.649" v="2458" actId="729"/>
        <pc:sldMkLst>
          <pc:docMk/>
          <pc:sldMk cId="3885261174" sldId="345"/>
        </pc:sldMkLst>
        <pc:spChg chg="del mod">
          <ac:chgData name="Nick Salch" userId="47ab95ae-ac26-4648-966b-37822820099a" providerId="ADAL" clId="{CEF5AC5C-2094-4E11-8F43-216BF2DE75CF}" dt="2020-08-24T17:42:34.123" v="2457"/>
          <ac:spMkLst>
            <pc:docMk/>
            <pc:sldMk cId="3885261174" sldId="345"/>
            <ac:spMk id="5" creationId="{CE915DA2-3163-496C-8719-36E5B5A91E16}"/>
          </ac:spMkLst>
        </pc:spChg>
        <pc:graphicFrameChg chg="mod">
          <ac:chgData name="Nick Salch" userId="47ab95ae-ac26-4648-966b-37822820099a" providerId="ADAL" clId="{CEF5AC5C-2094-4E11-8F43-216BF2DE75CF}" dt="2020-08-24T17:39:40.752" v="1924" actId="20577"/>
          <ac:graphicFrameMkLst>
            <pc:docMk/>
            <pc:sldMk cId="3885261174" sldId="345"/>
            <ac:graphicFrameMk id="4" creationId="{2F41522A-9117-4569-AD16-C04F6DF7FAE4}"/>
          </ac:graphicFrameMkLst>
        </pc:graphicFrameChg>
      </pc:sldChg>
      <pc:sldChg chg="addCm modCm modNotesTx">
        <pc:chgData name="Nick Salch" userId="47ab95ae-ac26-4648-966b-37822820099a" providerId="ADAL" clId="{CEF5AC5C-2094-4E11-8F43-216BF2DE75CF}" dt="2020-08-24T17:46:48.513" v="3783"/>
        <pc:sldMkLst>
          <pc:docMk/>
          <pc:sldMk cId="2249441757" sldId="346"/>
        </pc:sldMkLst>
      </pc:sldChg>
      <pc:sldChg chg="modNotesTx">
        <pc:chgData name="Nick Salch" userId="47ab95ae-ac26-4648-966b-37822820099a" providerId="ADAL" clId="{CEF5AC5C-2094-4E11-8F43-216BF2DE75CF}" dt="2020-08-24T17:47:57.717" v="3959" actId="20577"/>
        <pc:sldMkLst>
          <pc:docMk/>
          <pc:sldMk cId="1018816677" sldId="347"/>
        </pc:sldMkLst>
      </pc:sldChg>
      <pc:sldChg chg="modNotesTx">
        <pc:chgData name="Nick Salch" userId="47ab95ae-ac26-4648-966b-37822820099a" providerId="ADAL" clId="{CEF5AC5C-2094-4E11-8F43-216BF2DE75CF}" dt="2020-08-24T17:52:25.958" v="4428" actId="20577"/>
        <pc:sldMkLst>
          <pc:docMk/>
          <pc:sldMk cId="1113543702" sldId="348"/>
        </pc:sldMkLst>
      </pc:sldChg>
    </pc:docChg>
  </pc:docChgLst>
  <pc:docChgLst>
    <pc:chgData clId="Web-{DCFA0CE3-E195-43D4-A929-72F7396365CC}"/>
    <pc:docChg chg="mod">
      <pc:chgData name="" userId="" providerId="" clId="Web-{DCFA0CE3-E195-43D4-A929-72F7396365CC}" dt="2020-06-30T10:10:02.415" v="1"/>
      <pc:docMkLst>
        <pc:docMk/>
      </pc:docMkLst>
      <pc:sldChg chg="modCm">
        <pc:chgData name="" userId="" providerId="" clId="Web-{DCFA0CE3-E195-43D4-A929-72F7396365CC}" dt="2020-06-30T10:10:02.415" v="1"/>
        <pc:sldMkLst>
          <pc:docMk/>
          <pc:sldMk cId="1492680702" sldId="310"/>
        </pc:sldMkLst>
      </pc:sldChg>
    </pc:docChg>
  </pc:docChgLst>
  <pc:docChgLst>
    <pc:chgData name="Felipe De Assis" userId="fedc4fe9-b909-48c3-b8ca-78d40727f114" providerId="ADAL" clId="{2CA767CB-6F25-45CD-B179-7AF847F4C6C7}"/>
    <pc:docChg chg="undo custSel addSld delSld modSld">
      <pc:chgData name="Felipe De Assis" userId="fedc4fe9-b909-48c3-b8ca-78d40727f114" providerId="ADAL" clId="{2CA767CB-6F25-45CD-B179-7AF847F4C6C7}" dt="2020-07-09T04:47:46.361" v="1168" actId="20577"/>
      <pc:docMkLst>
        <pc:docMk/>
      </pc:docMkLst>
      <pc:sldChg chg="addSp delSp modSp mod addCm delCm">
        <pc:chgData name="Felipe De Assis" userId="fedc4fe9-b909-48c3-b8ca-78d40727f114" providerId="ADAL" clId="{2CA767CB-6F25-45CD-B179-7AF847F4C6C7}" dt="2020-07-09T04:36:06.640" v="1019" actId="122"/>
        <pc:sldMkLst>
          <pc:docMk/>
          <pc:sldMk cId="4267675391" sldId="280"/>
        </pc:sldMkLst>
        <pc:spChg chg="add del mod">
          <ac:chgData name="Felipe De Assis" userId="fedc4fe9-b909-48c3-b8ca-78d40727f114" providerId="ADAL" clId="{2CA767CB-6F25-45CD-B179-7AF847F4C6C7}" dt="2020-07-09T04:35:51.661" v="972" actId="478"/>
          <ac:spMkLst>
            <pc:docMk/>
            <pc:sldMk cId="4267675391" sldId="280"/>
            <ac:spMk id="3" creationId="{8F64A22E-2B43-4FC6-AF08-0CDB3F9E9269}"/>
          </ac:spMkLst>
        </pc:spChg>
        <pc:spChg chg="add del mod">
          <ac:chgData name="Felipe De Assis" userId="fedc4fe9-b909-48c3-b8ca-78d40727f114" providerId="ADAL" clId="{2CA767CB-6F25-45CD-B179-7AF847F4C6C7}" dt="2020-07-09T04:35:50.035" v="971" actId="478"/>
          <ac:spMkLst>
            <pc:docMk/>
            <pc:sldMk cId="4267675391" sldId="280"/>
            <ac:spMk id="4" creationId="{FBFA4838-FEAC-483E-9E63-DA537623D535}"/>
          </ac:spMkLst>
        </pc:spChg>
        <pc:spChg chg="add del mod">
          <ac:chgData name="Felipe De Assis" userId="fedc4fe9-b909-48c3-b8ca-78d40727f114" providerId="ADAL" clId="{2CA767CB-6F25-45CD-B179-7AF847F4C6C7}" dt="2020-07-09T04:35:51.661" v="972" actId="478"/>
          <ac:spMkLst>
            <pc:docMk/>
            <pc:sldMk cId="4267675391" sldId="280"/>
            <ac:spMk id="6" creationId="{637E159C-9ACF-48AE-927A-D5FB13695C7F}"/>
          </ac:spMkLst>
        </pc:spChg>
        <pc:spChg chg="add del mod">
          <ac:chgData name="Felipe De Assis" userId="fedc4fe9-b909-48c3-b8ca-78d40727f114" providerId="ADAL" clId="{2CA767CB-6F25-45CD-B179-7AF847F4C6C7}" dt="2020-07-09T04:35:43.188" v="969"/>
          <ac:spMkLst>
            <pc:docMk/>
            <pc:sldMk cId="4267675391" sldId="280"/>
            <ac:spMk id="8" creationId="{44C04E3E-A9AB-419C-A613-CD45E0D5B137}"/>
          </ac:spMkLst>
        </pc:spChg>
        <pc:spChg chg="add del mod">
          <ac:chgData name="Felipe De Assis" userId="fedc4fe9-b909-48c3-b8ca-78d40727f114" providerId="ADAL" clId="{2CA767CB-6F25-45CD-B179-7AF847F4C6C7}" dt="2020-07-09T04:35:43.188" v="969"/>
          <ac:spMkLst>
            <pc:docMk/>
            <pc:sldMk cId="4267675391" sldId="280"/>
            <ac:spMk id="9" creationId="{058B9419-8C0D-4CE5-9EC4-EFA606B20F1A}"/>
          </ac:spMkLst>
        </pc:spChg>
        <pc:spChg chg="add del mod">
          <ac:chgData name="Felipe De Assis" userId="fedc4fe9-b909-48c3-b8ca-78d40727f114" providerId="ADAL" clId="{2CA767CB-6F25-45CD-B179-7AF847F4C6C7}" dt="2020-07-09T04:35:50.035" v="971" actId="478"/>
          <ac:spMkLst>
            <pc:docMk/>
            <pc:sldMk cId="4267675391" sldId="280"/>
            <ac:spMk id="11" creationId="{B958B9EC-8C0F-4219-88B6-8CD060385556}"/>
          </ac:spMkLst>
        </pc:spChg>
        <pc:spChg chg="add mod">
          <ac:chgData name="Felipe De Assis" userId="fedc4fe9-b909-48c3-b8ca-78d40727f114" providerId="ADAL" clId="{2CA767CB-6F25-45CD-B179-7AF847F4C6C7}" dt="2020-07-09T04:36:06.640" v="1019" actId="122"/>
          <ac:spMkLst>
            <pc:docMk/>
            <pc:sldMk cId="4267675391" sldId="280"/>
            <ac:spMk id="13" creationId="{0AD179CE-F245-4119-A5A0-5BEBF4C2F370}"/>
          </ac:spMkLst>
        </pc:spChg>
        <pc:spChg chg="add mod">
          <ac:chgData name="Felipe De Assis" userId="fedc4fe9-b909-48c3-b8ca-78d40727f114" providerId="ADAL" clId="{2CA767CB-6F25-45CD-B179-7AF847F4C6C7}" dt="2020-07-09T04:36:06.640" v="1019" actId="122"/>
          <ac:spMkLst>
            <pc:docMk/>
            <pc:sldMk cId="4267675391" sldId="280"/>
            <ac:spMk id="15" creationId="{6FA58E3B-B311-4EA9-86B1-227F8E2CA84E}"/>
          </ac:spMkLst>
        </pc:spChg>
      </pc:sldChg>
      <pc:sldChg chg="modSp mod">
        <pc:chgData name="Felipe De Assis" userId="fedc4fe9-b909-48c3-b8ca-78d40727f114" providerId="ADAL" clId="{2CA767CB-6F25-45CD-B179-7AF847F4C6C7}" dt="2020-07-09T00:47:20.020" v="394" actId="1076"/>
        <pc:sldMkLst>
          <pc:docMk/>
          <pc:sldMk cId="107647417" sldId="286"/>
        </pc:sldMkLst>
        <pc:spChg chg="mod">
          <ac:chgData name="Felipe De Assis" userId="fedc4fe9-b909-48c3-b8ca-78d40727f114" providerId="ADAL" clId="{2CA767CB-6F25-45CD-B179-7AF847F4C6C7}" dt="2020-07-09T00:47:20.020" v="394" actId="1076"/>
          <ac:spMkLst>
            <pc:docMk/>
            <pc:sldMk cId="107647417" sldId="286"/>
            <ac:spMk id="5" creationId="{C00FE8B9-B5D0-4335-B730-CCFBEAFBD756}"/>
          </ac:spMkLst>
        </pc:spChg>
      </pc:sldChg>
      <pc:sldChg chg="modSp mod modAnim addCm">
        <pc:chgData name="Felipe De Assis" userId="fedc4fe9-b909-48c3-b8ca-78d40727f114" providerId="ADAL" clId="{2CA767CB-6F25-45CD-B179-7AF847F4C6C7}" dt="2020-07-09T04:45:44.699" v="1131" actId="20577"/>
        <pc:sldMkLst>
          <pc:docMk/>
          <pc:sldMk cId="568747255" sldId="287"/>
        </pc:sldMkLst>
        <pc:spChg chg="mod">
          <ac:chgData name="Felipe De Assis" userId="fedc4fe9-b909-48c3-b8ca-78d40727f114" providerId="ADAL" clId="{2CA767CB-6F25-45CD-B179-7AF847F4C6C7}" dt="2020-07-09T04:45:44.699" v="1131" actId="20577"/>
          <ac:spMkLst>
            <pc:docMk/>
            <pc:sldMk cId="568747255" sldId="287"/>
            <ac:spMk id="42" creationId="{2665ADF5-16CF-4034-B3FA-CB8312A824DB}"/>
          </ac:spMkLst>
        </pc:spChg>
        <pc:spChg chg="mod">
          <ac:chgData name="Felipe De Assis" userId="fedc4fe9-b909-48c3-b8ca-78d40727f114" providerId="ADAL" clId="{2CA767CB-6F25-45CD-B179-7AF847F4C6C7}" dt="2020-07-09T00:49:39.849" v="412" actId="1076"/>
          <ac:spMkLst>
            <pc:docMk/>
            <pc:sldMk cId="568747255" sldId="287"/>
            <ac:spMk id="68" creationId="{00000000-0000-0000-0000-000000000000}"/>
          </ac:spMkLst>
        </pc:spChg>
      </pc:sldChg>
      <pc:sldChg chg="modSp modAnim">
        <pc:chgData name="Felipe De Assis" userId="fedc4fe9-b909-48c3-b8ca-78d40727f114" providerId="ADAL" clId="{2CA767CB-6F25-45CD-B179-7AF847F4C6C7}" dt="2020-07-09T01:15:00.274" v="448" actId="20577"/>
        <pc:sldMkLst>
          <pc:docMk/>
          <pc:sldMk cId="3632493870" sldId="288"/>
        </pc:sldMkLst>
        <pc:spChg chg="mod">
          <ac:chgData name="Felipe De Assis" userId="fedc4fe9-b909-48c3-b8ca-78d40727f114" providerId="ADAL" clId="{2CA767CB-6F25-45CD-B179-7AF847F4C6C7}" dt="2020-07-09T01:14:58.733" v="446" actId="20577"/>
          <ac:spMkLst>
            <pc:docMk/>
            <pc:sldMk cId="3632493870" sldId="288"/>
            <ac:spMk id="2" creationId="{00000000-0000-0000-0000-000000000000}"/>
          </ac:spMkLst>
        </pc:spChg>
        <pc:graphicFrameChg chg="mod">
          <ac:chgData name="Felipe De Assis" userId="fedc4fe9-b909-48c3-b8ca-78d40727f114" providerId="ADAL" clId="{2CA767CB-6F25-45CD-B179-7AF847F4C6C7}" dt="2020-07-09T01:14:35.621" v="443" actId="255"/>
          <ac:graphicFrameMkLst>
            <pc:docMk/>
            <pc:sldMk cId="3632493870" sldId="288"/>
            <ac:graphicFrameMk id="9" creationId="{CB346203-4DCE-4326-B503-3923A5113E1F}"/>
          </ac:graphicFrameMkLst>
        </pc:graphicFrameChg>
      </pc:sldChg>
      <pc:sldChg chg="modSp mod">
        <pc:chgData name="Felipe De Assis" userId="fedc4fe9-b909-48c3-b8ca-78d40727f114" providerId="ADAL" clId="{2CA767CB-6F25-45CD-B179-7AF847F4C6C7}" dt="2020-07-09T04:46:09.822" v="1139" actId="20577"/>
        <pc:sldMkLst>
          <pc:docMk/>
          <pc:sldMk cId="2206503917" sldId="289"/>
        </pc:sldMkLst>
        <pc:spChg chg="mod">
          <ac:chgData name="Felipe De Assis" userId="fedc4fe9-b909-48c3-b8ca-78d40727f114" providerId="ADAL" clId="{2CA767CB-6F25-45CD-B179-7AF847F4C6C7}" dt="2020-07-09T04:46:09.822" v="1139" actId="20577"/>
          <ac:spMkLst>
            <pc:docMk/>
            <pc:sldMk cId="2206503917" sldId="289"/>
            <ac:spMk id="7" creationId="{55D787D9-4323-4D4A-9DA7-9F9352826DA0}"/>
          </ac:spMkLst>
        </pc:spChg>
      </pc:sldChg>
      <pc:sldChg chg="modSp">
        <pc:chgData name="Felipe De Assis" userId="fedc4fe9-b909-48c3-b8ca-78d40727f114" providerId="ADAL" clId="{2CA767CB-6F25-45CD-B179-7AF847F4C6C7}" dt="2020-07-09T03:51:04.249" v="678" actId="20577"/>
        <pc:sldMkLst>
          <pc:docMk/>
          <pc:sldMk cId="1217651145" sldId="290"/>
        </pc:sldMkLst>
        <pc:graphicFrameChg chg="mod">
          <ac:chgData name="Felipe De Assis" userId="fedc4fe9-b909-48c3-b8ca-78d40727f114" providerId="ADAL" clId="{2CA767CB-6F25-45CD-B179-7AF847F4C6C7}" dt="2020-07-09T03:51:04.249" v="678" actId="20577"/>
          <ac:graphicFrameMkLst>
            <pc:docMk/>
            <pc:sldMk cId="1217651145" sldId="290"/>
            <ac:graphicFrameMk id="10" creationId="{04E61BD6-A64F-4D97-98C9-96700DFC2797}"/>
          </ac:graphicFrameMkLst>
        </pc:graphicFrameChg>
      </pc:sldChg>
      <pc:sldChg chg="modSp mod">
        <pc:chgData name="Felipe De Assis" userId="fedc4fe9-b909-48c3-b8ca-78d40727f114" providerId="ADAL" clId="{2CA767CB-6F25-45CD-B179-7AF847F4C6C7}" dt="2020-07-09T04:41:28.182" v="1108" actId="790"/>
        <pc:sldMkLst>
          <pc:docMk/>
          <pc:sldMk cId="454975488" sldId="292"/>
        </pc:sldMkLst>
        <pc:spChg chg="mod">
          <ac:chgData name="Felipe De Assis" userId="fedc4fe9-b909-48c3-b8ca-78d40727f114" providerId="ADAL" clId="{2CA767CB-6F25-45CD-B179-7AF847F4C6C7}" dt="2020-07-09T04:41:28.182" v="1108" actId="790"/>
          <ac:spMkLst>
            <pc:docMk/>
            <pc:sldMk cId="454975488" sldId="292"/>
            <ac:spMk id="3" creationId="{00000000-0000-0000-0000-000000000000}"/>
          </ac:spMkLst>
        </pc:spChg>
      </pc:sldChg>
      <pc:sldChg chg="modSp mod addCm modCm">
        <pc:chgData name="Felipe De Assis" userId="fedc4fe9-b909-48c3-b8ca-78d40727f114" providerId="ADAL" clId="{2CA767CB-6F25-45CD-B179-7AF847F4C6C7}" dt="2020-07-09T04:42:11.606" v="1110" actId="790"/>
        <pc:sldMkLst>
          <pc:docMk/>
          <pc:sldMk cId="1818348422" sldId="293"/>
        </pc:sldMkLst>
        <pc:spChg chg="mod">
          <ac:chgData name="Felipe De Assis" userId="fedc4fe9-b909-48c3-b8ca-78d40727f114" providerId="ADAL" clId="{2CA767CB-6F25-45CD-B179-7AF847F4C6C7}" dt="2020-07-09T04:42:11.606" v="1110" actId="790"/>
          <ac:spMkLst>
            <pc:docMk/>
            <pc:sldMk cId="1818348422" sldId="293"/>
            <ac:spMk id="2" creationId="{00000000-0000-0000-0000-000000000000}"/>
          </ac:spMkLst>
        </pc:spChg>
      </pc:sldChg>
      <pc:sldChg chg="addSp delSp modSp mod addCm">
        <pc:chgData name="Felipe De Assis" userId="fedc4fe9-b909-48c3-b8ca-78d40727f114" providerId="ADAL" clId="{2CA767CB-6F25-45CD-B179-7AF847F4C6C7}" dt="2020-07-08T21:51:00.481" v="63" actId="478"/>
        <pc:sldMkLst>
          <pc:docMk/>
          <pc:sldMk cId="2809197836" sldId="294"/>
        </pc:sldMkLst>
        <pc:spChg chg="del">
          <ac:chgData name="Felipe De Assis" userId="fedc4fe9-b909-48c3-b8ca-78d40727f114" providerId="ADAL" clId="{2CA767CB-6F25-45CD-B179-7AF847F4C6C7}" dt="2020-07-08T21:50:57.237" v="61" actId="478"/>
          <ac:spMkLst>
            <pc:docMk/>
            <pc:sldMk cId="2809197836" sldId="294"/>
            <ac:spMk id="2" creationId="{00000000-0000-0000-0000-000000000000}"/>
          </ac:spMkLst>
        </pc:spChg>
        <pc:spChg chg="mod">
          <ac:chgData name="Felipe De Assis" userId="fedc4fe9-b909-48c3-b8ca-78d40727f114" providerId="ADAL" clId="{2CA767CB-6F25-45CD-B179-7AF847F4C6C7}" dt="2020-07-08T21:47:09.452" v="59" actId="1076"/>
          <ac:spMkLst>
            <pc:docMk/>
            <pc:sldMk cId="2809197836" sldId="294"/>
            <ac:spMk id="3" creationId="{00000000-0000-0000-0000-000000000000}"/>
          </ac:spMkLst>
        </pc:spChg>
        <pc:spChg chg="add del mod">
          <ac:chgData name="Felipe De Assis" userId="fedc4fe9-b909-48c3-b8ca-78d40727f114" providerId="ADAL" clId="{2CA767CB-6F25-45CD-B179-7AF847F4C6C7}" dt="2020-07-08T21:51:00.481" v="63" actId="478"/>
          <ac:spMkLst>
            <pc:docMk/>
            <pc:sldMk cId="2809197836" sldId="294"/>
            <ac:spMk id="6" creationId="{5885781D-5CA3-4FE8-A667-7242B82709F4}"/>
          </ac:spMkLst>
        </pc:spChg>
        <pc:spChg chg="add mod">
          <ac:chgData name="Felipe De Assis" userId="fedc4fe9-b909-48c3-b8ca-78d40727f114" providerId="ADAL" clId="{2CA767CB-6F25-45CD-B179-7AF847F4C6C7}" dt="2020-07-08T21:50:57.698" v="62"/>
          <ac:spMkLst>
            <pc:docMk/>
            <pc:sldMk cId="2809197836" sldId="294"/>
            <ac:spMk id="7" creationId="{A9B42387-507F-4C6A-9F1E-B86472F16BF1}"/>
          </ac:spMkLst>
        </pc:spChg>
      </pc:sldChg>
      <pc:sldChg chg="modSp mod modNotesTx">
        <pc:chgData name="Felipe De Assis" userId="fedc4fe9-b909-48c3-b8ca-78d40727f114" providerId="ADAL" clId="{2CA767CB-6F25-45CD-B179-7AF847F4C6C7}" dt="2020-07-09T04:42:20.014" v="1111" actId="790"/>
        <pc:sldMkLst>
          <pc:docMk/>
          <pc:sldMk cId="3733138963" sldId="295"/>
        </pc:sldMkLst>
        <pc:spChg chg="mod">
          <ac:chgData name="Felipe De Assis" userId="fedc4fe9-b909-48c3-b8ca-78d40727f114" providerId="ADAL" clId="{2CA767CB-6F25-45CD-B179-7AF847F4C6C7}" dt="2020-07-09T04:42:20.014" v="1111" actId="790"/>
          <ac:spMkLst>
            <pc:docMk/>
            <pc:sldMk cId="3733138963" sldId="295"/>
            <ac:spMk id="2" creationId="{00000000-0000-0000-0000-000000000000}"/>
          </ac:spMkLst>
        </pc:spChg>
        <pc:graphicFrameChg chg="mod">
          <ac:chgData name="Felipe De Assis" userId="fedc4fe9-b909-48c3-b8ca-78d40727f114" providerId="ADAL" clId="{2CA767CB-6F25-45CD-B179-7AF847F4C6C7}" dt="2020-07-08T21:53:32.300" v="65" actId="20577"/>
          <ac:graphicFrameMkLst>
            <pc:docMk/>
            <pc:sldMk cId="3733138963" sldId="295"/>
            <ac:graphicFrameMk id="4" creationId="{44AB456F-A9C7-428C-A066-340F83519514}"/>
          </ac:graphicFrameMkLst>
        </pc:graphicFrameChg>
      </pc:sldChg>
      <pc:sldChg chg="modSp addCm">
        <pc:chgData name="Felipe De Assis" userId="fedc4fe9-b909-48c3-b8ca-78d40727f114" providerId="ADAL" clId="{2CA767CB-6F25-45CD-B179-7AF847F4C6C7}" dt="2020-07-08T22:15:25.163" v="230"/>
        <pc:sldMkLst>
          <pc:docMk/>
          <pc:sldMk cId="2853518653" sldId="297"/>
        </pc:sldMkLst>
        <pc:graphicFrameChg chg="mod">
          <ac:chgData name="Felipe De Assis" userId="fedc4fe9-b909-48c3-b8ca-78d40727f114" providerId="ADAL" clId="{2CA767CB-6F25-45CD-B179-7AF847F4C6C7}" dt="2020-07-08T22:06:44.950" v="215"/>
          <ac:graphicFrameMkLst>
            <pc:docMk/>
            <pc:sldMk cId="2853518653" sldId="297"/>
            <ac:graphicFrameMk id="5" creationId="{F7145805-AC98-45D5-B7C0-4F1A7D30A48A}"/>
          </ac:graphicFrameMkLst>
        </pc:graphicFrameChg>
      </pc:sldChg>
      <pc:sldChg chg="modNotesTx">
        <pc:chgData name="Felipe De Assis" userId="fedc4fe9-b909-48c3-b8ca-78d40727f114" providerId="ADAL" clId="{2CA767CB-6F25-45CD-B179-7AF847F4C6C7}" dt="2020-07-08T22:21:06.026" v="357" actId="115"/>
        <pc:sldMkLst>
          <pc:docMk/>
          <pc:sldMk cId="3798026529" sldId="298"/>
        </pc:sldMkLst>
      </pc:sldChg>
      <pc:sldChg chg="modSp mod addCm modNotesTx">
        <pc:chgData name="Felipe De Assis" userId="fedc4fe9-b909-48c3-b8ca-78d40727f114" providerId="ADAL" clId="{2CA767CB-6F25-45CD-B179-7AF847F4C6C7}" dt="2020-07-09T04:41:34.800" v="1109" actId="790"/>
        <pc:sldMkLst>
          <pc:docMk/>
          <pc:sldMk cId="4265416158" sldId="307"/>
        </pc:sldMkLst>
        <pc:spChg chg="mod">
          <ac:chgData name="Felipe De Assis" userId="fedc4fe9-b909-48c3-b8ca-78d40727f114" providerId="ADAL" clId="{2CA767CB-6F25-45CD-B179-7AF847F4C6C7}" dt="2020-07-09T04:41:34.800" v="1109" actId="790"/>
          <ac:spMkLst>
            <pc:docMk/>
            <pc:sldMk cId="4265416158" sldId="307"/>
            <ac:spMk id="2" creationId="{00000000-0000-0000-0000-000000000000}"/>
          </ac:spMkLst>
        </pc:spChg>
        <pc:graphicFrameChg chg="mod">
          <ac:chgData name="Felipe De Assis" userId="fedc4fe9-b909-48c3-b8ca-78d40727f114" providerId="ADAL" clId="{2CA767CB-6F25-45CD-B179-7AF847F4C6C7}" dt="2020-07-08T22:03:28.539" v="202"/>
          <ac:graphicFrameMkLst>
            <pc:docMk/>
            <pc:sldMk cId="4265416158" sldId="307"/>
            <ac:graphicFrameMk id="8" creationId="{68F8824B-B0F2-43CF-AC72-FE9FC1A6E14C}"/>
          </ac:graphicFrameMkLst>
        </pc:graphicFrameChg>
      </pc:sldChg>
      <pc:sldChg chg="modSp mod addCm modCm">
        <pc:chgData name="Felipe De Assis" userId="fedc4fe9-b909-48c3-b8ca-78d40727f114" providerId="ADAL" clId="{2CA767CB-6F25-45CD-B179-7AF847F4C6C7}" dt="2020-07-09T04:43:06.539" v="1122" actId="20577"/>
        <pc:sldMkLst>
          <pc:docMk/>
          <pc:sldMk cId="1492680702" sldId="310"/>
        </pc:sldMkLst>
        <pc:spChg chg="mod">
          <ac:chgData name="Felipe De Assis" userId="fedc4fe9-b909-48c3-b8ca-78d40727f114" providerId="ADAL" clId="{2CA767CB-6F25-45CD-B179-7AF847F4C6C7}" dt="2020-07-09T04:43:06.539" v="1122" actId="20577"/>
          <ac:spMkLst>
            <pc:docMk/>
            <pc:sldMk cId="1492680702" sldId="310"/>
            <ac:spMk id="2" creationId="{00000000-0000-0000-0000-000000000000}"/>
          </ac:spMkLst>
        </pc:spChg>
        <pc:spChg chg="mod">
          <ac:chgData name="Felipe De Assis" userId="fedc4fe9-b909-48c3-b8ca-78d40727f114" providerId="ADAL" clId="{2CA767CB-6F25-45CD-B179-7AF847F4C6C7}" dt="2020-06-29T13:55:06.145" v="9" actId="14100"/>
          <ac:spMkLst>
            <pc:docMk/>
            <pc:sldMk cId="1492680702" sldId="310"/>
            <ac:spMk id="3" creationId="{8550FD8A-F850-45E6-A015-3D3CF00E7F3B}"/>
          </ac:spMkLst>
        </pc:spChg>
        <pc:cxnChg chg="mod">
          <ac:chgData name="Felipe De Assis" userId="fedc4fe9-b909-48c3-b8ca-78d40727f114" providerId="ADAL" clId="{2CA767CB-6F25-45CD-B179-7AF847F4C6C7}" dt="2020-06-29T13:54:12.697" v="1" actId="208"/>
          <ac:cxnSpMkLst>
            <pc:docMk/>
            <pc:sldMk cId="1492680702" sldId="310"/>
            <ac:cxnSpMk id="107" creationId="{A2A0A03E-318F-4EA1-868C-D1AE6472066D}"/>
          </ac:cxnSpMkLst>
        </pc:cxnChg>
        <pc:cxnChg chg="mod">
          <ac:chgData name="Felipe De Assis" userId="fedc4fe9-b909-48c3-b8ca-78d40727f114" providerId="ADAL" clId="{2CA767CB-6F25-45CD-B179-7AF847F4C6C7}" dt="2020-06-29T13:54:12.697" v="1" actId="208"/>
          <ac:cxnSpMkLst>
            <pc:docMk/>
            <pc:sldMk cId="1492680702" sldId="310"/>
            <ac:cxnSpMk id="108" creationId="{89596528-F56D-4731-A384-348544F593E5}"/>
          </ac:cxnSpMkLst>
        </pc:cxnChg>
      </pc:sldChg>
      <pc:sldChg chg="modSp mod">
        <pc:chgData name="Felipe De Assis" userId="fedc4fe9-b909-48c3-b8ca-78d40727f114" providerId="ADAL" clId="{2CA767CB-6F25-45CD-B179-7AF847F4C6C7}" dt="2020-07-09T04:45:48.509" v="1133" actId="20577"/>
        <pc:sldMkLst>
          <pc:docMk/>
          <pc:sldMk cId="1003430468" sldId="312"/>
        </pc:sldMkLst>
        <pc:spChg chg="mod">
          <ac:chgData name="Felipe De Assis" userId="fedc4fe9-b909-48c3-b8ca-78d40727f114" providerId="ADAL" clId="{2CA767CB-6F25-45CD-B179-7AF847F4C6C7}" dt="2020-07-09T04:45:48.509" v="1133" actId="20577"/>
          <ac:spMkLst>
            <pc:docMk/>
            <pc:sldMk cId="1003430468" sldId="312"/>
            <ac:spMk id="7" creationId="{AD25EC0F-C4F7-465D-8BCA-EFB3B27686B4}"/>
          </ac:spMkLst>
        </pc:spChg>
        <pc:graphicFrameChg chg="mod">
          <ac:chgData name="Felipe De Assis" userId="fedc4fe9-b909-48c3-b8ca-78d40727f114" providerId="ADAL" clId="{2CA767CB-6F25-45CD-B179-7AF847F4C6C7}" dt="2020-07-09T00:59:15.097" v="438" actId="20577"/>
          <ac:graphicFrameMkLst>
            <pc:docMk/>
            <pc:sldMk cId="1003430468" sldId="312"/>
            <ac:graphicFrameMk id="10" creationId="{151FD378-3C1D-4918-9F92-E7FBABFA1AF6}"/>
          </ac:graphicFrameMkLst>
        </pc:graphicFrameChg>
      </pc:sldChg>
      <pc:sldChg chg="modSp mod">
        <pc:chgData name="Felipe De Assis" userId="fedc4fe9-b909-48c3-b8ca-78d40727f114" providerId="ADAL" clId="{2CA767CB-6F25-45CD-B179-7AF847F4C6C7}" dt="2020-07-09T04:45:52.246" v="1135" actId="20577"/>
        <pc:sldMkLst>
          <pc:docMk/>
          <pc:sldMk cId="2693014681" sldId="313"/>
        </pc:sldMkLst>
        <pc:spChg chg="mod">
          <ac:chgData name="Felipe De Assis" userId="fedc4fe9-b909-48c3-b8ca-78d40727f114" providerId="ADAL" clId="{2CA767CB-6F25-45CD-B179-7AF847F4C6C7}" dt="2020-07-09T04:45:52.246" v="1135" actId="20577"/>
          <ac:spMkLst>
            <pc:docMk/>
            <pc:sldMk cId="2693014681" sldId="313"/>
            <ac:spMk id="9" creationId="{DF324A00-B83D-4A75-AA0C-BEFCF9FD8741}"/>
          </ac:spMkLst>
        </pc:spChg>
      </pc:sldChg>
      <pc:sldChg chg="modSp mod">
        <pc:chgData name="Felipe De Assis" userId="fedc4fe9-b909-48c3-b8ca-78d40727f114" providerId="ADAL" clId="{2CA767CB-6F25-45CD-B179-7AF847F4C6C7}" dt="2020-07-09T04:45:55.514" v="1137" actId="20577"/>
        <pc:sldMkLst>
          <pc:docMk/>
          <pc:sldMk cId="4183901216" sldId="314"/>
        </pc:sldMkLst>
        <pc:spChg chg="mod">
          <ac:chgData name="Felipe De Assis" userId="fedc4fe9-b909-48c3-b8ca-78d40727f114" providerId="ADAL" clId="{2CA767CB-6F25-45CD-B179-7AF847F4C6C7}" dt="2020-07-09T04:45:55.514" v="1137" actId="20577"/>
          <ac:spMkLst>
            <pc:docMk/>
            <pc:sldMk cId="4183901216" sldId="314"/>
            <ac:spMk id="7" creationId="{704C2D27-9D20-49BD-A0D4-D84DF8A9520F}"/>
          </ac:spMkLst>
        </pc:spChg>
      </pc:sldChg>
      <pc:sldChg chg="modSp mod">
        <pc:chgData name="Felipe De Assis" userId="fedc4fe9-b909-48c3-b8ca-78d40727f114" providerId="ADAL" clId="{2CA767CB-6F25-45CD-B179-7AF847F4C6C7}" dt="2020-07-09T04:46:12.612" v="1141" actId="20577"/>
        <pc:sldMkLst>
          <pc:docMk/>
          <pc:sldMk cId="2703328026" sldId="315"/>
        </pc:sldMkLst>
        <pc:spChg chg="mod">
          <ac:chgData name="Felipe De Assis" userId="fedc4fe9-b909-48c3-b8ca-78d40727f114" providerId="ADAL" clId="{2CA767CB-6F25-45CD-B179-7AF847F4C6C7}" dt="2020-07-09T04:46:12.612" v="1141" actId="20577"/>
          <ac:spMkLst>
            <pc:docMk/>
            <pc:sldMk cId="2703328026" sldId="315"/>
            <ac:spMk id="7" creationId="{5AD88643-3A0A-4DB2-8ED5-AF3A676271E5}"/>
          </ac:spMkLst>
        </pc:spChg>
      </pc:sldChg>
      <pc:sldChg chg="modSp mod addCm">
        <pc:chgData name="Felipe De Assis" userId="fedc4fe9-b909-48c3-b8ca-78d40727f114" providerId="ADAL" clId="{2CA767CB-6F25-45CD-B179-7AF847F4C6C7}" dt="2020-07-09T04:43:27.414" v="1124" actId="20577"/>
        <pc:sldMkLst>
          <pc:docMk/>
          <pc:sldMk cId="1366697794" sldId="316"/>
        </pc:sldMkLst>
        <pc:spChg chg="mod">
          <ac:chgData name="Felipe De Assis" userId="fedc4fe9-b909-48c3-b8ca-78d40727f114" providerId="ADAL" clId="{2CA767CB-6F25-45CD-B179-7AF847F4C6C7}" dt="2020-07-09T04:43:27.414" v="1124" actId="20577"/>
          <ac:spMkLst>
            <pc:docMk/>
            <pc:sldMk cId="1366697794" sldId="316"/>
            <ac:spMk id="2" creationId="{00000000-0000-0000-0000-000000000000}"/>
          </ac:spMkLst>
        </pc:spChg>
      </pc:sldChg>
      <pc:sldChg chg="modSp">
        <pc:chgData name="Felipe De Assis" userId="fedc4fe9-b909-48c3-b8ca-78d40727f114" providerId="ADAL" clId="{2CA767CB-6F25-45CD-B179-7AF847F4C6C7}" dt="2020-07-08T22:23:50.609" v="387" actId="207"/>
        <pc:sldMkLst>
          <pc:docMk/>
          <pc:sldMk cId="3158995429" sldId="317"/>
        </pc:sldMkLst>
        <pc:graphicFrameChg chg="mod">
          <ac:chgData name="Felipe De Assis" userId="fedc4fe9-b909-48c3-b8ca-78d40727f114" providerId="ADAL" clId="{2CA767CB-6F25-45CD-B179-7AF847F4C6C7}" dt="2020-07-08T22:23:50.609" v="387" actId="207"/>
          <ac:graphicFrameMkLst>
            <pc:docMk/>
            <pc:sldMk cId="3158995429" sldId="317"/>
            <ac:graphicFrameMk id="6" creationId="{C4D9F335-4959-4F8A-9573-1AF54B27BF62}"/>
          </ac:graphicFrameMkLst>
        </pc:graphicFrameChg>
      </pc:sldChg>
      <pc:sldChg chg="modSp modNotesTx">
        <pc:chgData name="Felipe De Assis" userId="fedc4fe9-b909-48c3-b8ca-78d40727f114" providerId="ADAL" clId="{2CA767CB-6F25-45CD-B179-7AF847F4C6C7}" dt="2020-07-09T04:04:46.107" v="871" actId="20577"/>
        <pc:sldMkLst>
          <pc:docMk/>
          <pc:sldMk cId="344886651" sldId="321"/>
        </pc:sldMkLst>
        <pc:graphicFrameChg chg="mod">
          <ac:chgData name="Felipe De Assis" userId="fedc4fe9-b909-48c3-b8ca-78d40727f114" providerId="ADAL" clId="{2CA767CB-6F25-45CD-B179-7AF847F4C6C7}" dt="2020-07-09T04:03:38.090" v="780" actId="20577"/>
          <ac:graphicFrameMkLst>
            <pc:docMk/>
            <pc:sldMk cId="344886651" sldId="321"/>
            <ac:graphicFrameMk id="10" creationId="{8F7CEEAF-20D2-4838-BB53-3FF109300784}"/>
          </ac:graphicFrameMkLst>
        </pc:graphicFrameChg>
      </pc:sldChg>
      <pc:sldChg chg="modSp mod">
        <pc:chgData name="Felipe De Assis" userId="fedc4fe9-b909-48c3-b8ca-78d40727f114" providerId="ADAL" clId="{2CA767CB-6F25-45CD-B179-7AF847F4C6C7}" dt="2020-07-09T04:47:23.557" v="1162" actId="20577"/>
        <pc:sldMkLst>
          <pc:docMk/>
          <pc:sldMk cId="2663271135" sldId="322"/>
        </pc:sldMkLst>
        <pc:spChg chg="mod">
          <ac:chgData name="Felipe De Assis" userId="fedc4fe9-b909-48c3-b8ca-78d40727f114" providerId="ADAL" clId="{2CA767CB-6F25-45CD-B179-7AF847F4C6C7}" dt="2020-07-09T04:47:23.557" v="1162" actId="20577"/>
          <ac:spMkLst>
            <pc:docMk/>
            <pc:sldMk cId="2663271135" sldId="322"/>
            <ac:spMk id="7" creationId="{D1BFE58E-19B2-44EF-B3B3-CD00A66232CD}"/>
          </ac:spMkLst>
        </pc:spChg>
      </pc:sldChg>
      <pc:sldChg chg="modSp mod modNotesTx">
        <pc:chgData name="Felipe De Assis" userId="fedc4fe9-b909-48c3-b8ca-78d40727f114" providerId="ADAL" clId="{2CA767CB-6F25-45CD-B179-7AF847F4C6C7}" dt="2020-07-09T04:47:33.239" v="1164" actId="20577"/>
        <pc:sldMkLst>
          <pc:docMk/>
          <pc:sldMk cId="2043615524" sldId="323"/>
        </pc:sldMkLst>
        <pc:spChg chg="mod">
          <ac:chgData name="Felipe De Assis" userId="fedc4fe9-b909-48c3-b8ca-78d40727f114" providerId="ADAL" clId="{2CA767CB-6F25-45CD-B179-7AF847F4C6C7}" dt="2020-07-09T04:47:33.239" v="1164" actId="20577"/>
          <ac:spMkLst>
            <pc:docMk/>
            <pc:sldMk cId="2043615524" sldId="323"/>
            <ac:spMk id="5" creationId="{5DDD1280-DFBA-4838-BCC4-FACAEF1379DF}"/>
          </ac:spMkLst>
        </pc:spChg>
        <pc:graphicFrameChg chg="mod">
          <ac:chgData name="Felipe De Assis" userId="fedc4fe9-b909-48c3-b8ca-78d40727f114" providerId="ADAL" clId="{2CA767CB-6F25-45CD-B179-7AF847F4C6C7}" dt="2020-07-09T04:06:25.927" v="873" actId="20577"/>
          <ac:graphicFrameMkLst>
            <pc:docMk/>
            <pc:sldMk cId="2043615524" sldId="323"/>
            <ac:graphicFrameMk id="6" creationId="{CCED7DEF-2F89-420F-B16A-F5F0B24DB99E}"/>
          </ac:graphicFrameMkLst>
        </pc:graphicFrameChg>
      </pc:sldChg>
      <pc:sldChg chg="modNotesTx">
        <pc:chgData name="Felipe De Assis" userId="fedc4fe9-b909-48c3-b8ca-78d40727f114" providerId="ADAL" clId="{2CA767CB-6F25-45CD-B179-7AF847F4C6C7}" dt="2020-07-09T04:13:52.914" v="903"/>
        <pc:sldMkLst>
          <pc:docMk/>
          <pc:sldMk cId="519805071" sldId="324"/>
        </pc:sldMkLst>
      </pc:sldChg>
      <pc:sldChg chg="modSp mod addCm">
        <pc:chgData name="Felipe De Assis" userId="fedc4fe9-b909-48c3-b8ca-78d40727f114" providerId="ADAL" clId="{2CA767CB-6F25-45CD-B179-7AF847F4C6C7}" dt="2020-07-09T04:47:39.928" v="1166" actId="20577"/>
        <pc:sldMkLst>
          <pc:docMk/>
          <pc:sldMk cId="3450153804" sldId="326"/>
        </pc:sldMkLst>
        <pc:spChg chg="mod">
          <ac:chgData name="Felipe De Assis" userId="fedc4fe9-b909-48c3-b8ca-78d40727f114" providerId="ADAL" clId="{2CA767CB-6F25-45CD-B179-7AF847F4C6C7}" dt="2020-07-09T04:47:39.928" v="1166" actId="20577"/>
          <ac:spMkLst>
            <pc:docMk/>
            <pc:sldMk cId="3450153804" sldId="326"/>
            <ac:spMk id="3" creationId="{2C515826-5849-441D-8C4A-CD72633F3B82}"/>
          </ac:spMkLst>
        </pc:spChg>
        <pc:graphicFrameChg chg="mod">
          <ac:chgData name="Felipe De Assis" userId="fedc4fe9-b909-48c3-b8ca-78d40727f114" providerId="ADAL" clId="{2CA767CB-6F25-45CD-B179-7AF847F4C6C7}" dt="2020-07-09T04:14:42.669" v="929" actId="20577"/>
          <ac:graphicFrameMkLst>
            <pc:docMk/>
            <pc:sldMk cId="3450153804" sldId="326"/>
            <ac:graphicFrameMk id="7" creationId="{DA6F252D-B69F-4FE4-A262-84350D81E397}"/>
          </ac:graphicFrameMkLst>
        </pc:graphicFrameChg>
      </pc:sldChg>
      <pc:sldChg chg="modSp mod">
        <pc:chgData name="Felipe De Assis" userId="fedc4fe9-b909-48c3-b8ca-78d40727f114" providerId="ADAL" clId="{2CA767CB-6F25-45CD-B179-7AF847F4C6C7}" dt="2020-07-09T04:47:46.361" v="1168" actId="20577"/>
        <pc:sldMkLst>
          <pc:docMk/>
          <pc:sldMk cId="2285777989" sldId="328"/>
        </pc:sldMkLst>
        <pc:spChg chg="mod">
          <ac:chgData name="Felipe De Assis" userId="fedc4fe9-b909-48c3-b8ca-78d40727f114" providerId="ADAL" clId="{2CA767CB-6F25-45CD-B179-7AF847F4C6C7}" dt="2020-07-09T04:47:46.361" v="1168" actId="20577"/>
          <ac:spMkLst>
            <pc:docMk/>
            <pc:sldMk cId="2285777989" sldId="328"/>
            <ac:spMk id="7" creationId="{F26FB8E5-957C-4FAC-B075-16B49904D27F}"/>
          </ac:spMkLst>
        </pc:spChg>
      </pc:sldChg>
      <pc:sldChg chg="addSp delSp modSp mod">
        <pc:chgData name="Felipe De Assis" userId="fedc4fe9-b909-48c3-b8ca-78d40727f114" providerId="ADAL" clId="{2CA767CB-6F25-45CD-B179-7AF847F4C6C7}" dt="2020-07-09T04:42:59.212" v="1118" actId="20577"/>
        <pc:sldMkLst>
          <pc:docMk/>
          <pc:sldMk cId="4200532894" sldId="331"/>
        </pc:sldMkLst>
        <pc:spChg chg="add del mod">
          <ac:chgData name="Felipe De Assis" userId="fedc4fe9-b909-48c3-b8ca-78d40727f114" providerId="ADAL" clId="{2CA767CB-6F25-45CD-B179-7AF847F4C6C7}" dt="2020-07-09T04:42:59.212" v="1118" actId="20577"/>
          <ac:spMkLst>
            <pc:docMk/>
            <pc:sldMk cId="4200532894" sldId="331"/>
            <ac:spMk id="2" creationId="{00000000-0000-0000-0000-000000000000}"/>
          </ac:spMkLst>
        </pc:spChg>
        <pc:spChg chg="add del mod">
          <ac:chgData name="Felipe De Assis" userId="fedc4fe9-b909-48c3-b8ca-78d40727f114" providerId="ADAL" clId="{2CA767CB-6F25-45CD-B179-7AF847F4C6C7}" dt="2020-07-09T04:38:25.298" v="1029" actId="478"/>
          <ac:spMkLst>
            <pc:docMk/>
            <pc:sldMk cId="4200532894" sldId="331"/>
            <ac:spMk id="46" creationId="{ADA6B062-1BB9-4447-8DAE-CB494CB9CBD4}"/>
          </ac:spMkLst>
        </pc:spChg>
        <pc:spChg chg="add del mod">
          <ac:chgData name="Felipe De Assis" userId="fedc4fe9-b909-48c3-b8ca-78d40727f114" providerId="ADAL" clId="{2CA767CB-6F25-45CD-B179-7AF847F4C6C7}" dt="2020-07-09T04:40:28.038" v="1092" actId="478"/>
          <ac:spMkLst>
            <pc:docMk/>
            <pc:sldMk cId="4200532894" sldId="331"/>
            <ac:spMk id="48" creationId="{2BB44A13-68E1-4776-89E2-CFB13E755306}"/>
          </ac:spMkLst>
        </pc:spChg>
        <pc:spChg chg="add del mod">
          <ac:chgData name="Felipe De Assis" userId="fedc4fe9-b909-48c3-b8ca-78d40727f114" providerId="ADAL" clId="{2CA767CB-6F25-45CD-B179-7AF847F4C6C7}" dt="2020-07-09T04:40:33.385" v="1103"/>
          <ac:spMkLst>
            <pc:docMk/>
            <pc:sldMk cId="4200532894" sldId="331"/>
            <ac:spMk id="79" creationId="{89235A97-23EA-4EAC-9A0A-FF5154939710}"/>
          </ac:spMkLst>
        </pc:spChg>
      </pc:sldChg>
      <pc:sldChg chg="modSp mod">
        <pc:chgData name="Felipe De Assis" userId="fedc4fe9-b909-48c3-b8ca-78d40727f114" providerId="ADAL" clId="{2CA767CB-6F25-45CD-B179-7AF847F4C6C7}" dt="2020-07-09T04:36:32.863" v="1021" actId="790"/>
        <pc:sldMkLst>
          <pc:docMk/>
          <pc:sldMk cId="1600109808" sldId="333"/>
        </pc:sldMkLst>
        <pc:spChg chg="mod">
          <ac:chgData name="Felipe De Assis" userId="fedc4fe9-b909-48c3-b8ca-78d40727f114" providerId="ADAL" clId="{2CA767CB-6F25-45CD-B179-7AF847F4C6C7}" dt="2020-07-09T04:36:32.863" v="1021" actId="790"/>
          <ac:spMkLst>
            <pc:docMk/>
            <pc:sldMk cId="1600109808" sldId="333"/>
            <ac:spMk id="3" creationId="{1944D154-8B82-462C-B0F9-965375ABDA68}"/>
          </ac:spMkLst>
        </pc:spChg>
        <pc:graphicFrameChg chg="mod">
          <ac:chgData name="Felipe De Assis" userId="fedc4fe9-b909-48c3-b8ca-78d40727f114" providerId="ADAL" clId="{2CA767CB-6F25-45CD-B179-7AF847F4C6C7}" dt="2020-06-29T13:27:57.581" v="0" actId="255"/>
          <ac:graphicFrameMkLst>
            <pc:docMk/>
            <pc:sldMk cId="1600109808" sldId="333"/>
            <ac:graphicFrameMk id="5" creationId="{600B6F06-A3DB-4C3B-B8EF-ABECF7F5ADD4}"/>
          </ac:graphicFrameMkLst>
        </pc:graphicFrameChg>
      </pc:sldChg>
      <pc:sldChg chg="modSp mod addCm">
        <pc:chgData name="Felipe De Assis" userId="fedc4fe9-b909-48c3-b8ca-78d40727f114" providerId="ADAL" clId="{2CA767CB-6F25-45CD-B179-7AF847F4C6C7}" dt="2020-07-09T04:45:20.427" v="1129"/>
        <pc:sldMkLst>
          <pc:docMk/>
          <pc:sldMk cId="1495932348" sldId="334"/>
        </pc:sldMkLst>
        <pc:spChg chg="mod">
          <ac:chgData name="Felipe De Assis" userId="fedc4fe9-b909-48c3-b8ca-78d40727f114" providerId="ADAL" clId="{2CA767CB-6F25-45CD-B179-7AF847F4C6C7}" dt="2020-07-09T04:40:44.750" v="1106" actId="790"/>
          <ac:spMkLst>
            <pc:docMk/>
            <pc:sldMk cId="1495932348" sldId="334"/>
            <ac:spMk id="2" creationId="{07397DE9-2F07-47F7-B2A1-B04A46967F20}"/>
          </ac:spMkLst>
        </pc:spChg>
        <pc:graphicFrameChg chg="mod">
          <ac:chgData name="Felipe De Assis" userId="fedc4fe9-b909-48c3-b8ca-78d40727f114" providerId="ADAL" clId="{2CA767CB-6F25-45CD-B179-7AF847F4C6C7}" dt="2020-07-09T04:43:50.932" v="1128"/>
          <ac:graphicFrameMkLst>
            <pc:docMk/>
            <pc:sldMk cId="1495932348" sldId="334"/>
            <ac:graphicFrameMk id="4" creationId="{EC632822-0EA5-4860-B595-5C32E8960896}"/>
          </ac:graphicFrameMkLst>
        </pc:graphicFrameChg>
      </pc:sldChg>
      <pc:sldChg chg="modSp mod">
        <pc:chgData name="Felipe De Assis" userId="fedc4fe9-b909-48c3-b8ca-78d40727f114" providerId="ADAL" clId="{2CA767CB-6F25-45CD-B179-7AF847F4C6C7}" dt="2020-07-09T04:43:03.021" v="1120" actId="20577"/>
        <pc:sldMkLst>
          <pc:docMk/>
          <pc:sldMk cId="2083031587" sldId="335"/>
        </pc:sldMkLst>
        <pc:spChg chg="mod">
          <ac:chgData name="Felipe De Assis" userId="fedc4fe9-b909-48c3-b8ca-78d40727f114" providerId="ADAL" clId="{2CA767CB-6F25-45CD-B179-7AF847F4C6C7}" dt="2020-07-09T04:43:03.021" v="1120" actId="20577"/>
          <ac:spMkLst>
            <pc:docMk/>
            <pc:sldMk cId="2083031587" sldId="335"/>
            <ac:spMk id="2" creationId="{9158AF7E-B0CD-46FF-B175-71CD60FDEFC6}"/>
          </ac:spMkLst>
        </pc:spChg>
      </pc:sldChg>
      <pc:sldChg chg="modSp mod addCm modNotesTx">
        <pc:chgData name="Felipe De Assis" userId="fedc4fe9-b909-48c3-b8ca-78d40727f114" providerId="ADAL" clId="{2CA767CB-6F25-45CD-B179-7AF847F4C6C7}" dt="2020-07-08T22:12:58.687" v="229" actId="207"/>
        <pc:sldMkLst>
          <pc:docMk/>
          <pc:sldMk cId="4094655527" sldId="336"/>
        </pc:sldMkLst>
        <pc:graphicFrameChg chg="mod">
          <ac:chgData name="Felipe De Assis" userId="fedc4fe9-b909-48c3-b8ca-78d40727f114" providerId="ADAL" clId="{2CA767CB-6F25-45CD-B179-7AF847F4C6C7}" dt="2020-07-08T22:12:58.687" v="229" actId="207"/>
          <ac:graphicFrameMkLst>
            <pc:docMk/>
            <pc:sldMk cId="4094655527" sldId="336"/>
            <ac:graphicFrameMk id="7" creationId="{632D32C6-59ED-4C39-B3BA-AE03370EFCB6}"/>
          </ac:graphicFrameMkLst>
        </pc:graphicFrameChg>
        <pc:picChg chg="mod">
          <ac:chgData name="Felipe De Assis" userId="fedc4fe9-b909-48c3-b8ca-78d40727f114" providerId="ADAL" clId="{2CA767CB-6F25-45CD-B179-7AF847F4C6C7}" dt="2020-07-08T22:02:30.279" v="190" actId="1036"/>
          <ac:picMkLst>
            <pc:docMk/>
            <pc:sldMk cId="4094655527" sldId="336"/>
            <ac:picMk id="17" creationId="{20934F4E-EA67-4D5A-918E-F3A104C0D518}"/>
          </ac:picMkLst>
        </pc:picChg>
      </pc:sldChg>
      <pc:sldChg chg="modNotesTx">
        <pc:chgData name="Felipe De Assis" userId="fedc4fe9-b909-48c3-b8ca-78d40727f114" providerId="ADAL" clId="{2CA767CB-6F25-45CD-B179-7AF847F4C6C7}" dt="2020-07-09T03:54:24.337" v="683"/>
        <pc:sldMkLst>
          <pc:docMk/>
          <pc:sldMk cId="4217591162" sldId="337"/>
        </pc:sldMkLst>
      </pc:sldChg>
      <pc:sldChg chg="modNotesTx">
        <pc:chgData name="Felipe De Assis" userId="fedc4fe9-b909-48c3-b8ca-78d40727f114" providerId="ADAL" clId="{2CA767CB-6F25-45CD-B179-7AF847F4C6C7}" dt="2020-07-09T03:31:19.917" v="471" actId="20577"/>
        <pc:sldMkLst>
          <pc:docMk/>
          <pc:sldMk cId="3872919932" sldId="338"/>
        </pc:sldMkLst>
      </pc:sldChg>
      <pc:sldChg chg="modSp modNotesTx">
        <pc:chgData name="Felipe De Assis" userId="fedc4fe9-b909-48c3-b8ca-78d40727f114" providerId="ADAL" clId="{2CA767CB-6F25-45CD-B179-7AF847F4C6C7}" dt="2020-07-09T03:32:07.314" v="480" actId="255"/>
        <pc:sldMkLst>
          <pc:docMk/>
          <pc:sldMk cId="1713774245" sldId="339"/>
        </pc:sldMkLst>
        <pc:graphicFrameChg chg="mod">
          <ac:chgData name="Felipe De Assis" userId="fedc4fe9-b909-48c3-b8ca-78d40727f114" providerId="ADAL" clId="{2CA767CB-6F25-45CD-B179-7AF847F4C6C7}" dt="2020-07-09T03:32:07.314" v="480" actId="255"/>
          <ac:graphicFrameMkLst>
            <pc:docMk/>
            <pc:sldMk cId="1713774245" sldId="339"/>
            <ac:graphicFrameMk id="4" creationId="{D714248A-F0A5-4EB4-B3AA-F00FE7DCA6BB}"/>
          </ac:graphicFrameMkLst>
        </pc:graphicFrameChg>
      </pc:sldChg>
      <pc:sldChg chg="modSp addCm delCm modNotesTx">
        <pc:chgData name="Felipe De Assis" userId="fedc4fe9-b909-48c3-b8ca-78d40727f114" providerId="ADAL" clId="{2CA767CB-6F25-45CD-B179-7AF847F4C6C7}" dt="2020-07-09T03:49:17.577" v="677" actId="20577"/>
        <pc:sldMkLst>
          <pc:docMk/>
          <pc:sldMk cId="2675992697" sldId="340"/>
        </pc:sldMkLst>
        <pc:graphicFrameChg chg="mod">
          <ac:chgData name="Felipe De Assis" userId="fedc4fe9-b909-48c3-b8ca-78d40727f114" providerId="ADAL" clId="{2CA767CB-6F25-45CD-B179-7AF847F4C6C7}" dt="2020-07-09T03:49:17.577" v="677" actId="20577"/>
          <ac:graphicFrameMkLst>
            <pc:docMk/>
            <pc:sldMk cId="2675992697" sldId="340"/>
            <ac:graphicFrameMk id="4" creationId="{FEC4D7A7-FC24-4DD2-8D50-153296D08960}"/>
          </ac:graphicFrameMkLst>
        </pc:graphicFrameChg>
      </pc:sldChg>
      <pc:sldChg chg="modSp mod modNotesTx">
        <pc:chgData name="Felipe De Assis" userId="fedc4fe9-b909-48c3-b8ca-78d40727f114" providerId="ADAL" clId="{2CA767CB-6F25-45CD-B179-7AF847F4C6C7}" dt="2020-07-09T04:46:42.971" v="1160" actId="20577"/>
        <pc:sldMkLst>
          <pc:docMk/>
          <pc:sldMk cId="705010898" sldId="341"/>
        </pc:sldMkLst>
        <pc:spChg chg="mod">
          <ac:chgData name="Felipe De Assis" userId="fedc4fe9-b909-48c3-b8ca-78d40727f114" providerId="ADAL" clId="{2CA767CB-6F25-45CD-B179-7AF847F4C6C7}" dt="2020-07-09T04:46:42.971" v="1160" actId="20577"/>
          <ac:spMkLst>
            <pc:docMk/>
            <pc:sldMk cId="705010898" sldId="341"/>
            <ac:spMk id="3" creationId="{C7421ED5-8D4A-4C96-BD39-B05145F4182E}"/>
          </ac:spMkLst>
        </pc:spChg>
      </pc:sldChg>
      <pc:sldChg chg="modSp mod modNotesTx">
        <pc:chgData name="Felipe De Assis" userId="fedc4fe9-b909-48c3-b8ca-78d40727f114" providerId="ADAL" clId="{2CA767CB-6F25-45CD-B179-7AF847F4C6C7}" dt="2020-07-09T03:54:17.170" v="682" actId="20577"/>
        <pc:sldMkLst>
          <pc:docMk/>
          <pc:sldMk cId="2473067588" sldId="343"/>
        </pc:sldMkLst>
        <pc:spChg chg="mod">
          <ac:chgData name="Felipe De Assis" userId="fedc4fe9-b909-48c3-b8ca-78d40727f114" providerId="ADAL" clId="{2CA767CB-6F25-45CD-B179-7AF847F4C6C7}" dt="2020-07-09T03:52:06.773" v="679" actId="790"/>
          <ac:spMkLst>
            <pc:docMk/>
            <pc:sldMk cId="2473067588" sldId="343"/>
            <ac:spMk id="3" creationId="{2057539F-2F54-47B2-8DE4-AE63BBADA10C}"/>
          </ac:spMkLst>
        </pc:spChg>
      </pc:sldChg>
      <pc:sldChg chg="modSp mod modNotesTx">
        <pc:chgData name="Felipe De Assis" userId="fedc4fe9-b909-48c3-b8ca-78d40727f114" providerId="ADAL" clId="{2CA767CB-6F25-45CD-B179-7AF847F4C6C7}" dt="2020-07-09T03:54:29.587" v="684"/>
        <pc:sldMkLst>
          <pc:docMk/>
          <pc:sldMk cId="3654307593" sldId="344"/>
        </pc:sldMkLst>
        <pc:spChg chg="mod">
          <ac:chgData name="Felipe De Assis" userId="fedc4fe9-b909-48c3-b8ca-78d40727f114" providerId="ADAL" clId="{2CA767CB-6F25-45CD-B179-7AF847F4C6C7}" dt="2020-07-09T03:53:10.534" v="680" actId="790"/>
          <ac:spMkLst>
            <pc:docMk/>
            <pc:sldMk cId="3654307593" sldId="344"/>
            <ac:spMk id="2" creationId="{C506E086-C133-4602-ABB2-DC4DCB7F3C94}"/>
          </ac:spMkLst>
        </pc:spChg>
      </pc:sldChg>
      <pc:sldChg chg="modSp mod modNotesTx">
        <pc:chgData name="Felipe De Assis" userId="fedc4fe9-b909-48c3-b8ca-78d40727f114" providerId="ADAL" clId="{2CA767CB-6F25-45CD-B179-7AF847F4C6C7}" dt="2020-07-09T03:59:05.957" v="773" actId="790"/>
        <pc:sldMkLst>
          <pc:docMk/>
          <pc:sldMk cId="3885261174" sldId="345"/>
        </pc:sldMkLst>
        <pc:spChg chg="mod">
          <ac:chgData name="Felipe De Assis" userId="fedc4fe9-b909-48c3-b8ca-78d40727f114" providerId="ADAL" clId="{2CA767CB-6F25-45CD-B179-7AF847F4C6C7}" dt="2020-07-09T03:57:34.660" v="692" actId="20577"/>
          <ac:spMkLst>
            <pc:docMk/>
            <pc:sldMk cId="3885261174" sldId="345"/>
            <ac:spMk id="2" creationId="{AB09CB7B-1B9E-4A48-AFB4-8EECCBA8AA88}"/>
          </ac:spMkLst>
        </pc:spChg>
      </pc:sldChg>
      <pc:sldChg chg="modSp mod">
        <pc:chgData name="Felipe De Assis" userId="fedc4fe9-b909-48c3-b8ca-78d40727f114" providerId="ADAL" clId="{2CA767CB-6F25-45CD-B179-7AF847F4C6C7}" dt="2020-07-09T03:58:02.602" v="693" actId="790"/>
        <pc:sldMkLst>
          <pc:docMk/>
          <pc:sldMk cId="2249441757" sldId="346"/>
        </pc:sldMkLst>
        <pc:spChg chg="mod">
          <ac:chgData name="Felipe De Assis" userId="fedc4fe9-b909-48c3-b8ca-78d40727f114" providerId="ADAL" clId="{2CA767CB-6F25-45CD-B179-7AF847F4C6C7}" dt="2020-07-09T03:58:02.602" v="693" actId="790"/>
          <ac:spMkLst>
            <pc:docMk/>
            <pc:sldMk cId="2249441757" sldId="346"/>
            <ac:spMk id="2" creationId="{CBEE9F04-23C5-4050-A343-5EDC5F6763D5}"/>
          </ac:spMkLst>
        </pc:spChg>
      </pc:sldChg>
      <pc:sldChg chg="modSp modNotesTx">
        <pc:chgData name="Felipe De Assis" userId="fedc4fe9-b909-48c3-b8ca-78d40727f114" providerId="ADAL" clId="{2CA767CB-6F25-45CD-B179-7AF847F4C6C7}" dt="2020-07-09T04:00:22.573" v="776" actId="790"/>
        <pc:sldMkLst>
          <pc:docMk/>
          <pc:sldMk cId="1018816677" sldId="347"/>
        </pc:sldMkLst>
        <pc:spChg chg="mod">
          <ac:chgData name="Felipe De Assis" userId="fedc4fe9-b909-48c3-b8ca-78d40727f114" providerId="ADAL" clId="{2CA767CB-6F25-45CD-B179-7AF847F4C6C7}" dt="2020-07-09T03:59:42.382" v="775" actId="20577"/>
          <ac:spMkLst>
            <pc:docMk/>
            <pc:sldMk cId="1018816677" sldId="347"/>
            <ac:spMk id="19" creationId="{B3F9CEFD-019F-4DD6-968B-BD325F2221CF}"/>
          </ac:spMkLst>
        </pc:spChg>
      </pc:sldChg>
      <pc:sldChg chg="modSp mod">
        <pc:chgData name="Felipe De Assis" userId="fedc4fe9-b909-48c3-b8ca-78d40727f114" providerId="ADAL" clId="{2CA767CB-6F25-45CD-B179-7AF847F4C6C7}" dt="2020-07-09T04:05:24.276" v="872" actId="790"/>
        <pc:sldMkLst>
          <pc:docMk/>
          <pc:sldMk cId="1113543702" sldId="348"/>
        </pc:sldMkLst>
        <pc:spChg chg="mod">
          <ac:chgData name="Felipe De Assis" userId="fedc4fe9-b909-48c3-b8ca-78d40727f114" providerId="ADAL" clId="{2CA767CB-6F25-45CD-B179-7AF847F4C6C7}" dt="2020-07-09T04:05:24.276" v="872" actId="790"/>
          <ac:spMkLst>
            <pc:docMk/>
            <pc:sldMk cId="1113543702" sldId="348"/>
            <ac:spMk id="3" creationId="{243A6B43-38C4-4DCE-A02A-D14F834AF9C1}"/>
          </ac:spMkLst>
        </pc:spChg>
      </pc:sldChg>
      <pc:sldChg chg="modSp mod modNotesTx">
        <pc:chgData name="Felipe De Assis" userId="fedc4fe9-b909-48c3-b8ca-78d40727f114" providerId="ADAL" clId="{2CA767CB-6F25-45CD-B179-7AF847F4C6C7}" dt="2020-07-09T04:36:18.928" v="1020" actId="790"/>
        <pc:sldMkLst>
          <pc:docMk/>
          <pc:sldMk cId="350720894" sldId="349"/>
        </pc:sldMkLst>
        <pc:spChg chg="mod">
          <ac:chgData name="Felipe De Assis" userId="fedc4fe9-b909-48c3-b8ca-78d40727f114" providerId="ADAL" clId="{2CA767CB-6F25-45CD-B179-7AF847F4C6C7}" dt="2020-07-09T04:36:18.928" v="1020" actId="790"/>
          <ac:spMkLst>
            <pc:docMk/>
            <pc:sldMk cId="350720894" sldId="349"/>
            <ac:spMk id="3" creationId="{D85F0C96-B21E-4406-A3E8-EAD0FC262377}"/>
          </ac:spMkLst>
        </pc:spChg>
      </pc:sldChg>
      <pc:sldChg chg="addSp delSp modSp mod">
        <pc:chgData name="Felipe De Assis" userId="fedc4fe9-b909-48c3-b8ca-78d40727f114" providerId="ADAL" clId="{2CA767CB-6F25-45CD-B179-7AF847F4C6C7}" dt="2020-07-09T04:35:29.577" v="967" actId="122"/>
        <pc:sldMkLst>
          <pc:docMk/>
          <pc:sldMk cId="2756990593" sldId="350"/>
        </pc:sldMkLst>
        <pc:spChg chg="add del">
          <ac:chgData name="Felipe De Assis" userId="fedc4fe9-b909-48c3-b8ca-78d40727f114" providerId="ADAL" clId="{2CA767CB-6F25-45CD-B179-7AF847F4C6C7}" dt="2020-07-09T04:35:21.302" v="943" actId="478"/>
          <ac:spMkLst>
            <pc:docMk/>
            <pc:sldMk cId="2756990593" sldId="350"/>
            <ac:spMk id="3" creationId="{8F64A22E-2B43-4FC6-AF08-0CDB3F9E9269}"/>
          </ac:spMkLst>
        </pc:spChg>
        <pc:spChg chg="add del mod">
          <ac:chgData name="Felipe De Assis" userId="fedc4fe9-b909-48c3-b8ca-78d40727f114" providerId="ADAL" clId="{2CA767CB-6F25-45CD-B179-7AF847F4C6C7}" dt="2020-07-09T04:35:10.672" v="942" actId="478"/>
          <ac:spMkLst>
            <pc:docMk/>
            <pc:sldMk cId="2756990593" sldId="350"/>
            <ac:spMk id="4" creationId="{4BE11891-4752-419A-A272-300747012F49}"/>
          </ac:spMkLst>
        </pc:spChg>
        <pc:spChg chg="add del">
          <ac:chgData name="Felipe De Assis" userId="fedc4fe9-b909-48c3-b8ca-78d40727f114" providerId="ADAL" clId="{2CA767CB-6F25-45CD-B179-7AF847F4C6C7}" dt="2020-07-09T04:35:21.302" v="943" actId="478"/>
          <ac:spMkLst>
            <pc:docMk/>
            <pc:sldMk cId="2756990593" sldId="350"/>
            <ac:spMk id="6" creationId="{637E159C-9ACF-48AE-927A-D5FB13695C7F}"/>
          </ac:spMkLst>
        </pc:spChg>
        <pc:spChg chg="add del mod">
          <ac:chgData name="Felipe De Assis" userId="fedc4fe9-b909-48c3-b8ca-78d40727f114" providerId="ADAL" clId="{2CA767CB-6F25-45CD-B179-7AF847F4C6C7}" dt="2020-07-09T04:35:01.617" v="940"/>
          <ac:spMkLst>
            <pc:docMk/>
            <pc:sldMk cId="2756990593" sldId="350"/>
            <ac:spMk id="8" creationId="{2C69AC39-8067-4360-9915-E58021FD4158}"/>
          </ac:spMkLst>
        </pc:spChg>
        <pc:spChg chg="add del mod">
          <ac:chgData name="Felipe De Assis" userId="fedc4fe9-b909-48c3-b8ca-78d40727f114" providerId="ADAL" clId="{2CA767CB-6F25-45CD-B179-7AF847F4C6C7}" dt="2020-07-09T04:35:01.617" v="940"/>
          <ac:spMkLst>
            <pc:docMk/>
            <pc:sldMk cId="2756990593" sldId="350"/>
            <ac:spMk id="9" creationId="{438E4F73-5EC4-444F-A127-748C579FB2E2}"/>
          </ac:spMkLst>
        </pc:spChg>
        <pc:spChg chg="add del mod">
          <ac:chgData name="Felipe De Assis" userId="fedc4fe9-b909-48c3-b8ca-78d40727f114" providerId="ADAL" clId="{2CA767CB-6F25-45CD-B179-7AF847F4C6C7}" dt="2020-07-09T04:35:10.672" v="942" actId="478"/>
          <ac:spMkLst>
            <pc:docMk/>
            <pc:sldMk cId="2756990593" sldId="350"/>
            <ac:spMk id="11" creationId="{28354814-8AF8-4EB7-B9E6-80D256A2859B}"/>
          </ac:spMkLst>
        </pc:spChg>
        <pc:spChg chg="add mod">
          <ac:chgData name="Felipe De Assis" userId="fedc4fe9-b909-48c3-b8ca-78d40727f114" providerId="ADAL" clId="{2CA767CB-6F25-45CD-B179-7AF847F4C6C7}" dt="2020-07-09T04:35:25.145" v="959" actId="20577"/>
          <ac:spMkLst>
            <pc:docMk/>
            <pc:sldMk cId="2756990593" sldId="350"/>
            <ac:spMk id="13" creationId="{8ECA2175-A291-4EB6-8E68-E942ADF6DCE2}"/>
          </ac:spMkLst>
        </pc:spChg>
        <pc:spChg chg="add mod">
          <ac:chgData name="Felipe De Assis" userId="fedc4fe9-b909-48c3-b8ca-78d40727f114" providerId="ADAL" clId="{2CA767CB-6F25-45CD-B179-7AF847F4C6C7}" dt="2020-07-09T04:35:29.577" v="967" actId="122"/>
          <ac:spMkLst>
            <pc:docMk/>
            <pc:sldMk cId="2756990593" sldId="350"/>
            <ac:spMk id="15" creationId="{14B32024-4352-4504-BC4E-55EEC918FD5A}"/>
          </ac:spMkLst>
        </pc:spChg>
      </pc:sldChg>
      <pc:sldChg chg="new del">
        <pc:chgData name="Felipe De Assis" userId="fedc4fe9-b909-48c3-b8ca-78d40727f114" providerId="ADAL" clId="{2CA767CB-6F25-45CD-B179-7AF847F4C6C7}" dt="2020-07-09T00:41:30.157" v="390" actId="47"/>
        <pc:sldMkLst>
          <pc:docMk/>
          <pc:sldMk cId="551906461" sldId="351"/>
        </pc:sldMkLst>
      </pc:sldChg>
      <pc:sldChg chg="modSp add del">
        <pc:chgData name="Felipe De Assis" userId="fedc4fe9-b909-48c3-b8ca-78d40727f114" providerId="ADAL" clId="{2CA767CB-6F25-45CD-B179-7AF847F4C6C7}" dt="2020-07-08T22:09:48.141" v="225" actId="47"/>
        <pc:sldMkLst>
          <pc:docMk/>
          <pc:sldMk cId="2594315514" sldId="351"/>
        </pc:sldMkLst>
        <pc:graphicFrameChg chg="mod">
          <ac:chgData name="Felipe De Assis" userId="fedc4fe9-b909-48c3-b8ca-78d40727f114" providerId="ADAL" clId="{2CA767CB-6F25-45CD-B179-7AF847F4C6C7}" dt="2020-07-08T22:07:50.381" v="224"/>
          <ac:graphicFrameMkLst>
            <pc:docMk/>
            <pc:sldMk cId="2594315514" sldId="351"/>
            <ac:graphicFrameMk id="5" creationId="{F7145805-AC98-45D5-B7C0-4F1A7D30A48A}"/>
          </ac:graphicFrameMkLst>
        </pc:graphicFrameChg>
      </pc:sldChg>
    </pc:docChg>
  </pc:docChgLst>
</pc:chgInfo>
</file>

<file path=ppt/comments/modernComment_11E_66A91B9.xml><?xml version="1.0" encoding="utf-8"?>
<p188:cmLst xmlns:a="http://schemas.openxmlformats.org/drawingml/2006/main" xmlns:r="http://schemas.openxmlformats.org/officeDocument/2006/relationships" xmlns:p188="http://schemas.microsoft.com/office/powerpoint/2018/8/main">
  <p188:cm id="{229D9322-AD59-49C8-B5B2-00728EB1E59C}" authorId="{B3A03A83-8476-0708-893D-02B86E8EADE6}" status="resolved" created="2020-07-31T02:35:05.960" complete="100000">
    <pc:sldMkLst xmlns:pc="http://schemas.microsoft.com/office/powerpoint/2013/main/command">
      <pc:docMk/>
      <pc:sldMk cId="107647417" sldId="286"/>
    </pc:sldMkLst>
    <p188:txBody>
      <a:bodyPr/>
      <a:lstStyle/>
      <a:p>
        <a:r>
          <a:rPr lang="en-US"/>
          <a:t>added notes</a:t>
        </a:r>
      </a:p>
    </p188:txBody>
  </p188:cm>
  <p188:cm id="{DDE11835-5E10-43EC-93F3-C67CF6436C46}" authorId="{A1A373B1-09CE-2331-5A96-146A126F9862}" status="resolved" created="2020-08-28T20:40:08.265" complete="100000">
    <pc:sldMkLst xmlns:pc="http://schemas.microsoft.com/office/powerpoint/2013/main/command">
      <pc:docMk/>
      <pc:sldMk cId="107647417" sldId="286"/>
    </pc:sldMkLst>
    <p188:txBody>
      <a:bodyPr/>
      <a:lstStyle/>
      <a:p>
        <a:r>
          <a:rPr lang="en-US"/>
          <a:t>Removed "In all, round-robin tables should be pretty rarely used. " from notes.</a:t>
        </a:r>
      </a:p>
    </p188:txBody>
  </p188:cm>
</p188:cmLst>
</file>

<file path=ppt/comments/modernComment_11F_21E664F7.xml><?xml version="1.0" encoding="utf-8"?>
<p188:cmLst xmlns:a="http://schemas.openxmlformats.org/drawingml/2006/main" xmlns:r="http://schemas.openxmlformats.org/officeDocument/2006/relationships" xmlns:p188="http://schemas.microsoft.com/office/powerpoint/2018/8/main">
  <p188:cm id="{19266842-BADF-44AC-BB8F-85B9CFDA2163}" authorId="{3EAA0BB8-ADED-0607-8649-BECD004EB963}" status="resolved" created="2020-07-09T00:53:10.720" complete="100000">
    <pc:sldMkLst xmlns:pc="http://schemas.microsoft.com/office/powerpoint/2013/main/command">
      <pc:docMk/>
      <pc:sldMk cId="568747255" sldId="287"/>
    </pc:sldMkLst>
    <p188:replyLst>
      <p188:reply id="{18B63524-4F56-43AC-9EA3-6A68C1C16AF5}" authorId="{B3A03A83-8476-0708-893D-02B86E8EADE6}" created="2020-07-31T02:36:58.001">
        <p188:txBody>
          <a:bodyPr/>
          <a:lstStyle/>
          <a:p>
            <a:r>
              <a:rPr lang="en-US"/>
              <a:t>it would. For now I dont' feel like editing the animcations so i'll add it in the notes</a:t>
            </a:r>
          </a:p>
        </p188:txBody>
      </p188:reply>
      <p188:reply id="{E7386C2E-73D9-4474-A1F6-2233456826EC}" authorId="{3EAA0BB8-ADED-0607-8649-BECD004EB963}" created="2020-07-31T19:29:08.172">
        <p188:txBody>
          <a:bodyPr/>
          <a:lstStyle/>
          <a:p>
            <a:r>
              <a:rPr lang="en-US"/>
              <a:t>Just made the change. I hope you don't mind.</a:t>
            </a:r>
          </a:p>
        </p188:txBody>
      </p188:reply>
      <p188:reply id="{623B0903-0F63-4EA5-AB27-BAE7B14FBA2E}" authorId="{A1A373B1-09CE-2331-5A96-146A126F9862}" created="2020-08-28T19:01:03.654">
        <p188:txBody>
          <a:bodyPr/>
          <a:lstStyle/>
          <a:p>
            <a:r>
              <a:rPr lang="en-US"/>
              <a:t>Set the blocks to a color - all grey is a really bad color scheme. 
Modified the animations.</a:t>
            </a:r>
          </a:p>
        </p188:txBody>
      </p188:reply>
    </p188:replyLst>
    <p188:txBody>
      <a:bodyPr/>
      <a:lstStyle/>
      <a:p>
        <a:r>
          <a:rPr lang="en-US"/>
          <a:t>Wouldn't it better the animation showing the buckets being filled randomically instead of sequentially?</a:t>
        </a:r>
      </a:p>
    </p188:txBody>
  </p188:cm>
</p188:cmLst>
</file>

<file path=ppt/comments/modernComment_120_D883752E.xml><?xml version="1.0" encoding="utf-8"?>
<p188:cmLst xmlns:a="http://schemas.openxmlformats.org/drawingml/2006/main" xmlns:r="http://schemas.openxmlformats.org/officeDocument/2006/relationships" xmlns:p188="http://schemas.microsoft.com/office/powerpoint/2018/8/main">
  <p188:cm id="{02F0F251-F016-473E-8D82-A4AF9AEB2B8E}" authorId="{B3A03A83-8476-0708-893D-02B86E8EADE6}" status="resolved" created="2020-07-31T03:06:36.064" complete="100000">
    <pc:sldMkLst xmlns:pc="http://schemas.microsoft.com/office/powerpoint/2013/main/command">
      <pc:docMk/>
      <pc:sldMk cId="3632493870" sldId="288"/>
    </pc:sldMkLst>
    <p188:txBody>
      <a:bodyPr/>
      <a:lstStyle/>
      <a:p>
        <a:r>
          <a:rPr lang="en-US"/>
          <a:t>added notes</a:t>
        </a:r>
      </a:p>
    </p188:txBody>
  </p188:cm>
  <p188:cm id="{CD1E40CB-D9EF-4AC1-8341-D16DAC460D48}" authorId="{A1A373B1-09CE-2331-5A96-146A126F9862}" status="resolved" created="2020-08-28T20:55:19.537" complete="100000">
    <pc:sldMkLst xmlns:pc="http://schemas.microsoft.com/office/powerpoint/2013/main/command">
      <pc:docMk/>
      <pc:sldMk cId="3632493870" sldId="288"/>
    </pc:sldMkLst>
    <p188:txBody>
      <a:bodyPr/>
      <a:lstStyle/>
      <a:p>
        <a:r>
          <a:rPr lang="en-US"/>
          <a:t>Changed "Data is replicated (cached) to the first distribution on each node when queried" to "Data is replicated (cached) to each compute node", explain where the data is stored in the notes.
Changed notes.</a:t>
        </a:r>
      </a:p>
    </p188:txBody>
  </p188:cm>
</p188:cmLst>
</file>

<file path=ppt/comments/modernComment_121_838493ED.xml><?xml version="1.0" encoding="utf-8"?>
<p188:cmLst xmlns:a="http://schemas.openxmlformats.org/drawingml/2006/main" xmlns:r="http://schemas.openxmlformats.org/officeDocument/2006/relationships" xmlns:p188="http://schemas.microsoft.com/office/powerpoint/2018/8/main">
  <p188:cm id="{0E57850D-C560-4EE9-A773-3BC77D147E1A}" authorId="{A1A373B1-09CE-2331-5A96-146A126F9862}" status="resolved" created="2020-08-28T20:58:36.556" complete="100000">
    <pc:sldMkLst xmlns:pc="http://schemas.microsoft.com/office/powerpoint/2013/main/command">
      <pc:docMk/>
      <pc:sldMk cId="2206503917" sldId="289"/>
    </pc:sldMkLst>
    <p188:txBody>
      <a:bodyPr/>
      <a:lstStyle/>
      <a:p>
        <a:r>
          <a:rPr lang="en-US"/>
          <a:t>Changed font sizes, and Changed BP font to Segoe UI, from Segoe UI Semi-Bold</a:t>
        </a:r>
      </a:p>
    </p188:txBody>
  </p188:cm>
</p188:cmLst>
</file>

<file path=ppt/comments/modernComment_122_4893E1C9.xml><?xml version="1.0" encoding="utf-8"?>
<p188:cmLst xmlns:a="http://schemas.openxmlformats.org/drawingml/2006/main" xmlns:r="http://schemas.openxmlformats.org/officeDocument/2006/relationships" xmlns:p188="http://schemas.microsoft.com/office/powerpoint/2018/8/main">
  <p188:cm id="{C5B86FB4-42B8-4DCE-A885-9BE24935712D}" authorId="{B3A03A83-8476-0708-893D-02B86E8EADE6}" status="resolved" created="2020-07-31T03:21:48.352">
    <pc:sldMkLst xmlns:pc="http://schemas.microsoft.com/office/powerpoint/2013/main/command">
      <pc:docMk/>
      <pc:sldMk cId="1217651145" sldId="290"/>
    </pc:sldMkLst>
    <p188:txBody>
      <a:bodyPr/>
      <a:lstStyle/>
      <a:p>
        <a:r>
          <a:rPr lang="en-US"/>
          <a:t>added some notes</a:t>
        </a:r>
      </a:p>
    </p188:txBody>
  </p188:cm>
</p188:cmLst>
</file>

<file path=ppt/comments/modernComment_124_1B1E6000.xml><?xml version="1.0" encoding="utf-8"?>
<p188:cmLst xmlns:a="http://schemas.openxmlformats.org/drawingml/2006/main" xmlns:r="http://schemas.openxmlformats.org/officeDocument/2006/relationships" xmlns:p188="http://schemas.microsoft.com/office/powerpoint/2018/8/main">
  <p188:cm id="{B6CDC83C-43CD-4E3D-B9E0-912038203114}" authorId="{B3A03A83-8476-0708-893D-02B86E8EADE6}" status="resolved" created="2020-07-31T01:40:10.618" complete="100000">
    <pc:sldMkLst xmlns:pc="http://schemas.microsoft.com/office/powerpoint/2013/main/command">
      <pc:docMk/>
      <pc:sldMk cId="454975488" sldId="292"/>
    </pc:sldMkLst>
    <p188:txBody>
      <a:bodyPr/>
      <a:lstStyle/>
      <a:p>
        <a:r>
          <a:rPr lang="en-US"/>
          <a:t>added comments</a:t>
        </a:r>
      </a:p>
    </p188:txBody>
  </p188:cm>
  <p188:cm id="{E0F57B45-4941-46CA-B5DE-E09DE936835A}" authorId="{A1A373B1-09CE-2331-5A96-146A126F9862}" status="resolved" created="2020-08-28T19:49:41.022" complete="100000">
    <pc:sldMkLst xmlns:pc="http://schemas.microsoft.com/office/powerpoint/2013/main/command">
      <pc:docMk/>
      <pc:sldMk cId="454975488" sldId="292"/>
    </pc:sldMkLst>
    <p188:txBody>
      <a:bodyPr/>
      <a:lstStyle/>
      <a:p>
        <a:r>
          <a:rPr lang="en-US"/>
          <a:t>Changed "Choosing the distribution column is an important design decision. There are 3 basic rules to be followed:" to "3 goals for choosing the distribution key".</a:t>
        </a:r>
      </a:p>
    </p188:txBody>
  </p188:cm>
</p188:cmLst>
</file>

<file path=ppt/comments/modernComment_125_6C61CB86.xml><?xml version="1.0" encoding="utf-8"?>
<p188:cmLst xmlns:a="http://schemas.openxmlformats.org/drawingml/2006/main" xmlns:r="http://schemas.openxmlformats.org/officeDocument/2006/relationships" xmlns:p188="http://schemas.microsoft.com/office/powerpoint/2018/8/main">
  <p188:cm id="{029863D2-E029-4CD9-92D2-F1228FF3C327}" authorId="{3EAA0BB8-ADED-0607-8649-BECD004EB963}" status="resolved" created="2020-07-08T21:36:36.058" complete="100000">
    <ac:deMkLst xmlns:ac="http://schemas.microsoft.com/office/drawing/2013/main/command">
      <pc:docMk xmlns:pc="http://schemas.microsoft.com/office/powerpoint/2013/main/command"/>
      <pc:sldMk xmlns:pc="http://schemas.microsoft.com/office/powerpoint/2013/main/command" cId="1818348422" sldId="293"/>
      <ac:graphicFrameMk id="4" creationId="{03B49F45-DA0D-4CA9-83A1-33350A4C9B36}"/>
    </ac:deMkLst>
    <p188:pos x="10188826" y="4095999"/>
    <p188:txBody>
      <a:bodyPr/>
      <a:lstStyle/>
      <a:p>
        <a:r>
          <a:rPr lang="en-US"/>
          <a:t>I saw this slide came from the first material developed by Nick, but I would like to double-check if we are talking about datatypes compatibility and convert operations on joins predicates and etc. If so, I think it would be nice to add this detail at least in the comments</a:t>
        </a:r>
      </a:p>
    </p188:txBody>
  </p188:cm>
  <p188:cm id="{92DA57B6-8044-4C8F-AF78-38E12BCAAF73}" authorId="{B3A03A83-8476-0708-893D-02B86E8EADE6}" status="resolved" created="2020-07-31T01:47:01.949" complete="100000">
    <ac:deMkLst xmlns:ac="http://schemas.microsoft.com/office/drawing/2013/main/command">
      <pc:docMk xmlns:pc="http://schemas.microsoft.com/office/powerpoint/2013/main/command"/>
      <pc:sldMk xmlns:pc="http://schemas.microsoft.com/office/powerpoint/2013/main/command" cId="1818348422" sldId="293"/>
      <ac:graphicFrameMk id="4" creationId="{03B49F45-DA0D-4CA9-83A1-33350A4C9B36}"/>
    </ac:deMkLst>
    <p188:replyLst>
      <p188:reply id="{BBF873C9-4BAE-4770-848B-F652348D291F}" authorId="{A1A373B1-09CE-2331-5A96-146A126F9862}" created="2020-08-28T19:56:12.943">
        <p188:txBody>
          <a:bodyPr/>
          <a:lstStyle/>
          <a:p>
            <a:r>
              <a:rPr lang="en-US"/>
              <a:t>Added notes.</a:t>
            </a:r>
          </a:p>
        </p188:txBody>
      </p188:reply>
    </p188:replyLst>
    <p188:txBody>
      <a:bodyPr/>
      <a:lstStyle/>
      <a:p>
        <a:r>
          <a:rPr lang="en-US"/>
          <a:t>hiding this slide for now because I can't explain with detailed notes. If someone else can feel free to</a:t>
        </a:r>
      </a:p>
    </p188:txBody>
  </p188:cm>
</p188:cmLst>
</file>

<file path=ppt/comments/modernComment_126_A770F50C.xml><?xml version="1.0" encoding="utf-8"?>
<p188:cmLst xmlns:a="http://schemas.openxmlformats.org/drawingml/2006/main" xmlns:r="http://schemas.openxmlformats.org/officeDocument/2006/relationships" xmlns:p188="http://schemas.microsoft.com/office/powerpoint/2018/8/main">
  <p188:cm id="{C545007C-6E07-4333-BDCC-ECBBC730E128}" authorId="{3EAA0BB8-ADED-0607-8649-BECD004EB963}" status="resolved" created="2020-07-08T21:49:40.584" complete="100000">
    <ac:deMkLst xmlns:ac="http://schemas.microsoft.com/office/drawing/2013/main/command">
      <pc:docMk xmlns:pc="http://schemas.microsoft.com/office/powerpoint/2013/main/command"/>
      <pc:sldMk xmlns:pc="http://schemas.microsoft.com/office/powerpoint/2013/main/command" cId="2809197836" sldId="294"/>
      <ac:spMk id="3" creationId="{00000000-0000-0000-0000-000000000000}"/>
    </ac:deMkLst>
    <p188:pos x="9358647" y="383258"/>
    <p188:replyLst>
      <p188:reply id="{1004E2BE-022F-44EE-9B88-B57B37F7AC48}" authorId="{B3A03A83-8476-0708-893D-02B86E8EADE6}" created="2020-07-31T01:48:04.894">
        <p188:txBody>
          <a:bodyPr/>
          <a:lstStyle/>
          <a:p>
            <a:r>
              <a:rPr lang="en-US"/>
              <a:t>agreed and done</a:t>
            </a:r>
          </a:p>
        </p188:txBody>
      </p188:reply>
    </p188:replyLst>
    <p188:txBody>
      <a:bodyPr/>
      <a:lstStyle/>
      <a:p>
        <a:r>
          <a:rPr lang="en-US"/>
          <a:t>Maybe we could simplify by removing this phrase and add something to make it clear the storeid and transactiondate are examples of "not so good choices" (if I got them right)</a:t>
        </a:r>
      </a:p>
    </p188:txBody>
  </p188:cm>
</p188:cmLst>
</file>

<file path=ppt/comments/modernComment_128_6D635B61.xml><?xml version="1.0" encoding="utf-8"?>
<p188:cmLst xmlns:a="http://schemas.openxmlformats.org/drawingml/2006/main" xmlns:r="http://schemas.openxmlformats.org/officeDocument/2006/relationships" xmlns:p188="http://schemas.microsoft.com/office/powerpoint/2018/8/main">
  <p188:cm id="{54FA5574-79CF-4D22-AA64-8008128A6859}" authorId="{B3A03A83-8476-0708-893D-02B86E8EADE6}" status="resolved" created="2020-07-31T02:14:12.799" complete="100000">
    <pc:sldMkLst xmlns:pc="http://schemas.microsoft.com/office/powerpoint/2013/main/command">
      <pc:docMk/>
      <pc:sldMk cId="1835228001" sldId="296"/>
    </pc:sldMkLst>
    <p188:txBody>
      <a:bodyPr/>
      <a:lstStyle/>
      <a:p>
        <a:r>
          <a:rPr lang="en-US"/>
          <a:t>Added comments</a:t>
        </a:r>
      </a:p>
    </p188:txBody>
  </p188:cm>
</p188:cmLst>
</file>

<file path=ppt/comments/modernComment_12C_FF5F6BBD.xml><?xml version="1.0" encoding="utf-8"?>
<p188:cmLst xmlns:a="http://schemas.openxmlformats.org/drawingml/2006/main" xmlns:r="http://schemas.openxmlformats.org/officeDocument/2006/relationships" xmlns:p188="http://schemas.microsoft.com/office/powerpoint/2018/8/main">
  <p188:cm id="{32068207-BE59-4BDD-808B-D08AFEFC8A5A}" authorId="{B3A03A83-8476-0708-893D-02B86E8EADE6}" status="resolved" created="2020-07-31T02:22:42.225" complete="100000">
    <pc:sldMkLst xmlns:pc="http://schemas.microsoft.com/office/powerpoint/2013/main/command">
      <pc:docMk/>
      <pc:sldMk cId="4284443581" sldId="300"/>
    </pc:sldMkLst>
    <p188:txBody>
      <a:bodyPr/>
      <a:lstStyle/>
      <a:p>
        <a:r>
          <a:rPr lang="en-US"/>
          <a:t>added to comments</a:t>
        </a:r>
      </a:p>
    </p188:txBody>
  </p188:cm>
  <p188:cm id="{F0574BE7-3778-452C-A80C-E3CB1B915205}" authorId="{A1A373B1-09CE-2331-5A96-146A126F9862}" status="resolved" created="2020-08-28T20:27:54.472" complete="100000">
    <pc:sldMkLst xmlns:pc="http://schemas.microsoft.com/office/powerpoint/2013/main/command">
      <pc:docMk/>
      <pc:sldMk cId="4284443581" sldId="300"/>
    </pc:sldMkLst>
    <p188:txBody>
      <a:bodyPr/>
      <a:lstStyle/>
      <a:p>
        <a:r>
          <a:rPr lang="en-US"/>
          <a:t>Changed font size for bullet point</a:t>
        </a:r>
      </a:p>
    </p188:txBody>
  </p188:cm>
</p188:cmLst>
</file>

<file path=ppt/comments/modernComment_133_FE3D15DE.xml><?xml version="1.0" encoding="utf-8"?>
<p188:cmLst xmlns:a="http://schemas.openxmlformats.org/drawingml/2006/main" xmlns:r="http://schemas.openxmlformats.org/officeDocument/2006/relationships" xmlns:p188="http://schemas.microsoft.com/office/powerpoint/2018/8/main">
  <p188:cm id="{FB308854-69CB-48DF-84E6-1D78DF65B23F}" authorId="{3EAA0BB8-ADED-0607-8649-BECD004EB963}" status="resolved" created="2020-07-08T21:32:55.655" complete="100000">
    <pc:sldMkLst xmlns:pc="http://schemas.microsoft.com/office/powerpoint/2013/main/command">
      <pc:docMk/>
      <pc:sldMk cId="4265416158" sldId="307"/>
    </pc:sldMkLst>
    <p188:replyLst>
      <p188:reply id="{B28E699A-A7DD-4396-AF85-E2AAB1358C01}" authorId="{B3A03A83-8476-0708-893D-02B86E8EADE6}" created="2020-07-31T01:43:15.552">
        <p188:txBody>
          <a:bodyPr/>
          <a:lstStyle/>
          <a:p>
            <a:r>
              <a:rPr lang="en-US"/>
              <a:t>I reworded it a bit and kept it. The main reasing being I worked with a customer to help them find distribution columns that were only used in 1 or a few tables - or a distribution column with a different data type in 1 table in the database. That doesn't do any good since it won't be distribution compatible with other tables. It is the same concept, slightly different perspective</a:t>
            </a:r>
          </a:p>
        </p188:txBody>
      </p188:reply>
      <p188:reply id="{58DD0F0E-6B59-4D48-82BF-3813CF42D887}" authorId="{A1A373B1-09CE-2331-5A96-146A126F9862}" created="2020-08-28T19:53:45.690">
        <p188:txBody>
          <a:bodyPr/>
          <a:lstStyle/>
          <a:p>
            <a:r>
              <a:rPr lang="en-US"/>
              <a:t>Reworded "Choosing a column not normally used in other tables" to "Don’t match the Hash key in related tables"
Added more notes.</a:t>
            </a:r>
          </a:p>
        </p188:txBody>
      </p188:reply>
    </p188:replyLst>
    <p188:txBody>
      <a:bodyPr/>
      <a:lstStyle/>
      <a:p>
        <a:r>
          <a:rPr lang="en-US"/>
          <a:t>[@Maria del Carmen Vasquez Lamazares] I think this third bullet may be not necessary, since we are talking about it on the first bullet (prioritize columns used in joins, then group by, etc)</a:t>
        </a:r>
      </a:p>
    </p188:txBody>
  </p188:cm>
</p188:cmLst>
</file>

<file path=ppt/comments/modernComment_136_58F87FFE.xml><?xml version="1.0" encoding="utf-8"?>
<p188:cmLst xmlns:a="http://schemas.openxmlformats.org/drawingml/2006/main" xmlns:r="http://schemas.openxmlformats.org/officeDocument/2006/relationships" xmlns:p188="http://schemas.microsoft.com/office/powerpoint/2018/8/main">
  <p188:cm id="{58BBB0B1-E2BC-4E58-8EE2-61E690DFB0D8}" authorId="{3EAA0BB8-ADED-0607-8649-BECD004EB963}" status="resolved" created="2020-06-29T13:54:48.747" complete="100000">
    <pc:sldMkLst xmlns:pc="http://schemas.microsoft.com/office/powerpoint/2013/main/command">
      <pc:docMk/>
      <pc:sldMk cId="1492680702" sldId="310"/>
    </pc:sldMkLst>
    <p188:replyLst>
      <p188:reply id="{D45CD988-9FC9-44BF-B111-78660B9CFD57}" authorId="{937B2F46-45D0-6B15-8535-6650CC91931E}" created="2020-06-30T10:10:02.415">
        <p188:txBody>
          <a:bodyPr/>
          <a:lstStyle/>
          <a:p>
            <a:r>
              <a:rPr lang="en-US"/>
              <a:t>Thanks!!!</a:t>
            </a:r>
          </a:p>
        </p188:txBody>
      </p188:reply>
    </p188:replyLst>
    <p188:txBody>
      <a:bodyPr/>
      <a:lstStyle/>
      <a:p>
        <a:r>
          <a:rPr lang="en-US"/>
          <a:t>Changed the color of arrows from white to yellow to facilitate the visualization
Added the word distributed to the first table name</a:t>
        </a:r>
      </a:p>
    </p188:txBody>
  </p188:cm>
  <p188:cm id="{FF258A92-9A0B-41E2-853C-9C2BD0C7BA24}" authorId="{B3A03A83-8476-0708-893D-02B86E8EADE6}" status="resolved" created="2020-07-31T01:25:42.113" complete="100000">
    <pc:sldMkLst xmlns:pc="http://schemas.microsoft.com/office/powerpoint/2013/main/command">
      <pc:docMk/>
      <pc:sldMk cId="1492680702" sldId="310"/>
    </pc:sldMkLst>
    <p188:txBody>
      <a:bodyPr/>
      <a:lstStyle/>
      <a:p>
        <a:r>
          <a:rPr lang="en-US"/>
          <a:t>added comments</a:t>
        </a:r>
      </a:p>
    </p188:txBody>
  </p188:cm>
  <p188:cm id="{190BA06A-B111-4398-B6E5-A8CFE95B1FF2}" authorId="{A1A373B1-09CE-2331-5A96-146A126F9862}" status="resolved" created="2020-08-28T18:56:41.326" complete="100000">
    <pc:sldMkLst xmlns:pc="http://schemas.microsoft.com/office/powerpoint/2013/main/command">
      <pc:docMk/>
      <pc:sldMk cId="1492680702" sldId="310"/>
    </pc:sldMkLst>
    <p188:txBody>
      <a:bodyPr/>
      <a:lstStyle/>
      <a:p>
        <a:r>
          <a:rPr lang="en-US"/>
          <a:t>Set the blocks to a color - all grey is a really bad color scheme</a:t>
        </a:r>
      </a:p>
    </p188:txBody>
  </p188:cm>
</p188:cmLst>
</file>

<file path=ppt/comments/modernComment_138_3BCF2244.xml><?xml version="1.0" encoding="utf-8"?>
<p188:cmLst xmlns:a="http://schemas.openxmlformats.org/drawingml/2006/main" xmlns:r="http://schemas.openxmlformats.org/officeDocument/2006/relationships" xmlns:p188="http://schemas.microsoft.com/office/powerpoint/2018/8/main">
  <p188:cm id="{E581B909-5736-4DA3-ABAB-8DF151A0A8E4}" authorId="{B3A03A83-8476-0708-893D-02B86E8EADE6}" status="resolved" created="2020-07-31T02:40:44.702" complete="100000">
    <pc:sldMkLst xmlns:pc="http://schemas.microsoft.com/office/powerpoint/2013/main/command">
      <pc:docMk/>
      <pc:sldMk cId="1003430468" sldId="312"/>
    </pc:sldMkLst>
    <p188:txBody>
      <a:bodyPr/>
      <a:lstStyle/>
      <a:p>
        <a:r>
          <a:rPr lang="en-US"/>
          <a:t>added notes</a:t>
        </a:r>
      </a:p>
    </p188:txBody>
  </p188:cm>
  <p188:cm id="{333CF556-FF73-4B3B-A3CE-3B14F2C611AA}" authorId="{A1A373B1-09CE-2331-5A96-146A126F9862}" status="resolved" created="2020-08-28T20:27:27.572" complete="100000">
    <pc:sldMkLst xmlns:pc="http://schemas.microsoft.com/office/powerpoint/2013/main/command">
      <pc:docMk/>
      <pc:sldMk cId="1003430468" sldId="312"/>
    </pc:sldMkLst>
    <p188:txBody>
      <a:bodyPr/>
      <a:lstStyle/>
      <a:p>
        <a:r>
          <a:rPr lang="en-US"/>
          <a:t>Added note on Aggregations</a:t>
        </a:r>
      </a:p>
    </p188:txBody>
  </p188:cm>
</p188:cmLst>
</file>

<file path=ppt/comments/modernComment_13B_A121831A.xml><?xml version="1.0" encoding="utf-8"?>
<p188:cmLst xmlns:a="http://schemas.openxmlformats.org/drawingml/2006/main" xmlns:r="http://schemas.openxmlformats.org/officeDocument/2006/relationships" xmlns:p188="http://schemas.microsoft.com/office/powerpoint/2018/8/main">
  <p188:cm id="{8F5C2C50-CEDA-4747-AF2D-98FC9519E118}" authorId="{A1A373B1-09CE-2331-5A96-146A126F9862}" status="resolved" created="2020-08-28T19:03:10.534" complete="100000">
    <pc:sldMkLst xmlns:pc="http://schemas.microsoft.com/office/powerpoint/2013/main/command">
      <pc:docMk/>
      <pc:sldMk cId="2703328026" sldId="315"/>
    </pc:sldMkLst>
    <p188:txBody>
      <a:bodyPr/>
      <a:lstStyle/>
      <a:p>
        <a:r>
          <a:rPr lang="en-US"/>
          <a:t>Added note on PAUSE / RESUME.
Changed “Also, if you have a column you frequently query on” to “Also, if you have a column you frequently JOIN on”
Changed font sizes, and Changed BP font to Segoe UI, from Segoe UI Semi-Bold</a:t>
        </a:r>
      </a:p>
    </p188:txBody>
  </p188:cm>
</p188:cmLst>
</file>

<file path=ppt/comments/modernComment_13C_51762742.xml><?xml version="1.0" encoding="utf-8"?>
<p188:cmLst xmlns:a="http://schemas.openxmlformats.org/drawingml/2006/main" xmlns:r="http://schemas.openxmlformats.org/officeDocument/2006/relationships" xmlns:p188="http://schemas.microsoft.com/office/powerpoint/2018/8/main">
  <p188:cm id="{215B1E7A-0BF2-474A-B669-00A9A8126411}" authorId="{3EAA0BB8-ADED-0607-8649-BECD004EB963}" status="resolved" created="2020-07-08T22:31:25.554" complete="100000">
    <ac:deMkLst xmlns:ac="http://schemas.microsoft.com/office/drawing/2013/main/command">
      <pc:docMk xmlns:pc="http://schemas.microsoft.com/office/powerpoint/2013/main/command"/>
      <pc:sldMk xmlns:pc="http://schemas.microsoft.com/office/powerpoint/2013/main/command" cId="1366697794" sldId="316"/>
      <ac:graphicFrameMk id="4" creationId="{EBEC4E38-B562-43AA-81F0-631A5333DDCD}"/>
    </ac:deMkLst>
    <p188:replyLst>
      <p188:reply id="{C1CE736B-FD18-4B57-A5B7-82DBE482DA52}" authorId="{B3A03A83-8476-0708-893D-02B86E8EADE6}" created="2020-07-31T02:25:34.306">
        <p188:txBody>
          <a:bodyPr/>
          <a:lstStyle/>
          <a:p>
            <a:r>
              <a:rPr lang="en-US"/>
              <a:t>I dont' fully udnerstand this point on the slide.</a:t>
            </a:r>
          </a:p>
        </p188:txBody>
      </p188:reply>
    </p188:replyLst>
    <p188:txBody>
      <a:bodyPr/>
      <a:lstStyle/>
      <a:p>
        <a:r>
          <a:rPr lang="en-US"/>
          <a:t>Would it be this case as a table with high skew but still having balanced queries because skew is caused by null/default/placeholder and these values are filtered out in the query?</a:t>
        </a:r>
      </a:p>
    </p188:txBody>
  </p188:cm>
  <p188:cm id="{3846FFB1-42AD-4E5D-B5FD-C621FBA70D65}" authorId="{B3A03A83-8476-0708-893D-02B86E8EADE6}" status="resolved" created="2020-07-31T02:24:56.137" complete="100000">
    <ac:deMkLst xmlns:ac="http://schemas.microsoft.com/office/drawing/2013/main/command">
      <pc:docMk xmlns:pc="http://schemas.microsoft.com/office/powerpoint/2013/main/command"/>
      <pc:sldMk xmlns:pc="http://schemas.microsoft.com/office/powerpoint/2013/main/command" cId="1366697794" sldId="316"/>
      <ac:graphicFrameMk id="4" creationId="{EBEC4E38-B562-43AA-81F0-631A5333DDCD}"/>
    </ac:deMkLst>
    <p188:txBody>
      <a:bodyPr/>
      <a:lstStyle/>
      <a:p>
        <a:r>
          <a:rPr lang="en-US"/>
          <a:t>added a couple points</a:t>
        </a:r>
      </a:p>
    </p188:txBody>
  </p188:cm>
  <p188:cm id="{CE7749DB-6DBE-4687-A8B6-94BF45C6C577}" authorId="{A1A373B1-09CE-2331-5A96-146A126F9862}" status="resolved" created="2020-08-28T20:37:30.580" complete="100000">
    <pc:sldMkLst xmlns:pc="http://schemas.microsoft.com/office/powerpoint/2013/main/command">
      <pc:docMk/>
      <pc:sldMk cId="1366697794" sldId="316"/>
    </pc:sldMkLst>
    <p188:txBody>
      <a:bodyPr/>
      <a:lstStyle/>
      <a:p>
        <a:r>
          <a:rPr lang="en-US"/>
          <a:t>Changed the Smart-Art graphic to make the slide more readable</a:t>
        </a:r>
      </a:p>
    </p188:txBody>
  </p188:cm>
</p188:cmLst>
</file>

<file path=ppt/comments/modernComment_146_CDA52B4C.xml><?xml version="1.0" encoding="utf-8"?>
<p188:cmLst xmlns:a="http://schemas.openxmlformats.org/drawingml/2006/main" xmlns:r="http://schemas.openxmlformats.org/officeDocument/2006/relationships" xmlns:p188="http://schemas.microsoft.com/office/powerpoint/2018/8/main">
  <p188:cm id="{BF97A5D1-669E-4AD1-A756-C79677660053}" authorId="{3EAA0BB8-ADED-0607-8649-BECD004EB963}" status="resolved" created="2020-07-09T04:15:29.285" complete="100000">
    <pc:sldMkLst xmlns:pc="http://schemas.microsoft.com/office/powerpoint/2013/main/command">
      <pc:docMk/>
      <pc:sldMk cId="3450153804" sldId="326"/>
    </pc:sldMkLst>
    <p188:txBody>
      <a:bodyPr/>
      <a:lstStyle/>
      <a:p>
        <a:r>
          <a:rPr lang="en-US"/>
          <a:t>Added a mention to SPLIT and MERGE since I presume some customers may ask this exact thing when delivering this MIP</a:t>
        </a:r>
      </a:p>
    </p188:txBody>
  </p188:cm>
</p188:cmLst>
</file>

<file path=ppt/comments/modernComment_14B_FA5F0B9E.xml><?xml version="1.0" encoding="utf-8"?>
<p188:cmLst xmlns:a="http://schemas.openxmlformats.org/drawingml/2006/main" xmlns:r="http://schemas.openxmlformats.org/officeDocument/2006/relationships" xmlns:p188="http://schemas.microsoft.com/office/powerpoint/2018/8/main">
  <p188:cm id="{313037CA-F18D-4CF0-AEAF-8E0CC5B19DDB}" authorId="{B3A03A83-8476-0708-893D-02B86E8EADE6}" status="resolved" created="2020-07-31T01:08:13.027" complete="100000">
    <ac:deMkLst xmlns:ac="http://schemas.microsoft.com/office/drawing/2013/main/command">
      <pc:docMk xmlns:pc="http://schemas.microsoft.com/office/powerpoint/2013/main/command"/>
      <pc:sldMk xmlns:pc="http://schemas.microsoft.com/office/powerpoint/2013/main/command" cId="4200532894" sldId="331"/>
      <ac:spMk id="44" creationId="{077207A7-1CF6-45B8-B469-C25E34940FA8}"/>
    </ac:deMkLst>
    <p188:txBody>
      <a:bodyPr/>
      <a:lstStyle/>
      <a:p>
        <a:r>
          <a:rPr lang="en-US"/>
          <a:t>not sure what non-unique was referring to so I removed it</a:t>
        </a:r>
      </a:p>
    </p188:txBody>
  </p188:cm>
  <p188:cm id="{9096B12F-FD11-4324-997D-9FE6FC108C45}" authorId="{B3A03A83-8476-0708-893D-02B86E8EADE6}" status="resolved" created="2020-07-31T01:09:40.265" complete="100000">
    <ac:deMkLst xmlns:ac="http://schemas.microsoft.com/office/drawing/2013/main/command">
      <pc:docMk xmlns:pc="http://schemas.microsoft.com/office/powerpoint/2013/main/command"/>
      <pc:sldMk xmlns:pc="http://schemas.microsoft.com/office/powerpoint/2013/main/command" cId="4200532894" sldId="331"/>
      <ac:spMk id="44" creationId="{077207A7-1CF6-45B8-B469-C25E34940FA8}"/>
    </ac:deMkLst>
    <p188:replyLst>
      <p188:reply id="{0EC36FD8-4723-407B-9F98-2DAECE964A0C}" authorId="{937B2F46-45D0-6B15-8535-6650CC91931E}" created="2020-07-31T08:31:39.679">
        <p188:txBody>
          <a:bodyPr/>
          <a:lstStyle/>
          <a:p>
            <a:r>
              <a:rPr lang="en-US"/>
              <a:t>You are right. I just took this slide from the original ppt and didn't review this topic</a:t>
            </a:r>
          </a:p>
        </p188:txBody>
      </p188:reply>
    </p188:replyLst>
    <p188:txBody>
      <a:bodyPr/>
      <a:lstStyle/>
      <a:p>
        <a:r>
          <a:rPr lang="en-US"/>
          <a:t>"data-type agnostic" I removed this because the data type and value are what determines where a particular row gets placed. I couldn't find in teh link where this was mentioned. Data type compatibility between distribution columsn is def inmportant</a:t>
        </a:r>
      </a:p>
    </p188:txBody>
  </p188:cm>
  <p188:cm id="{690E3202-D005-4D06-AEDB-922A87AAA771}" authorId="{B3A03A83-8476-0708-893D-02B86E8EADE6}" status="resolved" created="2020-07-31T01:13:00.093" complete="100000">
    <ac:deMkLst xmlns:ac="http://schemas.microsoft.com/office/drawing/2013/main/command">
      <pc:docMk xmlns:pc="http://schemas.microsoft.com/office/powerpoint/2013/main/command"/>
      <pc:sldMk xmlns:pc="http://schemas.microsoft.com/office/powerpoint/2013/main/command" cId="4200532894" sldId="331"/>
      <ac:spMk id="44" creationId="{077207A7-1CF6-45B8-B469-C25E34940FA8}"/>
    </ac:deMkLst>
    <p188:txBody>
      <a:bodyPr/>
      <a:lstStyle/>
      <a:p>
        <a:r>
          <a:rPr lang="en-US"/>
          <a:t>added notes</a:t>
        </a:r>
      </a:p>
    </p188:txBody>
  </p188:cm>
  <p188:cm id="{180F8862-5C3F-4BC1-80F2-155864FEA4C9}" authorId="{A1A373B1-09CE-2331-5A96-146A126F9862}" status="resolved" created="2020-08-28T18:56:06.528" complete="100000">
    <pc:sldMkLst xmlns:pc="http://schemas.microsoft.com/office/powerpoint/2013/main/command">
      <pc:docMk/>
      <pc:sldMk cId="4200532894" sldId="331"/>
    </pc:sldMkLst>
    <p188:txBody>
      <a:bodyPr/>
      <a:lstStyle/>
      <a:p>
        <a:r>
          <a:rPr lang="en-US"/>
          <a:t>Set the block to a color - all grey is a really bad color scheme</a:t>
        </a:r>
      </a:p>
    </p188:txBody>
  </p188:cm>
</p188:cmLst>
</file>

<file path=ppt/comments/modernComment_14C_3C06997.xml><?xml version="1.0" encoding="utf-8"?>
<p188:cmLst xmlns:a="http://schemas.openxmlformats.org/drawingml/2006/main" xmlns:r="http://schemas.openxmlformats.org/officeDocument/2006/relationships" xmlns:p188="http://schemas.microsoft.com/office/powerpoint/2018/8/main">
  <p188:cm id="{497218AD-2DF0-46F0-8BCB-68609D10AB07}" authorId="{B3A03A83-8476-0708-893D-02B86E8EADE6}" status="resolved" created="2020-07-31T02:18:03.908" complete="100000">
    <pc:sldMkLst xmlns:pc="http://schemas.microsoft.com/office/powerpoint/2013/main/command">
      <pc:docMk/>
      <pc:sldMk cId="62941591" sldId="332"/>
    </pc:sldMkLst>
    <p188:txBody>
      <a:bodyPr/>
      <a:lstStyle/>
      <a:p>
        <a:r>
          <a:rPr lang="en-US"/>
          <a:t>Overall, I added comments to most of the slides and made some minor wording changes to the slides themselves. Some slides were removed as we dont' need to go quite so deep into certain topics and I was looking to cut down the deck a little shorter on skew</a:t>
        </a:r>
      </a:p>
    </p188:txBody>
  </p188:cm>
</p188:cmLst>
</file>

<file path=ppt/comments/modernComment_14D_5F5FBCF0.xml><?xml version="1.0" encoding="utf-8"?>
<p188:cmLst xmlns:a="http://schemas.openxmlformats.org/drawingml/2006/main" xmlns:r="http://schemas.openxmlformats.org/officeDocument/2006/relationships" xmlns:p188="http://schemas.microsoft.com/office/powerpoint/2018/8/main">
  <p188:cm id="{3A557D18-83E1-41DD-A992-15BE9C5B09A9}" authorId="{B3A03A83-8476-0708-893D-02B86E8EADE6}" status="resolved" created="2020-07-31T00:53:44.240" complete="100000">
    <pc:sldMkLst xmlns:pc="http://schemas.microsoft.com/office/powerpoint/2013/main/command">
      <pc:docMk/>
      <pc:sldMk cId="1600109808" sldId="333"/>
    </pc:sldMkLst>
    <p188:txBody>
      <a:bodyPr/>
      <a:lstStyle/>
      <a:p>
        <a:r>
          <a:rPr lang="en-US"/>
          <a:t>minor wording and comments</a:t>
        </a:r>
      </a:p>
    </p188:txBody>
  </p188:cm>
</p188:cmLst>
</file>

<file path=ppt/comments/modernComment_14E_592A1DBC.xml><?xml version="1.0" encoding="utf-8"?>
<p188:cmLst xmlns:a="http://schemas.openxmlformats.org/drawingml/2006/main" xmlns:r="http://schemas.openxmlformats.org/officeDocument/2006/relationships" xmlns:p188="http://schemas.microsoft.com/office/powerpoint/2018/8/main">
  <p188:cm id="{B615BFD8-1C18-4A43-961E-F42488B2630D}" authorId="{3EAA0BB8-ADED-0607-8649-BECD004EB963}" status="resolved" created="2020-07-09T04:45:20.376" complete="100000">
    <pc:sldMkLst xmlns:pc="http://schemas.microsoft.com/office/powerpoint/2013/main/command">
      <pc:docMk/>
      <pc:sldMk cId="1495932348" sldId="334"/>
    </pc:sldMkLst>
    <p188:txBody>
      <a:bodyPr/>
      <a:lstStyle/>
      <a:p>
        <a:r>
          <a:rPr lang="en-US"/>
          <a:t>Only switched the order between round-robin and replicated to reflect the order the subjects are further approached</a:t>
        </a:r>
      </a:p>
    </p188:txBody>
  </p188:cm>
  <p188:cm id="{4129751E-F4C2-4188-804F-50DF188E1AE0}" authorId="{B3A03A83-8476-0708-893D-02B86E8EADE6}" status="resolved" created="2020-07-31T01:04:24.096" complete="100000">
    <pc:sldMkLst xmlns:pc="http://schemas.microsoft.com/office/powerpoint/2013/main/command">
      <pc:docMk/>
      <pc:sldMk cId="1495932348" sldId="334"/>
    </pc:sldMkLst>
    <p188:txBody>
      <a:bodyPr/>
      <a:lstStyle/>
      <a:p>
        <a:r>
          <a:rPr lang="en-US"/>
          <a:t>Added to comments</a:t>
        </a:r>
      </a:p>
    </p188:txBody>
  </p188:cm>
  <p188:cm id="{08EE03D8-8567-47F5-938D-9543B43E246D}" authorId="{A1A373B1-09CE-2331-5A96-146A126F9862}" status="resolved" created="2020-08-28T19:36:42.716" complete="100000">
    <pc:sldMkLst xmlns:pc="http://schemas.microsoft.com/office/powerpoint/2013/main/command">
      <pc:docMk/>
      <pc:sldMk cId="1495932348" sldId="334"/>
    </pc:sldMkLst>
    <p188:txBody>
      <a:bodyPr/>
      <a:lstStyle/>
      <a:p>
        <a:r>
          <a:rPr lang="en-US"/>
          <a:t>Renamed slide to "Table Types". Changed "perfect distribution" "broadly even distribution" - RR tables are not guaranteed to be 0% skewed.</a:t>
        </a:r>
      </a:p>
    </p188:txBody>
  </p188:cm>
</p188:cmLst>
</file>

<file path=ppt/comments/modernComment_14F_7C288A23.xml><?xml version="1.0" encoding="utf-8"?>
<p188:cmLst xmlns:a="http://schemas.openxmlformats.org/drawingml/2006/main" xmlns:r="http://schemas.openxmlformats.org/officeDocument/2006/relationships" xmlns:p188="http://schemas.microsoft.com/office/powerpoint/2018/8/main">
  <p188:cm id="{31C0A141-184D-4407-B790-EBB06293CFCF}" authorId="{B3A03A83-8476-0708-893D-02B86E8EADE6}" status="resolved" created="2020-07-31T01:22:34.549" complete="100000">
    <pc:sldMkLst xmlns:pc="http://schemas.microsoft.com/office/powerpoint/2013/main/command">
      <pc:docMk/>
      <pc:sldMk cId="2083031587" sldId="335"/>
    </pc:sldMkLst>
    <p188:txBody>
      <a:bodyPr/>
      <a:lstStyle/>
      <a:p>
        <a:r>
          <a:rPr lang="en-US"/>
          <a:t>added comments</a:t>
        </a:r>
      </a:p>
    </p188:txBody>
  </p188:cm>
</p188:cmLst>
</file>

<file path=ppt/comments/modernComment_150_F40F7C27.xml><?xml version="1.0" encoding="utf-8"?>
<p188:cmLst xmlns:a="http://schemas.openxmlformats.org/drawingml/2006/main" xmlns:r="http://schemas.openxmlformats.org/officeDocument/2006/relationships" xmlns:p188="http://schemas.microsoft.com/office/powerpoint/2018/8/main">
  <p188:cm id="{51F1EB17-46BF-4641-815D-13A302C64CA0}" authorId="{3EAA0BB8-ADED-0607-8649-BECD004EB963}" status="resolved" created="2020-07-08T22:00:59.496" complete="100000">
    <pc:sldMkLst xmlns:pc="http://schemas.microsoft.com/office/powerpoint/2013/main/command">
      <pc:docMk/>
      <pc:sldMk cId="4094655527" sldId="336"/>
    </pc:sldMkLst>
    <p188:txBody>
      <a:bodyPr/>
      <a:lstStyle/>
      <a:p>
        <a:r>
          <a:rPr lang="en-US"/>
          <a:t>I think it would be nice if we had at least some introduction or mention that we need to create the view first. Additionally, we may think of adding it to the demo as well.</a:t>
        </a:r>
      </a:p>
    </p188:txBody>
  </p188:cm>
  <p188:cm id="{36EE108D-7E69-4D45-870E-0E94E36FB032}" authorId="{3EAA0BB8-ADED-0607-8649-BECD004EB963}" status="resolved" created="2020-07-08T22:01:58.982" complete="100000">
    <ac:deMkLst xmlns:ac="http://schemas.microsoft.com/office/drawing/2013/main/command">
      <pc:docMk xmlns:pc="http://schemas.microsoft.com/office/powerpoint/2013/main/command"/>
      <pc:sldMk xmlns:pc="http://schemas.microsoft.com/office/powerpoint/2013/main/command" cId="4094655527" sldId="336"/>
      <ac:graphicFrameMk id="7" creationId="{632D32C6-59ED-4C39-B3BA-AE03370EFCB6}"/>
    </ac:deMkLst>
    <p188:pos x="6174342" y="1367506"/>
    <p188:replyLst>
      <p188:reply id="{F893F565-8D43-4997-97BF-F2D2134B4465}" authorId="{B3A03A83-8476-0708-893D-02B86E8EADE6}" created="2020-07-31T02:16:17.952">
        <p188:txBody>
          <a:bodyPr/>
          <a:lstStyle/>
          <a:p>
            <a:r>
              <a:rPr lang="en-US"/>
              <a:t>accepted</a:t>
            </a:r>
          </a:p>
        </p188:txBody>
      </p188:reply>
    </p188:replyLst>
    <p188:txBody>
      <a:bodyPr/>
      <a:lstStyle/>
      <a:p>
        <a:r>
          <a:rPr lang="en-US"/>
          <a:t>I though about something like this...</a:t>
        </a:r>
      </a:p>
    </p188:txBody>
  </p188:cm>
  <p188:cm id="{7B1598E3-712D-4BE6-BCB1-7A523A2CAA35}" authorId="{B3A03A83-8476-0708-893D-02B86E8EADE6}" status="resolved" created="2020-07-31T02:16:12.023" complete="100000">
    <pc:sldMkLst xmlns:pc="http://schemas.microsoft.com/office/powerpoint/2013/main/command">
      <pc:docMk/>
      <pc:sldMk cId="4094655527" sldId="336"/>
    </pc:sldMkLst>
    <p188:txBody>
      <a:bodyPr/>
      <a:lstStyle/>
      <a:p>
        <a:r>
          <a:rPr lang="en-US"/>
          <a:t>added comments with more in depth of how to think about skew.</a:t>
        </a:r>
      </a:p>
    </p188:txBody>
  </p188:cm>
  <p188:cm id="{4585168B-D5C8-4F5B-B289-68B5F2AEE597}" authorId="{A1A373B1-09CE-2331-5A96-146A126F9862}" status="resolved" created="2020-08-28T20:10:15.924" complete="100000">
    <pc:sldMkLst xmlns:pc="http://schemas.microsoft.com/office/powerpoint/2013/main/command">
      <pc:docMk/>
      <pc:sldMk cId="4094655527" sldId="336"/>
    </pc:sldMkLst>
    <p188:txBody>
      <a:bodyPr/>
      <a:lstStyle/>
      <a:p>
        <a:r>
          <a:rPr lang="en-US"/>
          <a:t>Corrected the math for method 2 - 1.7% skew, not 10% skew.</a:t>
        </a:r>
      </a:p>
    </p188:txBody>
  </p188:cm>
</p188:cmLst>
</file>

<file path=ppt/comments/modernComment_152_E6D8117C.xml><?xml version="1.0" encoding="utf-8"?>
<p188:cmLst xmlns:a="http://schemas.openxmlformats.org/drawingml/2006/main" xmlns:r="http://schemas.openxmlformats.org/officeDocument/2006/relationships" xmlns:p188="http://schemas.microsoft.com/office/powerpoint/2018/8/main">
  <p188:cm id="{50EA0DE4-B6E6-48EF-AB46-111E2BD5285D}" authorId="{B3A03A83-8476-0708-893D-02B86E8EADE6}" status="resolved" created="2020-07-31T03:14:20.793" complete="100000">
    <pc:sldMkLst xmlns:pc="http://schemas.microsoft.com/office/powerpoint/2013/main/command">
      <pc:docMk/>
      <pc:sldMk cId="3872919932" sldId="338"/>
    </pc:sldMkLst>
    <p188:txBody>
      <a:bodyPr/>
      <a:lstStyle/>
      <a:p>
        <a:r>
          <a:rPr lang="en-US"/>
          <a:t>replaced visual with a more accurate one. The one in azure docs isn't actually technically correct</a:t>
        </a:r>
      </a:p>
    </p188:txBody>
  </p188:cm>
  <p188:cm id="{925D5461-4981-446B-BBDE-CD9EA5776F1D}" authorId="{A1A373B1-09CE-2331-5A96-146A126F9862}" status="resolved" created="2020-08-28T21:01:03.967" complete="100000">
    <pc:sldMkLst xmlns:pc="http://schemas.microsoft.com/office/powerpoint/2013/main/command">
      <pc:docMk/>
      <pc:sldMk cId="3872919932" sldId="338"/>
    </pc:sldMkLst>
    <p188:txBody>
      <a:bodyPr/>
      <a:lstStyle/>
      <a:p>
        <a:r>
          <a:rPr lang="en-US"/>
          <a:t>Changed "rebuild" to "re-cache"</a:t>
        </a:r>
      </a:p>
    </p188:txBody>
  </p188:cm>
</p188:cmLst>
</file>

<file path=ppt/comments/modernComment_153_66261EA5.xml><?xml version="1.0" encoding="utf-8"?>
<p188:cmLst xmlns:a="http://schemas.openxmlformats.org/drawingml/2006/main" xmlns:r="http://schemas.openxmlformats.org/officeDocument/2006/relationships" xmlns:p188="http://schemas.microsoft.com/office/powerpoint/2018/8/main">
  <p188:cm id="{2813ACC6-06C0-4AFB-BA61-80B83F3ABFCE}" authorId="{B3A03A83-8476-0708-893D-02B86E8EADE6}" status="resolved" created="2020-07-31T03:15:44.821" complete="100000">
    <pc:sldMkLst xmlns:pc="http://schemas.microsoft.com/office/powerpoint/2013/main/command">
      <pc:docMk/>
      <pc:sldMk cId="1713774245" sldId="339"/>
    </pc:sldMkLst>
    <p188:txBody>
      <a:bodyPr/>
      <a:lstStyle/>
      <a:p>
        <a:r>
          <a:rPr lang="en-US"/>
          <a:t>added to notes</a:t>
        </a:r>
      </a:p>
    </p188:txBody>
  </p188:cm>
  <p188:cm id="{2285D0E0-59C0-46AA-8F0D-318AAAEB2C81}" authorId="{A1A373B1-09CE-2331-5A96-146A126F9862}" status="resolved" created="2020-08-28T19:04:33.490" complete="100000">
    <pc:sldMkLst xmlns:pc="http://schemas.microsoft.com/office/powerpoint/2013/main/command">
      <pc:docMk/>
      <pc:sldMk cId="1713774245" sldId="339"/>
    </pc:sldMkLst>
    <p188:txBody>
      <a:bodyPr/>
      <a:lstStyle/>
      <a:p>
        <a:r>
          <a:rPr lang="en-US"/>
          <a:t>Changed "rebuild" be "re-cache" 
Re-worded the slide / altered smart-art graphic  to make it more readable</a:t>
        </a:r>
      </a:p>
    </p188:txBody>
  </p188:cm>
</p188:cmLst>
</file>

<file path=ppt/comments/modernComment_157_93680444.xml><?xml version="1.0" encoding="utf-8"?>
<p188:cmLst xmlns:a="http://schemas.openxmlformats.org/drawingml/2006/main" xmlns:r="http://schemas.openxmlformats.org/officeDocument/2006/relationships" xmlns:p188="http://schemas.microsoft.com/office/powerpoint/2018/8/main">
  <p188:cm id="{FB90F41E-A8A4-4B8C-B0EF-BF05110A611B}" authorId="{B3A03A83-8476-0708-893D-02B86E8EADE6}" status="resolved" created="2020-08-18T20:00:26.908">
    <pc:sldMkLst xmlns:pc="http://schemas.microsoft.com/office/powerpoint/2013/main/command">
      <pc:docMk/>
      <pc:sldMk cId="2473067588" sldId="343"/>
    </pc:sldMkLst>
    <p188:txBody>
      <a:bodyPr/>
      <a:lstStyle/>
      <a:p>
        <a:r>
          <a:rPr lang="en-US"/>
          <a:t>adding notes</a:t>
        </a:r>
      </a:p>
    </p188:txBody>
  </p188:cm>
</p188:cmLst>
</file>

<file path=ppt/comments/modernComment_158_D9D04F09.xml><?xml version="1.0" encoding="utf-8"?>
<p188:cmLst xmlns:a="http://schemas.openxmlformats.org/drawingml/2006/main" xmlns:r="http://schemas.openxmlformats.org/officeDocument/2006/relationships" xmlns:p188="http://schemas.microsoft.com/office/powerpoint/2018/8/main">
  <p188:cm id="{43FC9A8A-6F46-41BB-B790-1690EA5B51C4}" authorId="{B3A03A83-8476-0708-893D-02B86E8EADE6}" status="resolved" created="2020-08-24T17:27:20.511">
    <pc:sldMkLst xmlns:pc="http://schemas.microsoft.com/office/powerpoint/2013/main/command">
      <pc:docMk/>
      <pc:sldMk cId="3654307593" sldId="344"/>
    </pc:sldMkLst>
    <p188:txBody>
      <a:bodyPr/>
      <a:lstStyle/>
      <a:p>
        <a:r>
          <a:rPr lang="en-US"/>
          <a:t>Added notes</a:t>
        </a:r>
      </a:p>
    </p188:txBody>
  </p188:cm>
  <p188:cm id="{65BB391C-FB35-45DE-A04A-1DDAF55CAA55}" authorId="{A1A373B1-09CE-2331-5A96-146A126F9862}" status="resolved" created="2020-08-28T19:36:16.186">
    <pc:sldMkLst xmlns:pc="http://schemas.microsoft.com/office/powerpoint/2013/main/command">
      <pc:docMk/>
      <pc:sldMk cId="3654307593" sldId="344"/>
    </pc:sldMkLst>
    <p188:txBody>
      <a:bodyPr/>
      <a:lstStyle/>
      <a:p>
        <a:r>
          <a:rPr lang="en-US"/>
          <a:t>Way too wordy - needs to be much briefer</a:t>
        </a:r>
      </a:p>
    </p188:txBody>
  </p188:cm>
</p188:cmLst>
</file>

<file path=ppt/diagrams/_rels/data24.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ata25.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ata26.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_rels/data27.xml.rels><?xml version="1.0" encoding="UTF-8" standalone="yes"?>
<Relationships xmlns="http://schemas.openxmlformats.org/package/2006/relationships"><Relationship Id="rId2" Type="http://schemas.openxmlformats.org/officeDocument/2006/relationships/image" Target="../media/image41.svg"/><Relationship Id="rId1" Type="http://schemas.openxmlformats.org/officeDocument/2006/relationships/image" Target="../media/image40.png"/></Relationships>
</file>

<file path=ppt/diagrams/_rels/data28.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image" Target="../media/image42.png"/></Relationships>
</file>

<file path=ppt/diagrams/_rels/data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diagrams/_rels/data33.xml.rels><?xml version="1.0" encoding="UTF-8" standalone="yes"?>
<Relationships xmlns="http://schemas.openxmlformats.org/package/2006/relationships"><Relationship Id="rId2" Type="http://schemas.openxmlformats.org/officeDocument/2006/relationships/image" Target="../media/image55.svg"/><Relationship Id="rId1" Type="http://schemas.openxmlformats.org/officeDocument/2006/relationships/image" Target="../media/image34.png"/></Relationships>
</file>

<file path=ppt/diagrams/_rels/data34.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ata35.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_rels/data45.xml.rels><?xml version="1.0" encoding="UTF-8" standalone="yes"?>
<Relationships xmlns="http://schemas.openxmlformats.org/package/2006/relationships"><Relationship Id="rId2" Type="http://schemas.openxmlformats.org/officeDocument/2006/relationships/image" Target="../media/image55.svg"/><Relationship Id="rId1" Type="http://schemas.openxmlformats.org/officeDocument/2006/relationships/image" Target="../media/image34.png"/></Relationships>
</file>

<file path=ppt/diagrams/_rels/data46.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ata47.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_rels/drawing24.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rawing25.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rawing26.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_rels/drawing27.xml.rels><?xml version="1.0" encoding="UTF-8" standalone="yes"?>
<Relationships xmlns="http://schemas.openxmlformats.org/package/2006/relationships"><Relationship Id="rId2" Type="http://schemas.openxmlformats.org/officeDocument/2006/relationships/image" Target="../media/image41.svg"/><Relationship Id="rId1" Type="http://schemas.openxmlformats.org/officeDocument/2006/relationships/image" Target="../media/image40.png"/></Relationships>
</file>

<file path=ppt/diagrams/_rels/drawing28.xml.rels><?xml version="1.0" encoding="UTF-8" standalone="yes"?>
<Relationships xmlns="http://schemas.openxmlformats.org/package/2006/relationships"><Relationship Id="rId2" Type="http://schemas.openxmlformats.org/officeDocument/2006/relationships/image" Target="../media/image43.svg"/><Relationship Id="rId1" Type="http://schemas.openxmlformats.org/officeDocument/2006/relationships/image" Target="../media/image42.png"/></Relationships>
</file>

<file path=ppt/diagrams/_rels/drawing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diagrams/_rels/drawing33.xml.rels><?xml version="1.0" encoding="UTF-8" standalone="yes"?>
<Relationships xmlns="http://schemas.openxmlformats.org/package/2006/relationships"><Relationship Id="rId2" Type="http://schemas.openxmlformats.org/officeDocument/2006/relationships/image" Target="../media/image55.svg"/><Relationship Id="rId1" Type="http://schemas.openxmlformats.org/officeDocument/2006/relationships/image" Target="../media/image34.png"/></Relationships>
</file>

<file path=ppt/diagrams/_rels/drawing34.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rawing35.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_rels/drawing45.xml.rels><?xml version="1.0" encoding="UTF-8" standalone="yes"?>
<Relationships xmlns="http://schemas.openxmlformats.org/package/2006/relationships"><Relationship Id="rId2" Type="http://schemas.openxmlformats.org/officeDocument/2006/relationships/image" Target="../media/image55.svg"/><Relationship Id="rId1" Type="http://schemas.openxmlformats.org/officeDocument/2006/relationships/image" Target="../media/image34.png"/></Relationships>
</file>

<file path=ppt/diagrams/_rels/drawing46.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rawing47.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492C52-0B0E-4D43-819B-A9F9DC938868}"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92B22110-462B-4A5C-B444-C4BDAC42138E}">
      <dgm:prSet phldrT="[Text]" custT="1"/>
      <dgm:spPr>
        <a:effectLst>
          <a:glow rad="63500">
            <a:schemeClr val="accent2">
              <a:satMod val="175000"/>
              <a:alpha val="40000"/>
            </a:schemeClr>
          </a:glow>
        </a:effectLst>
        <a:scene3d>
          <a:camera prst="perspectiveFront"/>
          <a:lightRig rig="threePt" dir="t"/>
        </a:scene3d>
        <a:sp3d>
          <a:bevelT prst="angle"/>
        </a:sp3d>
      </dgm:spPr>
      <dgm:t>
        <a:bodyPr/>
        <a:lstStyle/>
        <a:p>
          <a:pPr rtl="0"/>
          <a:r>
            <a:rPr lang="en-US" sz="2400" b="0" i="0" dirty="0"/>
            <a:t>Azure Synapse uses Azure Storage to store data</a:t>
          </a:r>
          <a:endParaRPr lang="en-US" sz="2400" dirty="0"/>
        </a:p>
      </dgm:t>
    </dgm:pt>
    <dgm:pt modelId="{2972BEBE-B591-4C29-BFE1-F359D9E00739}" type="parTrans" cxnId="{E5CF02E0-5583-4C40-AC6C-CD6955F397D8}">
      <dgm:prSet/>
      <dgm:spPr/>
      <dgm:t>
        <a:bodyPr/>
        <a:lstStyle/>
        <a:p>
          <a:endParaRPr lang="es-ES"/>
        </a:p>
      </dgm:t>
    </dgm:pt>
    <dgm:pt modelId="{6F073723-BBED-47BC-88BA-98DAED21E46D}" type="sibTrans" cxnId="{E5CF02E0-5583-4C40-AC6C-CD6955F397D8}">
      <dgm:prSet/>
      <dgm:spPr/>
      <dgm:t>
        <a:bodyPr/>
        <a:lstStyle/>
        <a:p>
          <a:endParaRPr lang="es-ES"/>
        </a:p>
      </dgm:t>
    </dgm:pt>
    <dgm:pt modelId="{850D9644-DE7F-46D4-A7A4-99CDC33A2562}">
      <dgm:prSet phldrT="[Text]" custT="1"/>
      <dgm:spPr>
        <a:effectLst>
          <a:glow rad="63500">
            <a:schemeClr val="accent2">
              <a:satMod val="175000"/>
              <a:alpha val="40000"/>
            </a:schemeClr>
          </a:glow>
        </a:effectLst>
        <a:scene3d>
          <a:camera prst="perspectiveFront"/>
          <a:lightRig rig="threePt" dir="t"/>
        </a:scene3d>
        <a:sp3d>
          <a:bevelT prst="angle"/>
        </a:sp3d>
      </dgm:spPr>
      <dgm:t>
        <a:bodyPr/>
        <a:lstStyle/>
        <a:p>
          <a:r>
            <a:rPr lang="en-US" sz="2400" b="0" i="0" dirty="0"/>
            <a:t>The data is sharded into distributions to optimize the performance of the system</a:t>
          </a:r>
          <a:endParaRPr lang="en-US" sz="2400" noProof="0" dirty="0"/>
        </a:p>
      </dgm:t>
    </dgm:pt>
    <dgm:pt modelId="{D96A4283-B9CD-48E2-850E-255153838CBE}" type="parTrans" cxnId="{868021C1-A17A-4C22-A4F9-20237BCC07E2}">
      <dgm:prSet/>
      <dgm:spPr/>
      <dgm:t>
        <a:bodyPr/>
        <a:lstStyle/>
        <a:p>
          <a:endParaRPr lang="es-ES"/>
        </a:p>
      </dgm:t>
    </dgm:pt>
    <dgm:pt modelId="{9782248C-F520-40E3-B841-F5F066E75EF5}" type="sibTrans" cxnId="{868021C1-A17A-4C22-A4F9-20237BCC07E2}">
      <dgm:prSet/>
      <dgm:spPr/>
      <dgm:t>
        <a:bodyPr/>
        <a:lstStyle/>
        <a:p>
          <a:endParaRPr lang="es-ES"/>
        </a:p>
      </dgm:t>
    </dgm:pt>
    <dgm:pt modelId="{7DA6F0A5-1E0F-421D-B4A8-DBDCE4B65CD1}">
      <dgm:prSet phldrT="[Text]" custT="1"/>
      <dgm:spPr>
        <a:effectLst>
          <a:glow rad="63500">
            <a:schemeClr val="accent2">
              <a:satMod val="175000"/>
              <a:alpha val="40000"/>
            </a:schemeClr>
          </a:glow>
        </a:effectLst>
        <a:scene3d>
          <a:camera prst="perspectiveFront"/>
          <a:lightRig rig="threePt" dir="t"/>
        </a:scene3d>
        <a:sp3d>
          <a:bevelT prst="angle"/>
        </a:sp3d>
      </dgm:spPr>
      <dgm:t>
        <a:bodyPr/>
        <a:lstStyle/>
        <a:p>
          <a:r>
            <a:rPr lang="en-US" sz="2400" noProof="0" dirty="0"/>
            <a:t>The </a:t>
          </a:r>
          <a:r>
            <a:rPr lang="en-US" sz="2400" noProof="0" dirty="0" err="1"/>
            <a:t>sharding</a:t>
          </a:r>
          <a:r>
            <a:rPr lang="en-US" sz="2400" noProof="0" dirty="0"/>
            <a:t> pattern can be chosen at table definition</a:t>
          </a:r>
        </a:p>
      </dgm:t>
    </dgm:pt>
    <dgm:pt modelId="{EA669B29-98BA-47FC-B020-7AB13CA7F385}" type="parTrans" cxnId="{2F935248-1EFF-410C-A47E-30A1EE88DDE5}">
      <dgm:prSet/>
      <dgm:spPr/>
      <dgm:t>
        <a:bodyPr/>
        <a:lstStyle/>
        <a:p>
          <a:endParaRPr lang="es-ES"/>
        </a:p>
      </dgm:t>
    </dgm:pt>
    <dgm:pt modelId="{C3270280-2834-4FAF-B12C-A725A950B865}" type="sibTrans" cxnId="{2F935248-1EFF-410C-A47E-30A1EE88DDE5}">
      <dgm:prSet/>
      <dgm:spPr/>
      <dgm:t>
        <a:bodyPr/>
        <a:lstStyle/>
        <a:p>
          <a:endParaRPr lang="es-ES"/>
        </a:p>
      </dgm:t>
    </dgm:pt>
    <dgm:pt modelId="{9F4D0D15-4832-4487-9020-893B97C15934}" type="pres">
      <dgm:prSet presAssocID="{CD492C52-0B0E-4D43-819B-A9F9DC938868}" presName="linear" presStyleCnt="0">
        <dgm:presLayoutVars>
          <dgm:animLvl val="lvl"/>
          <dgm:resizeHandles val="exact"/>
        </dgm:presLayoutVars>
      </dgm:prSet>
      <dgm:spPr/>
    </dgm:pt>
    <dgm:pt modelId="{13F35993-D09C-4C46-95EC-6B9E84F306AE}" type="pres">
      <dgm:prSet presAssocID="{92B22110-462B-4A5C-B444-C4BDAC42138E}" presName="parentText" presStyleLbl="node1" presStyleIdx="0" presStyleCnt="3">
        <dgm:presLayoutVars>
          <dgm:chMax val="0"/>
          <dgm:bulletEnabled val="1"/>
        </dgm:presLayoutVars>
      </dgm:prSet>
      <dgm:spPr/>
    </dgm:pt>
    <dgm:pt modelId="{901E8CE3-4829-4650-8D63-B3D36A23ADBB}" type="pres">
      <dgm:prSet presAssocID="{6F073723-BBED-47BC-88BA-98DAED21E46D}" presName="spacer" presStyleCnt="0"/>
      <dgm:spPr/>
    </dgm:pt>
    <dgm:pt modelId="{68D77F7B-9425-4D9F-9060-DD2D87535ECA}" type="pres">
      <dgm:prSet presAssocID="{850D9644-DE7F-46D4-A7A4-99CDC33A2562}" presName="parentText" presStyleLbl="node1" presStyleIdx="1" presStyleCnt="3">
        <dgm:presLayoutVars>
          <dgm:chMax val="0"/>
          <dgm:bulletEnabled val="1"/>
        </dgm:presLayoutVars>
      </dgm:prSet>
      <dgm:spPr/>
    </dgm:pt>
    <dgm:pt modelId="{55F76117-4589-49AA-B074-A645285DE853}" type="pres">
      <dgm:prSet presAssocID="{9782248C-F520-40E3-B841-F5F066E75EF5}" presName="spacer" presStyleCnt="0"/>
      <dgm:spPr/>
    </dgm:pt>
    <dgm:pt modelId="{DD155D51-D2E8-4BE3-A71C-599840356C9E}" type="pres">
      <dgm:prSet presAssocID="{7DA6F0A5-1E0F-421D-B4A8-DBDCE4B65CD1}" presName="parentText" presStyleLbl="node1" presStyleIdx="2" presStyleCnt="3">
        <dgm:presLayoutVars>
          <dgm:chMax val="0"/>
          <dgm:bulletEnabled val="1"/>
        </dgm:presLayoutVars>
      </dgm:prSet>
      <dgm:spPr/>
    </dgm:pt>
  </dgm:ptLst>
  <dgm:cxnLst>
    <dgm:cxn modelId="{7618B118-65FD-4482-B32A-802185993B3F}" type="presOf" srcId="{7DA6F0A5-1E0F-421D-B4A8-DBDCE4B65CD1}" destId="{DD155D51-D2E8-4BE3-A71C-599840356C9E}" srcOrd="0" destOrd="0" presId="urn:microsoft.com/office/officeart/2005/8/layout/vList2"/>
    <dgm:cxn modelId="{68C0C623-1B0D-4C9E-AAFF-7658FF0939FA}" type="presOf" srcId="{92B22110-462B-4A5C-B444-C4BDAC42138E}" destId="{13F35993-D09C-4C46-95EC-6B9E84F306AE}" srcOrd="0" destOrd="0" presId="urn:microsoft.com/office/officeart/2005/8/layout/vList2"/>
    <dgm:cxn modelId="{2F935248-1EFF-410C-A47E-30A1EE88DDE5}" srcId="{CD492C52-0B0E-4D43-819B-A9F9DC938868}" destId="{7DA6F0A5-1E0F-421D-B4A8-DBDCE4B65CD1}" srcOrd="2" destOrd="0" parTransId="{EA669B29-98BA-47FC-B020-7AB13CA7F385}" sibTransId="{C3270280-2834-4FAF-B12C-A725A950B865}"/>
    <dgm:cxn modelId="{7691DD57-F071-41B7-9B86-1371BFB7FA55}" type="presOf" srcId="{850D9644-DE7F-46D4-A7A4-99CDC33A2562}" destId="{68D77F7B-9425-4D9F-9060-DD2D87535ECA}" srcOrd="0" destOrd="0" presId="urn:microsoft.com/office/officeart/2005/8/layout/vList2"/>
    <dgm:cxn modelId="{AAF65497-43EF-4AD5-96A8-FBD7A7CDDAD4}" type="presOf" srcId="{CD492C52-0B0E-4D43-819B-A9F9DC938868}" destId="{9F4D0D15-4832-4487-9020-893B97C15934}" srcOrd="0" destOrd="0" presId="urn:microsoft.com/office/officeart/2005/8/layout/vList2"/>
    <dgm:cxn modelId="{868021C1-A17A-4C22-A4F9-20237BCC07E2}" srcId="{CD492C52-0B0E-4D43-819B-A9F9DC938868}" destId="{850D9644-DE7F-46D4-A7A4-99CDC33A2562}" srcOrd="1" destOrd="0" parTransId="{D96A4283-B9CD-48E2-850E-255153838CBE}" sibTransId="{9782248C-F520-40E3-B841-F5F066E75EF5}"/>
    <dgm:cxn modelId="{E5CF02E0-5583-4C40-AC6C-CD6955F397D8}" srcId="{CD492C52-0B0E-4D43-819B-A9F9DC938868}" destId="{92B22110-462B-4A5C-B444-C4BDAC42138E}" srcOrd="0" destOrd="0" parTransId="{2972BEBE-B591-4C29-BFE1-F359D9E00739}" sibTransId="{6F073723-BBED-47BC-88BA-98DAED21E46D}"/>
    <dgm:cxn modelId="{6A962953-AA1B-445C-A809-5358A95E74F5}" type="presParOf" srcId="{9F4D0D15-4832-4487-9020-893B97C15934}" destId="{13F35993-D09C-4C46-95EC-6B9E84F306AE}" srcOrd="0" destOrd="0" presId="urn:microsoft.com/office/officeart/2005/8/layout/vList2"/>
    <dgm:cxn modelId="{3FAF6620-D96B-44DC-B6ED-98CBF5D0E14A}" type="presParOf" srcId="{9F4D0D15-4832-4487-9020-893B97C15934}" destId="{901E8CE3-4829-4650-8D63-B3D36A23ADBB}" srcOrd="1" destOrd="0" presId="urn:microsoft.com/office/officeart/2005/8/layout/vList2"/>
    <dgm:cxn modelId="{8DCE7920-A8EF-401C-B138-0D35C091B234}" type="presParOf" srcId="{9F4D0D15-4832-4487-9020-893B97C15934}" destId="{68D77F7B-9425-4D9F-9060-DD2D87535ECA}" srcOrd="2" destOrd="0" presId="urn:microsoft.com/office/officeart/2005/8/layout/vList2"/>
    <dgm:cxn modelId="{F59418FB-8E9C-44C5-BF1B-C67807849938}" type="presParOf" srcId="{9F4D0D15-4832-4487-9020-893B97C15934}" destId="{55F76117-4589-49AA-B074-A645285DE853}" srcOrd="3" destOrd="0" presId="urn:microsoft.com/office/officeart/2005/8/layout/vList2"/>
    <dgm:cxn modelId="{E2FFA4E6-567D-49F3-A689-2C8B125341DD}" type="presParOf" srcId="{9F4D0D15-4832-4487-9020-893B97C15934}" destId="{DD155D51-D2E8-4BE3-A71C-599840356C9E}"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0C286DC-90FB-46C1-8B4A-6232C1939868}"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84B0BED3-6160-42CD-B9E6-80352DFB9E98}">
      <dgm:prSet phldrT="[Text]"/>
      <dgm:spPr>
        <a:scene3d>
          <a:camera prst="orthographicFront"/>
          <a:lightRig rig="threePt" dir="t"/>
        </a:scene3d>
        <a:sp3d>
          <a:bevelT prst="angle"/>
        </a:sp3d>
      </dgm:spPr>
      <dgm:t>
        <a:bodyPr/>
        <a:lstStyle/>
        <a:p>
          <a:r>
            <a:rPr lang="en-GB" dirty="0"/>
            <a:t>Detecting Data Skew </a:t>
          </a:r>
          <a:endParaRPr lang="es-ES" dirty="0"/>
        </a:p>
      </dgm:t>
    </dgm:pt>
    <dgm:pt modelId="{A05E1737-3356-4638-97F8-6154196C0656}" type="parTrans" cxnId="{2D04FEB4-C86E-4910-87F1-84B878BC9BAE}">
      <dgm:prSet/>
      <dgm:spPr/>
      <dgm:t>
        <a:bodyPr/>
        <a:lstStyle/>
        <a:p>
          <a:endParaRPr lang="es-ES"/>
        </a:p>
      </dgm:t>
    </dgm:pt>
    <dgm:pt modelId="{A51B667B-332B-4F25-B6E3-188C14632200}" type="sibTrans" cxnId="{2D04FEB4-C86E-4910-87F1-84B878BC9BAE}">
      <dgm:prSet/>
      <dgm:spPr/>
      <dgm:t>
        <a:bodyPr/>
        <a:lstStyle/>
        <a:p>
          <a:endParaRPr lang="es-ES"/>
        </a:p>
      </dgm:t>
    </dgm:pt>
    <dgm:pt modelId="{C9228806-1058-41C3-BE95-E705E4EB340B}">
      <dgm:prSet/>
      <dgm:spPr/>
      <dgm:t>
        <a:bodyPr/>
        <a:lstStyle/>
        <a:p>
          <a:r>
            <a:rPr lang="en-GB" dirty="0"/>
            <a:t>DBCC PDW_SHOWSPACEUSED(&lt;Table_Name&gt;)</a:t>
          </a:r>
        </a:p>
      </dgm:t>
    </dgm:pt>
    <dgm:pt modelId="{0E128128-FBC4-4F50-A448-20929988A570}" type="parTrans" cxnId="{85A844B4-31CE-49FE-9F6D-70C0832B775B}">
      <dgm:prSet/>
      <dgm:spPr/>
      <dgm:t>
        <a:bodyPr/>
        <a:lstStyle/>
        <a:p>
          <a:endParaRPr lang="es-ES"/>
        </a:p>
      </dgm:t>
    </dgm:pt>
    <dgm:pt modelId="{351AACCF-3DE4-4D40-8D60-092014C94ED5}" type="sibTrans" cxnId="{85A844B4-31CE-49FE-9F6D-70C0832B775B}">
      <dgm:prSet/>
      <dgm:spPr/>
      <dgm:t>
        <a:bodyPr/>
        <a:lstStyle/>
        <a:p>
          <a:endParaRPr lang="es-ES"/>
        </a:p>
      </dgm:t>
    </dgm:pt>
    <dgm:pt modelId="{9B288655-025B-44FE-B7E2-DA626DB38323}" type="pres">
      <dgm:prSet presAssocID="{F0C286DC-90FB-46C1-8B4A-6232C1939868}" presName="linear" presStyleCnt="0">
        <dgm:presLayoutVars>
          <dgm:animLvl val="lvl"/>
          <dgm:resizeHandles val="exact"/>
        </dgm:presLayoutVars>
      </dgm:prSet>
      <dgm:spPr/>
    </dgm:pt>
    <dgm:pt modelId="{8AE2080A-FDB3-433D-A757-0BEC1E4439C8}" type="pres">
      <dgm:prSet presAssocID="{84B0BED3-6160-42CD-B9E6-80352DFB9E98}" presName="parentText" presStyleLbl="node1" presStyleIdx="0" presStyleCnt="1" custScaleY="64241">
        <dgm:presLayoutVars>
          <dgm:chMax val="0"/>
          <dgm:bulletEnabled val="1"/>
        </dgm:presLayoutVars>
      </dgm:prSet>
      <dgm:spPr/>
    </dgm:pt>
    <dgm:pt modelId="{685AD1B2-246D-4BBB-976D-BEA80EEA9323}" type="pres">
      <dgm:prSet presAssocID="{84B0BED3-6160-42CD-B9E6-80352DFB9E98}" presName="childText" presStyleLbl="revTx" presStyleIdx="0" presStyleCnt="1">
        <dgm:presLayoutVars>
          <dgm:bulletEnabled val="1"/>
        </dgm:presLayoutVars>
      </dgm:prSet>
      <dgm:spPr/>
    </dgm:pt>
  </dgm:ptLst>
  <dgm:cxnLst>
    <dgm:cxn modelId="{EEB6810B-5CB8-4045-A737-8B09150C557D}" type="presOf" srcId="{84B0BED3-6160-42CD-B9E6-80352DFB9E98}" destId="{8AE2080A-FDB3-433D-A757-0BEC1E4439C8}" srcOrd="0" destOrd="0" presId="urn:microsoft.com/office/officeart/2005/8/layout/vList2"/>
    <dgm:cxn modelId="{11484637-9E2F-41B8-B774-76B31334CB2F}" type="presOf" srcId="{F0C286DC-90FB-46C1-8B4A-6232C1939868}" destId="{9B288655-025B-44FE-B7E2-DA626DB38323}" srcOrd="0" destOrd="0" presId="urn:microsoft.com/office/officeart/2005/8/layout/vList2"/>
    <dgm:cxn modelId="{7D5A705F-933E-4CF8-B818-0D957B19A580}" type="presOf" srcId="{C9228806-1058-41C3-BE95-E705E4EB340B}" destId="{685AD1B2-246D-4BBB-976D-BEA80EEA9323}" srcOrd="0" destOrd="0" presId="urn:microsoft.com/office/officeart/2005/8/layout/vList2"/>
    <dgm:cxn modelId="{85A844B4-31CE-49FE-9F6D-70C0832B775B}" srcId="{84B0BED3-6160-42CD-B9E6-80352DFB9E98}" destId="{C9228806-1058-41C3-BE95-E705E4EB340B}" srcOrd="0" destOrd="0" parTransId="{0E128128-FBC4-4F50-A448-20929988A570}" sibTransId="{351AACCF-3DE4-4D40-8D60-092014C94ED5}"/>
    <dgm:cxn modelId="{2D04FEB4-C86E-4910-87F1-84B878BC9BAE}" srcId="{F0C286DC-90FB-46C1-8B4A-6232C1939868}" destId="{84B0BED3-6160-42CD-B9E6-80352DFB9E98}" srcOrd="0" destOrd="0" parTransId="{A05E1737-3356-4638-97F8-6154196C0656}" sibTransId="{A51B667B-332B-4F25-B6E3-188C14632200}"/>
    <dgm:cxn modelId="{EFD2DA97-5891-4D81-B22B-283034F457EE}" type="presParOf" srcId="{9B288655-025B-44FE-B7E2-DA626DB38323}" destId="{8AE2080A-FDB3-433D-A757-0BEC1E4439C8}" srcOrd="0" destOrd="0" presId="urn:microsoft.com/office/officeart/2005/8/layout/vList2"/>
    <dgm:cxn modelId="{8D87D130-7EBA-4180-A8D3-F6EA143CA9C2}" type="presParOf" srcId="{9B288655-025B-44FE-B7E2-DA626DB38323}" destId="{685AD1B2-246D-4BBB-976D-BEA80EEA9323}"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0C286DC-90FB-46C1-8B4A-6232C1939868}"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84B0BED3-6160-42CD-B9E6-80352DFB9E98}">
      <dgm:prSet phldrT="[Text]" custT="1"/>
      <dgm:spPr>
        <a:scene3d>
          <a:camera prst="orthographicFront"/>
          <a:lightRig rig="threePt" dir="t"/>
        </a:scene3d>
        <a:sp3d>
          <a:bevelT prst="angle"/>
        </a:sp3d>
      </dgm:spPr>
      <dgm:t>
        <a:bodyPr/>
        <a:lstStyle/>
        <a:p>
          <a:r>
            <a:rPr lang="en-GB" sz="3000" dirty="0"/>
            <a:t>Detecting Data Skew </a:t>
          </a:r>
          <a:endParaRPr lang="es-ES" sz="3000" dirty="0"/>
        </a:p>
      </dgm:t>
    </dgm:pt>
    <dgm:pt modelId="{A05E1737-3356-4638-97F8-6154196C0656}" type="parTrans" cxnId="{2D04FEB4-C86E-4910-87F1-84B878BC9BAE}">
      <dgm:prSet/>
      <dgm:spPr/>
      <dgm:t>
        <a:bodyPr/>
        <a:lstStyle/>
        <a:p>
          <a:endParaRPr lang="es-ES" sz="2400"/>
        </a:p>
      </dgm:t>
    </dgm:pt>
    <dgm:pt modelId="{A51B667B-332B-4F25-B6E3-188C14632200}" type="sibTrans" cxnId="{2D04FEB4-C86E-4910-87F1-84B878BC9BAE}">
      <dgm:prSet/>
      <dgm:spPr/>
      <dgm:t>
        <a:bodyPr/>
        <a:lstStyle/>
        <a:p>
          <a:endParaRPr lang="es-ES" sz="2400"/>
        </a:p>
      </dgm:t>
    </dgm:pt>
    <dgm:pt modelId="{4F04E8A0-9DA4-43EB-B8F4-53B63BCFD123}">
      <dgm:prSet custT="1"/>
      <dgm:spPr/>
      <dgm:t>
        <a:bodyPr/>
        <a:lstStyle/>
        <a:p>
          <a:pPr marL="228600" lvl="1" indent="-228600" algn="l" defTabSz="1022350">
            <a:lnSpc>
              <a:spcPct val="90000"/>
            </a:lnSpc>
            <a:spcBef>
              <a:spcPct val="0"/>
            </a:spcBef>
            <a:spcAft>
              <a:spcPct val="20000"/>
            </a:spcAft>
            <a:buChar char="•"/>
          </a:pPr>
          <a:r>
            <a:rPr lang="en-GB" sz="2300" kern="1200" dirty="0">
              <a:solidFill>
                <a:srgbClr val="000000">
                  <a:hueOff val="0"/>
                  <a:satOff val="0"/>
                  <a:lumOff val="0"/>
                  <a:alphaOff val="0"/>
                </a:srgbClr>
              </a:solidFill>
              <a:latin typeface="Segoe UI" panose="020B0502040204020203" pitchFamily="34" charset="0"/>
              <a:ea typeface="+mn-ea"/>
              <a:cs typeface="Segoe UI" panose="020B0502040204020203" pitchFamily="34" charset="0"/>
            </a:rPr>
            <a:t>Identify tables with more that 10% data skew</a:t>
          </a:r>
        </a:p>
      </dgm:t>
    </dgm:pt>
    <dgm:pt modelId="{099D2E97-1259-4349-A8D2-7B0DA9D6D396}" type="parTrans" cxnId="{3C361A26-18C9-4C1A-ACAD-AA639F454CDD}">
      <dgm:prSet/>
      <dgm:spPr/>
      <dgm:t>
        <a:bodyPr/>
        <a:lstStyle/>
        <a:p>
          <a:endParaRPr lang="en-US" sz="2400"/>
        </a:p>
      </dgm:t>
    </dgm:pt>
    <dgm:pt modelId="{6F93EC57-86F0-47C7-BD63-C456F2AD8F76}" type="sibTrans" cxnId="{3C361A26-18C9-4C1A-ACAD-AA639F454CDD}">
      <dgm:prSet/>
      <dgm:spPr/>
      <dgm:t>
        <a:bodyPr/>
        <a:lstStyle/>
        <a:p>
          <a:endParaRPr lang="en-US" sz="2400"/>
        </a:p>
      </dgm:t>
    </dgm:pt>
    <dgm:pt modelId="{A8383934-9FD4-4FD2-8D1A-49C366DFFDA7}">
      <dgm:prSet custT="1"/>
      <dgm:spPr/>
      <dgm:t>
        <a:bodyPr/>
        <a:lstStyle/>
        <a:p>
          <a:pPr marL="228600" lvl="1" indent="-228600" algn="l" defTabSz="1022350">
            <a:lnSpc>
              <a:spcPct val="90000"/>
            </a:lnSpc>
            <a:spcBef>
              <a:spcPct val="0"/>
            </a:spcBef>
            <a:spcAft>
              <a:spcPct val="20000"/>
            </a:spcAft>
            <a:buChar char="•"/>
          </a:pPr>
          <a:r>
            <a:rPr lang="en-GB" sz="2300" kern="1200" dirty="0">
              <a:solidFill>
                <a:schemeClr val="tx1"/>
              </a:solidFill>
              <a:latin typeface="Segoe UI" panose="020B0502040204020203" pitchFamily="34" charset="0"/>
              <a:ea typeface="+mn-ea"/>
              <a:cs typeface="Segoe UI" panose="020B0502040204020203" pitchFamily="34" charset="0"/>
            </a:rPr>
            <a:t>Create the vTableSizes view (available on docs) and run the code below</a:t>
          </a:r>
        </a:p>
      </dgm:t>
    </dgm:pt>
    <dgm:pt modelId="{EAF777AB-6875-4562-BFED-149AC73C260B}" type="parTrans" cxnId="{1BC36745-A9DD-41A6-A739-001DAC941FF7}">
      <dgm:prSet/>
      <dgm:spPr/>
      <dgm:t>
        <a:bodyPr/>
        <a:lstStyle/>
        <a:p>
          <a:endParaRPr lang="en-US" sz="2400"/>
        </a:p>
      </dgm:t>
    </dgm:pt>
    <dgm:pt modelId="{A3794213-7113-41D0-8111-C66FAAA34313}" type="sibTrans" cxnId="{1BC36745-A9DD-41A6-A739-001DAC941FF7}">
      <dgm:prSet/>
      <dgm:spPr/>
      <dgm:t>
        <a:bodyPr/>
        <a:lstStyle/>
        <a:p>
          <a:endParaRPr lang="en-US" sz="2400"/>
        </a:p>
      </dgm:t>
    </dgm:pt>
    <dgm:pt modelId="{9B288655-025B-44FE-B7E2-DA626DB38323}" type="pres">
      <dgm:prSet presAssocID="{F0C286DC-90FB-46C1-8B4A-6232C1939868}" presName="linear" presStyleCnt="0">
        <dgm:presLayoutVars>
          <dgm:animLvl val="lvl"/>
          <dgm:resizeHandles val="exact"/>
        </dgm:presLayoutVars>
      </dgm:prSet>
      <dgm:spPr/>
    </dgm:pt>
    <dgm:pt modelId="{8AE2080A-FDB3-433D-A757-0BEC1E4439C8}" type="pres">
      <dgm:prSet presAssocID="{84B0BED3-6160-42CD-B9E6-80352DFB9E98}" presName="parentText" presStyleLbl="node1" presStyleIdx="0" presStyleCnt="1" custScaleY="64241">
        <dgm:presLayoutVars>
          <dgm:chMax val="0"/>
          <dgm:bulletEnabled val="1"/>
        </dgm:presLayoutVars>
      </dgm:prSet>
      <dgm:spPr/>
    </dgm:pt>
    <dgm:pt modelId="{685AD1B2-246D-4BBB-976D-BEA80EEA9323}" type="pres">
      <dgm:prSet presAssocID="{84B0BED3-6160-42CD-B9E6-80352DFB9E98}" presName="childText" presStyleLbl="revTx" presStyleIdx="0" presStyleCnt="1">
        <dgm:presLayoutVars>
          <dgm:bulletEnabled val="1"/>
        </dgm:presLayoutVars>
      </dgm:prSet>
      <dgm:spPr/>
    </dgm:pt>
  </dgm:ptLst>
  <dgm:cxnLst>
    <dgm:cxn modelId="{EEB6810B-5CB8-4045-A737-8B09150C557D}" type="presOf" srcId="{84B0BED3-6160-42CD-B9E6-80352DFB9E98}" destId="{8AE2080A-FDB3-433D-A757-0BEC1E4439C8}" srcOrd="0" destOrd="0" presId="urn:microsoft.com/office/officeart/2005/8/layout/vList2"/>
    <dgm:cxn modelId="{3C361A26-18C9-4C1A-ACAD-AA639F454CDD}" srcId="{84B0BED3-6160-42CD-B9E6-80352DFB9E98}" destId="{4F04E8A0-9DA4-43EB-B8F4-53B63BCFD123}" srcOrd="0" destOrd="0" parTransId="{099D2E97-1259-4349-A8D2-7B0DA9D6D396}" sibTransId="{6F93EC57-86F0-47C7-BD63-C456F2AD8F76}"/>
    <dgm:cxn modelId="{11484637-9E2F-41B8-B774-76B31334CB2F}" type="presOf" srcId="{F0C286DC-90FB-46C1-8B4A-6232C1939868}" destId="{9B288655-025B-44FE-B7E2-DA626DB38323}" srcOrd="0" destOrd="0" presId="urn:microsoft.com/office/officeart/2005/8/layout/vList2"/>
    <dgm:cxn modelId="{1BC36745-A9DD-41A6-A739-001DAC941FF7}" srcId="{84B0BED3-6160-42CD-B9E6-80352DFB9E98}" destId="{A8383934-9FD4-4FD2-8D1A-49C366DFFDA7}" srcOrd="1" destOrd="0" parTransId="{EAF777AB-6875-4562-BFED-149AC73C260B}" sibTransId="{A3794213-7113-41D0-8111-C66FAAA34313}"/>
    <dgm:cxn modelId="{36C1F78A-2202-46A2-ACC5-6FF3F5C7EADB}" type="presOf" srcId="{4F04E8A0-9DA4-43EB-B8F4-53B63BCFD123}" destId="{685AD1B2-246D-4BBB-976D-BEA80EEA9323}" srcOrd="0" destOrd="0" presId="urn:microsoft.com/office/officeart/2005/8/layout/vList2"/>
    <dgm:cxn modelId="{B6D39E92-6153-4230-A8D5-EAF2814FEAE6}" type="presOf" srcId="{A8383934-9FD4-4FD2-8D1A-49C366DFFDA7}" destId="{685AD1B2-246D-4BBB-976D-BEA80EEA9323}" srcOrd="0" destOrd="1" presId="urn:microsoft.com/office/officeart/2005/8/layout/vList2"/>
    <dgm:cxn modelId="{2D04FEB4-C86E-4910-87F1-84B878BC9BAE}" srcId="{F0C286DC-90FB-46C1-8B4A-6232C1939868}" destId="{84B0BED3-6160-42CD-B9E6-80352DFB9E98}" srcOrd="0" destOrd="0" parTransId="{A05E1737-3356-4638-97F8-6154196C0656}" sibTransId="{A51B667B-332B-4F25-B6E3-188C14632200}"/>
    <dgm:cxn modelId="{EFD2DA97-5891-4D81-B22B-283034F457EE}" type="presParOf" srcId="{9B288655-025B-44FE-B7E2-DA626DB38323}" destId="{8AE2080A-FDB3-433D-A757-0BEC1E4439C8}" srcOrd="0" destOrd="0" presId="urn:microsoft.com/office/officeart/2005/8/layout/vList2"/>
    <dgm:cxn modelId="{8D87D130-7EBA-4180-A8D3-F6EA143CA9C2}" type="presParOf" srcId="{9B288655-025B-44FE-B7E2-DA626DB38323}" destId="{685AD1B2-246D-4BBB-976D-BEA80EEA9323}"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2417B0B-3142-48C1-AF91-01C84745D618}"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D47B4DC4-5C9A-4041-BBB5-84113D61E278}">
      <dgm:prSet phldrT="[Text]" custT="1"/>
      <dgm:spPr>
        <a:effectLst>
          <a:glow rad="139700">
            <a:schemeClr val="accent2">
              <a:satMod val="175000"/>
              <a:alpha val="40000"/>
            </a:schemeClr>
          </a:glow>
        </a:effectLst>
        <a:scene3d>
          <a:camera prst="orthographicFront"/>
          <a:lightRig rig="threePt" dir="t"/>
        </a:scene3d>
        <a:sp3d>
          <a:bevelT prst="angle"/>
        </a:sp3d>
      </dgm:spPr>
      <dgm:t>
        <a:bodyPr/>
        <a:lstStyle/>
        <a:p>
          <a:pPr>
            <a:buNone/>
          </a:pPr>
          <a:r>
            <a:rPr lang="en-GB" sz="3200" dirty="0"/>
            <a:t>Hash Key Cardinality: Multiply 60 distributions times 10</a:t>
          </a:r>
          <a:endParaRPr lang="es-ES" sz="3200" dirty="0"/>
        </a:p>
      </dgm:t>
    </dgm:pt>
    <dgm:pt modelId="{70102601-00D1-4294-9CF1-B4E99242C85B}" type="parTrans" cxnId="{95A6DD32-C672-4DA7-91E3-02DF0EE2635A}">
      <dgm:prSet/>
      <dgm:spPr/>
      <dgm:t>
        <a:bodyPr/>
        <a:lstStyle/>
        <a:p>
          <a:endParaRPr lang="es-ES"/>
        </a:p>
      </dgm:t>
    </dgm:pt>
    <dgm:pt modelId="{FB8123C4-8D4F-46B0-87E5-CD5CD833B00F}" type="sibTrans" cxnId="{95A6DD32-C672-4DA7-91E3-02DF0EE2635A}">
      <dgm:prSet/>
      <dgm:spPr/>
      <dgm:t>
        <a:bodyPr/>
        <a:lstStyle/>
        <a:p>
          <a:endParaRPr lang="es-ES"/>
        </a:p>
      </dgm:t>
    </dgm:pt>
    <dgm:pt modelId="{35D2C9FA-A4C2-4762-A649-C9B18CB49BF7}">
      <dgm:prSet custT="1"/>
      <dgm:spPr>
        <a:effectLst>
          <a:glow rad="139700">
            <a:schemeClr val="accent2">
              <a:satMod val="175000"/>
              <a:alpha val="40000"/>
            </a:schemeClr>
          </a:glow>
        </a:effectLst>
        <a:scene3d>
          <a:camera prst="orthographicFront"/>
          <a:lightRig rig="threePt" dir="t"/>
        </a:scene3d>
        <a:sp3d>
          <a:bevelT prst="angle"/>
        </a:sp3d>
      </dgm:spPr>
      <dgm:t>
        <a:bodyPr/>
        <a:lstStyle/>
        <a:p>
          <a:r>
            <a:rPr lang="en-GB" sz="3200" dirty="0"/>
            <a:t>A column with 600+ distinct values will help ensure an even distribution and help ensure optimal performance</a:t>
          </a:r>
        </a:p>
      </dgm:t>
    </dgm:pt>
    <dgm:pt modelId="{0CB38791-7BDC-4C8B-A98D-5619BA9C3204}" type="parTrans" cxnId="{450DDB96-4A01-40D8-B1CF-A74777CE57E0}">
      <dgm:prSet/>
      <dgm:spPr/>
      <dgm:t>
        <a:bodyPr/>
        <a:lstStyle/>
        <a:p>
          <a:endParaRPr lang="es-ES"/>
        </a:p>
      </dgm:t>
    </dgm:pt>
    <dgm:pt modelId="{84A0727B-B800-4798-ACDB-23DD4061FBB0}" type="sibTrans" cxnId="{450DDB96-4A01-40D8-B1CF-A74777CE57E0}">
      <dgm:prSet/>
      <dgm:spPr/>
      <dgm:t>
        <a:bodyPr/>
        <a:lstStyle/>
        <a:p>
          <a:endParaRPr lang="es-ES"/>
        </a:p>
      </dgm:t>
    </dgm:pt>
    <dgm:pt modelId="{BED62E96-5B0D-4EDD-8C6B-3428C348404A}">
      <dgm:prSet custT="1"/>
      <dgm:spPr/>
      <dgm:t>
        <a:bodyPr/>
        <a:lstStyle/>
        <a:p>
          <a:r>
            <a:rPr lang="en-GB" sz="2800" dirty="0"/>
            <a:t>60 x 10 = 600 distinct values, minimum</a:t>
          </a:r>
        </a:p>
      </dgm:t>
    </dgm:pt>
    <dgm:pt modelId="{37D16CEB-9BFC-4C29-A267-07E06808E4E9}" type="parTrans" cxnId="{AFC9F391-5E7D-41ED-9EE2-DB98CF2F263F}">
      <dgm:prSet/>
      <dgm:spPr/>
    </dgm:pt>
    <dgm:pt modelId="{6CA1502F-5E47-4137-8FD0-C02BED2DFEC6}" type="sibTrans" cxnId="{AFC9F391-5E7D-41ED-9EE2-DB98CF2F263F}">
      <dgm:prSet/>
      <dgm:spPr/>
    </dgm:pt>
    <dgm:pt modelId="{48608674-31EE-4A3E-B095-0B5597AD2953}" type="pres">
      <dgm:prSet presAssocID="{72417B0B-3142-48C1-AF91-01C84745D618}" presName="linear" presStyleCnt="0">
        <dgm:presLayoutVars>
          <dgm:animLvl val="lvl"/>
          <dgm:resizeHandles val="exact"/>
        </dgm:presLayoutVars>
      </dgm:prSet>
      <dgm:spPr/>
    </dgm:pt>
    <dgm:pt modelId="{41B9C1AF-1EC7-48D2-9D88-174F0F471AD7}" type="pres">
      <dgm:prSet presAssocID="{D47B4DC4-5C9A-4041-BBB5-84113D61E278}" presName="parentText" presStyleLbl="node1" presStyleIdx="0" presStyleCnt="2">
        <dgm:presLayoutVars>
          <dgm:chMax val="0"/>
          <dgm:bulletEnabled val="1"/>
        </dgm:presLayoutVars>
      </dgm:prSet>
      <dgm:spPr/>
    </dgm:pt>
    <dgm:pt modelId="{3E7E0749-3349-4FB9-B67B-177881FADCE2}" type="pres">
      <dgm:prSet presAssocID="{D47B4DC4-5C9A-4041-BBB5-84113D61E278}" presName="childText" presStyleLbl="revTx" presStyleIdx="0" presStyleCnt="1">
        <dgm:presLayoutVars>
          <dgm:bulletEnabled val="1"/>
        </dgm:presLayoutVars>
      </dgm:prSet>
      <dgm:spPr/>
    </dgm:pt>
    <dgm:pt modelId="{611B0449-C729-40D8-A30D-C2A30D4957DD}" type="pres">
      <dgm:prSet presAssocID="{35D2C9FA-A4C2-4762-A649-C9B18CB49BF7}" presName="parentText" presStyleLbl="node1" presStyleIdx="1" presStyleCnt="2">
        <dgm:presLayoutVars>
          <dgm:chMax val="0"/>
          <dgm:bulletEnabled val="1"/>
        </dgm:presLayoutVars>
      </dgm:prSet>
      <dgm:spPr/>
    </dgm:pt>
  </dgm:ptLst>
  <dgm:cxnLst>
    <dgm:cxn modelId="{B58E0301-CF71-40E8-9A7F-E2B2FC4DD92A}" type="presOf" srcId="{D47B4DC4-5C9A-4041-BBB5-84113D61E278}" destId="{41B9C1AF-1EC7-48D2-9D88-174F0F471AD7}" srcOrd="0" destOrd="0" presId="urn:microsoft.com/office/officeart/2005/8/layout/vList2"/>
    <dgm:cxn modelId="{A2B8591A-EB40-4019-83FD-F571446217F3}" type="presOf" srcId="{35D2C9FA-A4C2-4762-A649-C9B18CB49BF7}" destId="{611B0449-C729-40D8-A30D-C2A30D4957DD}" srcOrd="0" destOrd="0" presId="urn:microsoft.com/office/officeart/2005/8/layout/vList2"/>
    <dgm:cxn modelId="{95A6DD32-C672-4DA7-91E3-02DF0EE2635A}" srcId="{72417B0B-3142-48C1-AF91-01C84745D618}" destId="{D47B4DC4-5C9A-4041-BBB5-84113D61E278}" srcOrd="0" destOrd="0" parTransId="{70102601-00D1-4294-9CF1-B4E99242C85B}" sibTransId="{FB8123C4-8D4F-46B0-87E5-CD5CD833B00F}"/>
    <dgm:cxn modelId="{BF43993B-A486-4C4D-95A2-513212D81A59}" type="presOf" srcId="{72417B0B-3142-48C1-AF91-01C84745D618}" destId="{48608674-31EE-4A3E-B095-0B5597AD2953}" srcOrd="0" destOrd="0" presId="urn:microsoft.com/office/officeart/2005/8/layout/vList2"/>
    <dgm:cxn modelId="{AFC9F391-5E7D-41ED-9EE2-DB98CF2F263F}" srcId="{D47B4DC4-5C9A-4041-BBB5-84113D61E278}" destId="{BED62E96-5B0D-4EDD-8C6B-3428C348404A}" srcOrd="0" destOrd="0" parTransId="{37D16CEB-9BFC-4C29-A267-07E06808E4E9}" sibTransId="{6CA1502F-5E47-4137-8FD0-C02BED2DFEC6}"/>
    <dgm:cxn modelId="{450DDB96-4A01-40D8-B1CF-A74777CE57E0}" srcId="{72417B0B-3142-48C1-AF91-01C84745D618}" destId="{35D2C9FA-A4C2-4762-A649-C9B18CB49BF7}" srcOrd="1" destOrd="0" parTransId="{0CB38791-7BDC-4C8B-A98D-5619BA9C3204}" sibTransId="{84A0727B-B800-4798-ACDB-23DD4061FBB0}"/>
    <dgm:cxn modelId="{7354BAB0-46BD-4E95-A5BB-B17C0E701AC9}" type="presOf" srcId="{BED62E96-5B0D-4EDD-8C6B-3428C348404A}" destId="{3E7E0749-3349-4FB9-B67B-177881FADCE2}" srcOrd="0" destOrd="0" presId="urn:microsoft.com/office/officeart/2005/8/layout/vList2"/>
    <dgm:cxn modelId="{A13B7B4D-BCA5-4C97-BCB0-7AEE498978FF}" type="presParOf" srcId="{48608674-31EE-4A3E-B095-0B5597AD2953}" destId="{41B9C1AF-1EC7-48D2-9D88-174F0F471AD7}" srcOrd="0" destOrd="0" presId="urn:microsoft.com/office/officeart/2005/8/layout/vList2"/>
    <dgm:cxn modelId="{DC2E4D66-62F7-4B47-801F-B25D6C19C05B}" type="presParOf" srcId="{48608674-31EE-4A3E-B095-0B5597AD2953}" destId="{3E7E0749-3349-4FB9-B67B-177881FADCE2}" srcOrd="1" destOrd="0" presId="urn:microsoft.com/office/officeart/2005/8/layout/vList2"/>
    <dgm:cxn modelId="{C4036300-01AF-4CA2-AB08-980328C82167}" type="presParOf" srcId="{48608674-31EE-4A3E-B095-0B5597AD2953}" destId="{611B0449-C729-40D8-A30D-C2A30D4957DD}"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3575CF2-DE4B-40D3-86B2-96DC709FBEAF}"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D9131076-907D-4907-B43A-C5DADC686795}">
      <dgm:prSet custT="1"/>
      <dgm:spPr/>
      <dgm:t>
        <a:bodyPr/>
        <a:lstStyle/>
        <a:p>
          <a:r>
            <a:rPr lang="en-GB" sz="2400" dirty="0"/>
            <a:t>Ensure broadly equal data processed across distributions</a:t>
          </a:r>
          <a:endParaRPr lang="en-US" sz="2400" dirty="0"/>
        </a:p>
      </dgm:t>
    </dgm:pt>
    <dgm:pt modelId="{88112A08-8962-4A4F-88EA-3A30050E946A}" type="parTrans" cxnId="{8D17FAB8-A4BF-43CE-80A1-E042987B61F4}">
      <dgm:prSet/>
      <dgm:spPr/>
      <dgm:t>
        <a:bodyPr/>
        <a:lstStyle/>
        <a:p>
          <a:endParaRPr lang="en-US"/>
        </a:p>
      </dgm:t>
    </dgm:pt>
    <dgm:pt modelId="{1214818B-86DF-451E-8236-6F2E8A8409F4}" type="sibTrans" cxnId="{8D17FAB8-A4BF-43CE-80A1-E042987B61F4}">
      <dgm:prSet/>
      <dgm:spPr/>
      <dgm:t>
        <a:bodyPr/>
        <a:lstStyle/>
        <a:p>
          <a:endParaRPr lang="en-US"/>
        </a:p>
      </dgm:t>
    </dgm:pt>
    <dgm:pt modelId="{2DD44079-558A-421F-8654-B65A2A010F33}">
      <dgm:prSet/>
      <dgm:spPr/>
      <dgm:t>
        <a:bodyPr/>
        <a:lstStyle/>
        <a:p>
          <a:r>
            <a:rPr lang="en-GB"/>
            <a:t>Makes use of MPP Architecture</a:t>
          </a:r>
          <a:endParaRPr lang="en-US"/>
        </a:p>
      </dgm:t>
    </dgm:pt>
    <dgm:pt modelId="{8DAD16B5-6859-4F15-B58F-27C9B5549261}" type="parTrans" cxnId="{A51A4C8B-00E3-4438-ACE3-E0A9C4381F0E}">
      <dgm:prSet/>
      <dgm:spPr/>
      <dgm:t>
        <a:bodyPr/>
        <a:lstStyle/>
        <a:p>
          <a:endParaRPr lang="en-US"/>
        </a:p>
      </dgm:t>
    </dgm:pt>
    <dgm:pt modelId="{BB92902F-3C87-4F2D-8E29-40E0DB6041B5}" type="sibTrans" cxnId="{A51A4C8B-00E3-4438-ACE3-E0A9C4381F0E}">
      <dgm:prSet/>
      <dgm:spPr/>
      <dgm:t>
        <a:bodyPr/>
        <a:lstStyle/>
        <a:p>
          <a:endParaRPr lang="en-US"/>
        </a:p>
      </dgm:t>
    </dgm:pt>
    <dgm:pt modelId="{221905D4-0BDE-42AB-81A0-4127DEF648A7}">
      <dgm:prSet custT="1"/>
      <dgm:spPr/>
      <dgm:t>
        <a:bodyPr/>
        <a:lstStyle/>
        <a:p>
          <a:r>
            <a:rPr lang="en-GB" sz="2400" dirty="0"/>
            <a:t>Can be closely tied to Skew</a:t>
          </a:r>
          <a:endParaRPr lang="en-US" sz="2400" dirty="0"/>
        </a:p>
      </dgm:t>
    </dgm:pt>
    <dgm:pt modelId="{01F6D0BD-FA87-4160-9D5F-5D3082EF7BA8}" type="parTrans" cxnId="{2837387E-0333-4D8C-A2DD-552FA06922FD}">
      <dgm:prSet/>
      <dgm:spPr/>
      <dgm:t>
        <a:bodyPr/>
        <a:lstStyle/>
        <a:p>
          <a:endParaRPr lang="en-US"/>
        </a:p>
      </dgm:t>
    </dgm:pt>
    <dgm:pt modelId="{A95DDB1B-C4F7-4D9E-8472-52D3CDCE1D03}" type="sibTrans" cxnId="{2837387E-0333-4D8C-A2DD-552FA06922FD}">
      <dgm:prSet/>
      <dgm:spPr/>
      <dgm:t>
        <a:bodyPr/>
        <a:lstStyle/>
        <a:p>
          <a:endParaRPr lang="en-US"/>
        </a:p>
      </dgm:t>
    </dgm:pt>
    <dgm:pt modelId="{A643F284-5C4C-4D06-8209-14F94F3C0660}">
      <dgm:prSet/>
      <dgm:spPr/>
      <dgm:t>
        <a:bodyPr/>
        <a:lstStyle/>
        <a:p>
          <a:r>
            <a:rPr lang="en-GB"/>
            <a:t>High Skew can imply unbalanced execution</a:t>
          </a:r>
          <a:endParaRPr lang="en-US"/>
        </a:p>
      </dgm:t>
    </dgm:pt>
    <dgm:pt modelId="{5FDA32B0-5FD9-4A66-8068-25BC0815E0CD}" type="parTrans" cxnId="{E3CF159B-3F96-4541-8180-D77E9C7BB558}">
      <dgm:prSet/>
      <dgm:spPr/>
      <dgm:t>
        <a:bodyPr/>
        <a:lstStyle/>
        <a:p>
          <a:endParaRPr lang="en-US"/>
        </a:p>
      </dgm:t>
    </dgm:pt>
    <dgm:pt modelId="{5CC86501-D53A-48BA-B11D-8B7FB97268F8}" type="sibTrans" cxnId="{E3CF159B-3F96-4541-8180-D77E9C7BB558}">
      <dgm:prSet/>
      <dgm:spPr/>
      <dgm:t>
        <a:bodyPr/>
        <a:lstStyle/>
        <a:p>
          <a:endParaRPr lang="en-US"/>
        </a:p>
      </dgm:t>
    </dgm:pt>
    <dgm:pt modelId="{EF6855B2-DCA8-41C4-BF37-E82A30F1949C}">
      <dgm:prSet/>
      <dgm:spPr/>
      <dgm:t>
        <a:bodyPr/>
        <a:lstStyle/>
        <a:p>
          <a:r>
            <a:rPr lang="en-GB"/>
            <a:t>High Skew with balanced execution can be a result of NULL / Default values in HASH column</a:t>
          </a:r>
          <a:endParaRPr lang="en-US"/>
        </a:p>
      </dgm:t>
    </dgm:pt>
    <dgm:pt modelId="{20CC148D-B4FD-4559-BBF1-CBEF6FD58446}" type="parTrans" cxnId="{43180E8F-03E3-4C45-90FB-6B85DB1A52DB}">
      <dgm:prSet/>
      <dgm:spPr/>
      <dgm:t>
        <a:bodyPr/>
        <a:lstStyle/>
        <a:p>
          <a:endParaRPr lang="en-US"/>
        </a:p>
      </dgm:t>
    </dgm:pt>
    <dgm:pt modelId="{0CBF070A-2CC1-42BC-8AC7-6833AFF55DCD}" type="sibTrans" cxnId="{43180E8F-03E3-4C45-90FB-6B85DB1A52DB}">
      <dgm:prSet/>
      <dgm:spPr/>
      <dgm:t>
        <a:bodyPr/>
        <a:lstStyle/>
        <a:p>
          <a:endParaRPr lang="en-US"/>
        </a:p>
      </dgm:t>
    </dgm:pt>
    <dgm:pt modelId="{3F54CD3F-0713-4923-AD9D-812F530F9E56}">
      <dgm:prSet custT="1"/>
      <dgm:spPr/>
      <dgm:t>
        <a:bodyPr/>
        <a:lstStyle/>
        <a:p>
          <a:r>
            <a:rPr lang="en-GB" sz="2400" dirty="0"/>
            <a:t>WHERE on HASH Key is likely to cause unbalanced execution</a:t>
          </a:r>
          <a:endParaRPr lang="en-US" sz="2400" dirty="0"/>
        </a:p>
      </dgm:t>
    </dgm:pt>
    <dgm:pt modelId="{F472DF49-C092-4199-B2E4-6144D80656B6}" type="parTrans" cxnId="{233A13B7-6C48-4BFC-85A8-68BC82887A9B}">
      <dgm:prSet/>
      <dgm:spPr/>
      <dgm:t>
        <a:bodyPr/>
        <a:lstStyle/>
        <a:p>
          <a:endParaRPr lang="en-US"/>
        </a:p>
      </dgm:t>
    </dgm:pt>
    <dgm:pt modelId="{B3364A1E-CBC1-4D48-A529-8018C3F7641B}" type="sibTrans" cxnId="{233A13B7-6C48-4BFC-85A8-68BC82887A9B}">
      <dgm:prSet/>
      <dgm:spPr/>
      <dgm:t>
        <a:bodyPr/>
        <a:lstStyle/>
        <a:p>
          <a:endParaRPr lang="en-US"/>
        </a:p>
      </dgm:t>
    </dgm:pt>
    <dgm:pt modelId="{08D217F6-6734-4DBC-A866-83A44BDF814C}">
      <dgm:prSet/>
      <dgm:spPr/>
      <dgm:t>
        <a:bodyPr/>
        <a:lstStyle/>
        <a:p>
          <a:r>
            <a:rPr lang="en-GB"/>
            <a:t>Data is returned from single or limited distributions</a:t>
          </a:r>
          <a:endParaRPr lang="en-US"/>
        </a:p>
      </dgm:t>
    </dgm:pt>
    <dgm:pt modelId="{EC18B3A2-61A4-4E66-97A8-AFEB1ECDE999}" type="parTrans" cxnId="{6D70066D-AAB9-4B22-9408-B878A37ECD19}">
      <dgm:prSet/>
      <dgm:spPr/>
      <dgm:t>
        <a:bodyPr/>
        <a:lstStyle/>
        <a:p>
          <a:endParaRPr lang="en-US"/>
        </a:p>
      </dgm:t>
    </dgm:pt>
    <dgm:pt modelId="{64FC1B04-BE9A-4B53-A659-89E805A29753}" type="sibTrans" cxnId="{6D70066D-AAB9-4B22-9408-B878A37ECD19}">
      <dgm:prSet/>
      <dgm:spPr/>
      <dgm:t>
        <a:bodyPr/>
        <a:lstStyle/>
        <a:p>
          <a:endParaRPr lang="en-US"/>
        </a:p>
      </dgm:t>
    </dgm:pt>
    <dgm:pt modelId="{BAE5137B-4A75-449B-B324-D9A53D850F17}">
      <dgm:prSet custT="1"/>
      <dgm:spPr/>
      <dgm:t>
        <a:bodyPr/>
        <a:lstStyle/>
        <a:p>
          <a:r>
            <a:rPr lang="en-GB" sz="2400" dirty="0"/>
            <a:t>SKEW can be re-introduced by Data Movement at execution time</a:t>
          </a:r>
          <a:endParaRPr lang="en-US" sz="2400" dirty="0"/>
        </a:p>
      </dgm:t>
    </dgm:pt>
    <dgm:pt modelId="{EE415B8F-11D6-490C-BBCC-2E4B5E76DA7D}" type="parTrans" cxnId="{D971CE95-9AA4-4E79-99DF-32D3C5CA24AF}">
      <dgm:prSet/>
      <dgm:spPr/>
      <dgm:t>
        <a:bodyPr/>
        <a:lstStyle/>
        <a:p>
          <a:endParaRPr lang="en-US"/>
        </a:p>
      </dgm:t>
    </dgm:pt>
    <dgm:pt modelId="{0C86A72F-9D0E-4E45-B91D-48EACF16EBB0}" type="sibTrans" cxnId="{D971CE95-9AA4-4E79-99DF-32D3C5CA24AF}">
      <dgm:prSet/>
      <dgm:spPr/>
      <dgm:t>
        <a:bodyPr/>
        <a:lstStyle/>
        <a:p>
          <a:endParaRPr lang="en-US"/>
        </a:p>
      </dgm:t>
    </dgm:pt>
    <dgm:pt modelId="{55EC6961-B836-4422-AA70-C8A6D7DE5B68}">
      <dgm:prSet/>
      <dgm:spPr/>
      <dgm:t>
        <a:bodyPr/>
        <a:lstStyle/>
        <a:p>
          <a:r>
            <a:rPr lang="en-GB"/>
            <a:t>Potentially causing unbalanced execution</a:t>
          </a:r>
          <a:endParaRPr lang="en-US"/>
        </a:p>
      </dgm:t>
    </dgm:pt>
    <dgm:pt modelId="{555871CC-1BB7-4827-85BD-DFF93A9250F0}" type="parTrans" cxnId="{A69659E6-589A-49BC-86A1-48C476368CA2}">
      <dgm:prSet/>
      <dgm:spPr/>
      <dgm:t>
        <a:bodyPr/>
        <a:lstStyle/>
        <a:p>
          <a:endParaRPr lang="en-US"/>
        </a:p>
      </dgm:t>
    </dgm:pt>
    <dgm:pt modelId="{7A065D94-2E78-4D18-9F52-CA9BAA9E8CBF}" type="sibTrans" cxnId="{A69659E6-589A-49BC-86A1-48C476368CA2}">
      <dgm:prSet/>
      <dgm:spPr/>
      <dgm:t>
        <a:bodyPr/>
        <a:lstStyle/>
        <a:p>
          <a:endParaRPr lang="en-US"/>
        </a:p>
      </dgm:t>
    </dgm:pt>
    <dgm:pt modelId="{14CB1467-12F1-48AE-955D-90690D177167}">
      <dgm:prSet/>
      <dgm:spPr/>
      <dgm:t>
        <a:bodyPr/>
        <a:lstStyle/>
        <a:p>
          <a:r>
            <a:rPr lang="en-GB"/>
            <a:t>Check DMVs for rowcounts from each distribution on each step to investigate</a:t>
          </a:r>
          <a:endParaRPr lang="en-US"/>
        </a:p>
      </dgm:t>
    </dgm:pt>
    <dgm:pt modelId="{A3418603-212D-44F8-A49E-E93171B5DA66}" type="parTrans" cxnId="{ED5C3770-9B97-4D1B-82D4-085124F341AF}">
      <dgm:prSet/>
      <dgm:spPr/>
      <dgm:t>
        <a:bodyPr/>
        <a:lstStyle/>
        <a:p>
          <a:endParaRPr lang="en-US"/>
        </a:p>
      </dgm:t>
    </dgm:pt>
    <dgm:pt modelId="{1083CEBD-F8BF-4121-B841-64C66CB4E1DE}" type="sibTrans" cxnId="{ED5C3770-9B97-4D1B-82D4-085124F341AF}">
      <dgm:prSet/>
      <dgm:spPr/>
      <dgm:t>
        <a:bodyPr/>
        <a:lstStyle/>
        <a:p>
          <a:endParaRPr lang="en-US"/>
        </a:p>
      </dgm:t>
    </dgm:pt>
    <dgm:pt modelId="{BD43C2B3-33CE-45AC-BA29-A4BABFAB6DF3}" type="pres">
      <dgm:prSet presAssocID="{F3575CF2-DE4B-40D3-86B2-96DC709FBEAF}" presName="linear" presStyleCnt="0">
        <dgm:presLayoutVars>
          <dgm:dir/>
          <dgm:animLvl val="lvl"/>
          <dgm:resizeHandles val="exact"/>
        </dgm:presLayoutVars>
      </dgm:prSet>
      <dgm:spPr/>
    </dgm:pt>
    <dgm:pt modelId="{36FA11FA-DBB3-4B87-97EB-6C71CC5693D3}" type="pres">
      <dgm:prSet presAssocID="{D9131076-907D-4907-B43A-C5DADC686795}" presName="parentLin" presStyleCnt="0"/>
      <dgm:spPr/>
    </dgm:pt>
    <dgm:pt modelId="{3C72F129-5E0D-4D87-A5DE-45EB3EAB1864}" type="pres">
      <dgm:prSet presAssocID="{D9131076-907D-4907-B43A-C5DADC686795}" presName="parentLeftMargin" presStyleLbl="node1" presStyleIdx="0" presStyleCnt="4"/>
      <dgm:spPr/>
    </dgm:pt>
    <dgm:pt modelId="{DF7EDB4A-EBC3-4E52-937B-DE72FE726970}" type="pres">
      <dgm:prSet presAssocID="{D9131076-907D-4907-B43A-C5DADC686795}" presName="parentText" presStyleLbl="node1" presStyleIdx="0" presStyleCnt="4" custScaleX="116296">
        <dgm:presLayoutVars>
          <dgm:chMax val="0"/>
          <dgm:bulletEnabled val="1"/>
        </dgm:presLayoutVars>
      </dgm:prSet>
      <dgm:spPr/>
    </dgm:pt>
    <dgm:pt modelId="{34477535-7287-4FE2-BA69-875D66B667E6}" type="pres">
      <dgm:prSet presAssocID="{D9131076-907D-4907-B43A-C5DADC686795}" presName="negativeSpace" presStyleCnt="0"/>
      <dgm:spPr/>
    </dgm:pt>
    <dgm:pt modelId="{967DF839-9CD8-4677-84E7-7C11BED60A87}" type="pres">
      <dgm:prSet presAssocID="{D9131076-907D-4907-B43A-C5DADC686795}" presName="childText" presStyleLbl="conFgAcc1" presStyleIdx="0" presStyleCnt="4">
        <dgm:presLayoutVars>
          <dgm:bulletEnabled val="1"/>
        </dgm:presLayoutVars>
      </dgm:prSet>
      <dgm:spPr/>
    </dgm:pt>
    <dgm:pt modelId="{4DC804B7-A2FF-4582-B130-9B7140FB30CE}" type="pres">
      <dgm:prSet presAssocID="{1214818B-86DF-451E-8236-6F2E8A8409F4}" presName="spaceBetweenRectangles" presStyleCnt="0"/>
      <dgm:spPr/>
    </dgm:pt>
    <dgm:pt modelId="{9520D49E-3FDD-4C9E-90BC-8C467582A4FE}" type="pres">
      <dgm:prSet presAssocID="{221905D4-0BDE-42AB-81A0-4127DEF648A7}" presName="parentLin" presStyleCnt="0"/>
      <dgm:spPr/>
    </dgm:pt>
    <dgm:pt modelId="{036D10D0-A18F-4468-BBA8-19CA2A1C6644}" type="pres">
      <dgm:prSet presAssocID="{221905D4-0BDE-42AB-81A0-4127DEF648A7}" presName="parentLeftMargin" presStyleLbl="node1" presStyleIdx="0" presStyleCnt="4"/>
      <dgm:spPr/>
    </dgm:pt>
    <dgm:pt modelId="{0E6F3D24-B913-45BF-BD4D-A942002DC0E0}" type="pres">
      <dgm:prSet presAssocID="{221905D4-0BDE-42AB-81A0-4127DEF648A7}" presName="parentText" presStyleLbl="node1" presStyleIdx="1" presStyleCnt="4" custScaleX="116573">
        <dgm:presLayoutVars>
          <dgm:chMax val="0"/>
          <dgm:bulletEnabled val="1"/>
        </dgm:presLayoutVars>
      </dgm:prSet>
      <dgm:spPr/>
    </dgm:pt>
    <dgm:pt modelId="{2AE3F5DA-F6AB-47C2-9177-FBC903D9655D}" type="pres">
      <dgm:prSet presAssocID="{221905D4-0BDE-42AB-81A0-4127DEF648A7}" presName="negativeSpace" presStyleCnt="0"/>
      <dgm:spPr/>
    </dgm:pt>
    <dgm:pt modelId="{81FD64A5-45EF-4460-BC4D-85DDD5C5B851}" type="pres">
      <dgm:prSet presAssocID="{221905D4-0BDE-42AB-81A0-4127DEF648A7}" presName="childText" presStyleLbl="conFgAcc1" presStyleIdx="1" presStyleCnt="4">
        <dgm:presLayoutVars>
          <dgm:bulletEnabled val="1"/>
        </dgm:presLayoutVars>
      </dgm:prSet>
      <dgm:spPr/>
    </dgm:pt>
    <dgm:pt modelId="{B3847206-90AF-4740-9715-ACFD517C5F72}" type="pres">
      <dgm:prSet presAssocID="{A95DDB1B-C4F7-4D9E-8472-52D3CDCE1D03}" presName="spaceBetweenRectangles" presStyleCnt="0"/>
      <dgm:spPr/>
    </dgm:pt>
    <dgm:pt modelId="{1DA56320-A8FF-4CCD-838F-99633B07B6C2}" type="pres">
      <dgm:prSet presAssocID="{3F54CD3F-0713-4923-AD9D-812F530F9E56}" presName="parentLin" presStyleCnt="0"/>
      <dgm:spPr/>
    </dgm:pt>
    <dgm:pt modelId="{7EBB874E-66FE-4AEE-8F62-E20B70E1E1AF}" type="pres">
      <dgm:prSet presAssocID="{3F54CD3F-0713-4923-AD9D-812F530F9E56}" presName="parentLeftMargin" presStyleLbl="node1" presStyleIdx="1" presStyleCnt="4"/>
      <dgm:spPr/>
    </dgm:pt>
    <dgm:pt modelId="{A9003BB0-6861-4059-8744-6D0AE91E64DC}" type="pres">
      <dgm:prSet presAssocID="{3F54CD3F-0713-4923-AD9D-812F530F9E56}" presName="parentText" presStyleLbl="node1" presStyleIdx="2" presStyleCnt="4" custScaleX="117250">
        <dgm:presLayoutVars>
          <dgm:chMax val="0"/>
          <dgm:bulletEnabled val="1"/>
        </dgm:presLayoutVars>
      </dgm:prSet>
      <dgm:spPr/>
    </dgm:pt>
    <dgm:pt modelId="{4E68CA78-105F-4F8D-836C-7D0394A70F38}" type="pres">
      <dgm:prSet presAssocID="{3F54CD3F-0713-4923-AD9D-812F530F9E56}" presName="negativeSpace" presStyleCnt="0"/>
      <dgm:spPr/>
    </dgm:pt>
    <dgm:pt modelId="{E77E21CB-624D-449C-AAF6-3C7BB786DBC2}" type="pres">
      <dgm:prSet presAssocID="{3F54CD3F-0713-4923-AD9D-812F530F9E56}" presName="childText" presStyleLbl="conFgAcc1" presStyleIdx="2" presStyleCnt="4">
        <dgm:presLayoutVars>
          <dgm:bulletEnabled val="1"/>
        </dgm:presLayoutVars>
      </dgm:prSet>
      <dgm:spPr/>
    </dgm:pt>
    <dgm:pt modelId="{34ABA9F8-8324-4DB0-86BF-3F4AA7031BE8}" type="pres">
      <dgm:prSet presAssocID="{B3364A1E-CBC1-4D48-A529-8018C3F7641B}" presName="spaceBetweenRectangles" presStyleCnt="0"/>
      <dgm:spPr/>
    </dgm:pt>
    <dgm:pt modelId="{3ECAB6F5-2DC3-4126-8023-24DE19A80453}" type="pres">
      <dgm:prSet presAssocID="{BAE5137B-4A75-449B-B324-D9A53D850F17}" presName="parentLin" presStyleCnt="0"/>
      <dgm:spPr/>
    </dgm:pt>
    <dgm:pt modelId="{1621042F-6E8A-4F20-A424-00A4EBA975F5}" type="pres">
      <dgm:prSet presAssocID="{BAE5137B-4A75-449B-B324-D9A53D850F17}" presName="parentLeftMargin" presStyleLbl="node1" presStyleIdx="2" presStyleCnt="4"/>
      <dgm:spPr/>
    </dgm:pt>
    <dgm:pt modelId="{A306BC2A-AF6F-4D8C-90EB-6CC48621B427}" type="pres">
      <dgm:prSet presAssocID="{BAE5137B-4A75-449B-B324-D9A53D850F17}" presName="parentText" presStyleLbl="node1" presStyleIdx="3" presStyleCnt="4" custScaleX="116972">
        <dgm:presLayoutVars>
          <dgm:chMax val="0"/>
          <dgm:bulletEnabled val="1"/>
        </dgm:presLayoutVars>
      </dgm:prSet>
      <dgm:spPr/>
    </dgm:pt>
    <dgm:pt modelId="{EA097FAB-2EDC-4BC7-906D-38E0497874BD}" type="pres">
      <dgm:prSet presAssocID="{BAE5137B-4A75-449B-B324-D9A53D850F17}" presName="negativeSpace" presStyleCnt="0"/>
      <dgm:spPr/>
    </dgm:pt>
    <dgm:pt modelId="{89CA404B-0023-479F-848E-C175A02F6797}" type="pres">
      <dgm:prSet presAssocID="{BAE5137B-4A75-449B-B324-D9A53D850F17}" presName="childText" presStyleLbl="conFgAcc1" presStyleIdx="3" presStyleCnt="4">
        <dgm:presLayoutVars>
          <dgm:bulletEnabled val="1"/>
        </dgm:presLayoutVars>
      </dgm:prSet>
      <dgm:spPr/>
    </dgm:pt>
  </dgm:ptLst>
  <dgm:cxnLst>
    <dgm:cxn modelId="{8DC74216-D662-47FF-BF2B-99D1C4FA9126}" type="presOf" srcId="{BAE5137B-4A75-449B-B324-D9A53D850F17}" destId="{1621042F-6E8A-4F20-A424-00A4EBA975F5}" srcOrd="0" destOrd="0" presId="urn:microsoft.com/office/officeart/2005/8/layout/list1"/>
    <dgm:cxn modelId="{EA249B23-9742-4305-A11C-59111592AF1D}" type="presOf" srcId="{55EC6961-B836-4422-AA70-C8A6D7DE5B68}" destId="{89CA404B-0023-479F-848E-C175A02F6797}" srcOrd="0" destOrd="0" presId="urn:microsoft.com/office/officeart/2005/8/layout/list1"/>
    <dgm:cxn modelId="{F901895C-B07F-4E78-8C57-1F33E2656D52}" type="presOf" srcId="{08D217F6-6734-4DBC-A866-83A44BDF814C}" destId="{E77E21CB-624D-449C-AAF6-3C7BB786DBC2}" srcOrd="0" destOrd="0" presId="urn:microsoft.com/office/officeart/2005/8/layout/list1"/>
    <dgm:cxn modelId="{911AAD5D-DFDC-4278-B618-38ADBA1D466B}" type="presOf" srcId="{2DD44079-558A-421F-8654-B65A2A010F33}" destId="{967DF839-9CD8-4677-84E7-7C11BED60A87}" srcOrd="0" destOrd="0" presId="urn:microsoft.com/office/officeart/2005/8/layout/list1"/>
    <dgm:cxn modelId="{CD6A3561-0097-444E-B3F6-565840E6270B}" type="presOf" srcId="{D9131076-907D-4907-B43A-C5DADC686795}" destId="{DF7EDB4A-EBC3-4E52-937B-DE72FE726970}" srcOrd="1" destOrd="0" presId="urn:microsoft.com/office/officeart/2005/8/layout/list1"/>
    <dgm:cxn modelId="{6D70066D-AAB9-4B22-9408-B878A37ECD19}" srcId="{3F54CD3F-0713-4923-AD9D-812F530F9E56}" destId="{08D217F6-6734-4DBC-A866-83A44BDF814C}" srcOrd="0" destOrd="0" parTransId="{EC18B3A2-61A4-4E66-97A8-AFEB1ECDE999}" sibTransId="{64FC1B04-BE9A-4B53-A659-89E805A29753}"/>
    <dgm:cxn modelId="{ED5C3770-9B97-4D1B-82D4-085124F341AF}" srcId="{BAE5137B-4A75-449B-B324-D9A53D850F17}" destId="{14CB1467-12F1-48AE-955D-90690D177167}" srcOrd="1" destOrd="0" parTransId="{A3418603-212D-44F8-A49E-E93171B5DA66}" sibTransId="{1083CEBD-F8BF-4121-B841-64C66CB4E1DE}"/>
    <dgm:cxn modelId="{B02A5C50-4AF8-4675-ADDB-7ED8E88E4B72}" type="presOf" srcId="{BAE5137B-4A75-449B-B324-D9A53D850F17}" destId="{A306BC2A-AF6F-4D8C-90EB-6CC48621B427}" srcOrd="1" destOrd="0" presId="urn:microsoft.com/office/officeart/2005/8/layout/list1"/>
    <dgm:cxn modelId="{36C5DA55-2F05-47D1-B133-2BA05B0FBAA4}" type="presOf" srcId="{3F54CD3F-0713-4923-AD9D-812F530F9E56}" destId="{7EBB874E-66FE-4AEE-8F62-E20B70E1E1AF}" srcOrd="0" destOrd="0" presId="urn:microsoft.com/office/officeart/2005/8/layout/list1"/>
    <dgm:cxn modelId="{80CFB356-4544-489C-A38F-B0F31A8B8E94}" type="presOf" srcId="{221905D4-0BDE-42AB-81A0-4127DEF648A7}" destId="{036D10D0-A18F-4468-BBA8-19CA2A1C6644}" srcOrd="0" destOrd="0" presId="urn:microsoft.com/office/officeart/2005/8/layout/list1"/>
    <dgm:cxn modelId="{48DF227A-72BA-4B04-807A-090818DAA46D}" type="presOf" srcId="{3F54CD3F-0713-4923-AD9D-812F530F9E56}" destId="{A9003BB0-6861-4059-8744-6D0AE91E64DC}" srcOrd="1" destOrd="0" presId="urn:microsoft.com/office/officeart/2005/8/layout/list1"/>
    <dgm:cxn modelId="{2837387E-0333-4D8C-A2DD-552FA06922FD}" srcId="{F3575CF2-DE4B-40D3-86B2-96DC709FBEAF}" destId="{221905D4-0BDE-42AB-81A0-4127DEF648A7}" srcOrd="1" destOrd="0" parTransId="{01F6D0BD-FA87-4160-9D5F-5D3082EF7BA8}" sibTransId="{A95DDB1B-C4F7-4D9E-8472-52D3CDCE1D03}"/>
    <dgm:cxn modelId="{AC3E108B-35A3-4057-828C-4352B9F9261C}" type="presOf" srcId="{F3575CF2-DE4B-40D3-86B2-96DC709FBEAF}" destId="{BD43C2B3-33CE-45AC-BA29-A4BABFAB6DF3}" srcOrd="0" destOrd="0" presId="urn:microsoft.com/office/officeart/2005/8/layout/list1"/>
    <dgm:cxn modelId="{A51A4C8B-00E3-4438-ACE3-E0A9C4381F0E}" srcId="{D9131076-907D-4907-B43A-C5DADC686795}" destId="{2DD44079-558A-421F-8654-B65A2A010F33}" srcOrd="0" destOrd="0" parTransId="{8DAD16B5-6859-4F15-B58F-27C9B5549261}" sibTransId="{BB92902F-3C87-4F2D-8E29-40E0DB6041B5}"/>
    <dgm:cxn modelId="{43180E8F-03E3-4C45-90FB-6B85DB1A52DB}" srcId="{221905D4-0BDE-42AB-81A0-4127DEF648A7}" destId="{EF6855B2-DCA8-41C4-BF37-E82A30F1949C}" srcOrd="1" destOrd="0" parTransId="{20CC148D-B4FD-4559-BBF1-CBEF6FD58446}" sibTransId="{0CBF070A-2CC1-42BC-8AC7-6833AFF55DCD}"/>
    <dgm:cxn modelId="{FE465D91-2E90-4890-897B-D3C2AF6CBEDD}" type="presOf" srcId="{A643F284-5C4C-4D06-8209-14F94F3C0660}" destId="{81FD64A5-45EF-4460-BC4D-85DDD5C5B851}" srcOrd="0" destOrd="0" presId="urn:microsoft.com/office/officeart/2005/8/layout/list1"/>
    <dgm:cxn modelId="{D971CE95-9AA4-4E79-99DF-32D3C5CA24AF}" srcId="{F3575CF2-DE4B-40D3-86B2-96DC709FBEAF}" destId="{BAE5137B-4A75-449B-B324-D9A53D850F17}" srcOrd="3" destOrd="0" parTransId="{EE415B8F-11D6-490C-BBCC-2E4B5E76DA7D}" sibTransId="{0C86A72F-9D0E-4E45-B91D-48EACF16EBB0}"/>
    <dgm:cxn modelId="{E3CF159B-3F96-4541-8180-D77E9C7BB558}" srcId="{221905D4-0BDE-42AB-81A0-4127DEF648A7}" destId="{A643F284-5C4C-4D06-8209-14F94F3C0660}" srcOrd="0" destOrd="0" parTransId="{5FDA32B0-5FD9-4A66-8068-25BC0815E0CD}" sibTransId="{5CC86501-D53A-48BA-B11D-8B7FB97268F8}"/>
    <dgm:cxn modelId="{BA625DA0-3FBF-48C0-BAAE-689CFFE61A9A}" type="presOf" srcId="{D9131076-907D-4907-B43A-C5DADC686795}" destId="{3C72F129-5E0D-4D87-A5DE-45EB3EAB1864}" srcOrd="0" destOrd="0" presId="urn:microsoft.com/office/officeart/2005/8/layout/list1"/>
    <dgm:cxn modelId="{233A13B7-6C48-4BFC-85A8-68BC82887A9B}" srcId="{F3575CF2-DE4B-40D3-86B2-96DC709FBEAF}" destId="{3F54CD3F-0713-4923-AD9D-812F530F9E56}" srcOrd="2" destOrd="0" parTransId="{F472DF49-C092-4199-B2E4-6144D80656B6}" sibTransId="{B3364A1E-CBC1-4D48-A529-8018C3F7641B}"/>
    <dgm:cxn modelId="{8D17FAB8-A4BF-43CE-80A1-E042987B61F4}" srcId="{F3575CF2-DE4B-40D3-86B2-96DC709FBEAF}" destId="{D9131076-907D-4907-B43A-C5DADC686795}" srcOrd="0" destOrd="0" parTransId="{88112A08-8962-4A4F-88EA-3A30050E946A}" sibTransId="{1214818B-86DF-451E-8236-6F2E8A8409F4}"/>
    <dgm:cxn modelId="{B49127BD-5912-4D9C-9D6B-EE860C747C22}" type="presOf" srcId="{14CB1467-12F1-48AE-955D-90690D177167}" destId="{89CA404B-0023-479F-848E-C175A02F6797}" srcOrd="0" destOrd="1" presId="urn:microsoft.com/office/officeart/2005/8/layout/list1"/>
    <dgm:cxn modelId="{591638C0-BA1D-4C69-8980-650C8B86C755}" type="presOf" srcId="{221905D4-0BDE-42AB-81A0-4127DEF648A7}" destId="{0E6F3D24-B913-45BF-BD4D-A942002DC0E0}" srcOrd="1" destOrd="0" presId="urn:microsoft.com/office/officeart/2005/8/layout/list1"/>
    <dgm:cxn modelId="{3F84BFE1-8B3A-406E-BDAD-F053902D234B}" type="presOf" srcId="{EF6855B2-DCA8-41C4-BF37-E82A30F1949C}" destId="{81FD64A5-45EF-4460-BC4D-85DDD5C5B851}" srcOrd="0" destOrd="1" presId="urn:microsoft.com/office/officeart/2005/8/layout/list1"/>
    <dgm:cxn modelId="{A69659E6-589A-49BC-86A1-48C476368CA2}" srcId="{BAE5137B-4A75-449B-B324-D9A53D850F17}" destId="{55EC6961-B836-4422-AA70-C8A6D7DE5B68}" srcOrd="0" destOrd="0" parTransId="{555871CC-1BB7-4827-85BD-DFF93A9250F0}" sibTransId="{7A065D94-2E78-4D18-9F52-CA9BAA9E8CBF}"/>
    <dgm:cxn modelId="{92A37D92-D977-443D-AF78-FA454EC0D95E}" type="presParOf" srcId="{BD43C2B3-33CE-45AC-BA29-A4BABFAB6DF3}" destId="{36FA11FA-DBB3-4B87-97EB-6C71CC5693D3}" srcOrd="0" destOrd="0" presId="urn:microsoft.com/office/officeart/2005/8/layout/list1"/>
    <dgm:cxn modelId="{FE52D44E-AC06-4525-AAAF-B5DC90CF2549}" type="presParOf" srcId="{36FA11FA-DBB3-4B87-97EB-6C71CC5693D3}" destId="{3C72F129-5E0D-4D87-A5DE-45EB3EAB1864}" srcOrd="0" destOrd="0" presId="urn:microsoft.com/office/officeart/2005/8/layout/list1"/>
    <dgm:cxn modelId="{465509A9-0362-4709-99B7-334C0F1FE78A}" type="presParOf" srcId="{36FA11FA-DBB3-4B87-97EB-6C71CC5693D3}" destId="{DF7EDB4A-EBC3-4E52-937B-DE72FE726970}" srcOrd="1" destOrd="0" presId="urn:microsoft.com/office/officeart/2005/8/layout/list1"/>
    <dgm:cxn modelId="{E824C956-D00D-4F7C-B767-1D7E262413D1}" type="presParOf" srcId="{BD43C2B3-33CE-45AC-BA29-A4BABFAB6DF3}" destId="{34477535-7287-4FE2-BA69-875D66B667E6}" srcOrd="1" destOrd="0" presId="urn:microsoft.com/office/officeart/2005/8/layout/list1"/>
    <dgm:cxn modelId="{D03DF804-BDDE-43C4-A0D4-11C9213E7CE5}" type="presParOf" srcId="{BD43C2B3-33CE-45AC-BA29-A4BABFAB6DF3}" destId="{967DF839-9CD8-4677-84E7-7C11BED60A87}" srcOrd="2" destOrd="0" presId="urn:microsoft.com/office/officeart/2005/8/layout/list1"/>
    <dgm:cxn modelId="{DC8711BE-FDA3-464C-AD56-102F7AAAB9D4}" type="presParOf" srcId="{BD43C2B3-33CE-45AC-BA29-A4BABFAB6DF3}" destId="{4DC804B7-A2FF-4582-B130-9B7140FB30CE}" srcOrd="3" destOrd="0" presId="urn:microsoft.com/office/officeart/2005/8/layout/list1"/>
    <dgm:cxn modelId="{D2FDB99C-5BA8-422B-A6B6-038FFA817304}" type="presParOf" srcId="{BD43C2B3-33CE-45AC-BA29-A4BABFAB6DF3}" destId="{9520D49E-3FDD-4C9E-90BC-8C467582A4FE}" srcOrd="4" destOrd="0" presId="urn:microsoft.com/office/officeart/2005/8/layout/list1"/>
    <dgm:cxn modelId="{2CA8CFD2-13A8-42AE-B6F3-D1FC69D7294F}" type="presParOf" srcId="{9520D49E-3FDD-4C9E-90BC-8C467582A4FE}" destId="{036D10D0-A18F-4468-BBA8-19CA2A1C6644}" srcOrd="0" destOrd="0" presId="urn:microsoft.com/office/officeart/2005/8/layout/list1"/>
    <dgm:cxn modelId="{F2BA6979-DD68-4C3F-B4CF-CF1AC8AB0C4B}" type="presParOf" srcId="{9520D49E-3FDD-4C9E-90BC-8C467582A4FE}" destId="{0E6F3D24-B913-45BF-BD4D-A942002DC0E0}" srcOrd="1" destOrd="0" presId="urn:microsoft.com/office/officeart/2005/8/layout/list1"/>
    <dgm:cxn modelId="{19EE48D8-F7FC-48B5-9C5B-D2D771737DC9}" type="presParOf" srcId="{BD43C2B3-33CE-45AC-BA29-A4BABFAB6DF3}" destId="{2AE3F5DA-F6AB-47C2-9177-FBC903D9655D}" srcOrd="5" destOrd="0" presId="urn:microsoft.com/office/officeart/2005/8/layout/list1"/>
    <dgm:cxn modelId="{642C02FE-D8E2-4CAD-89FE-D449912D3759}" type="presParOf" srcId="{BD43C2B3-33CE-45AC-BA29-A4BABFAB6DF3}" destId="{81FD64A5-45EF-4460-BC4D-85DDD5C5B851}" srcOrd="6" destOrd="0" presId="urn:microsoft.com/office/officeart/2005/8/layout/list1"/>
    <dgm:cxn modelId="{48155F96-F30F-4022-9CBF-A67ADDC3E09B}" type="presParOf" srcId="{BD43C2B3-33CE-45AC-BA29-A4BABFAB6DF3}" destId="{B3847206-90AF-4740-9715-ACFD517C5F72}" srcOrd="7" destOrd="0" presId="urn:microsoft.com/office/officeart/2005/8/layout/list1"/>
    <dgm:cxn modelId="{111F289F-6773-4F92-80B3-EDC0EC9EFC86}" type="presParOf" srcId="{BD43C2B3-33CE-45AC-BA29-A4BABFAB6DF3}" destId="{1DA56320-A8FF-4CCD-838F-99633B07B6C2}" srcOrd="8" destOrd="0" presId="urn:microsoft.com/office/officeart/2005/8/layout/list1"/>
    <dgm:cxn modelId="{36778B74-075A-43FB-842D-28A9FBD486C4}" type="presParOf" srcId="{1DA56320-A8FF-4CCD-838F-99633B07B6C2}" destId="{7EBB874E-66FE-4AEE-8F62-E20B70E1E1AF}" srcOrd="0" destOrd="0" presId="urn:microsoft.com/office/officeart/2005/8/layout/list1"/>
    <dgm:cxn modelId="{030D1A48-B2EB-49DF-8867-5D2184BCB318}" type="presParOf" srcId="{1DA56320-A8FF-4CCD-838F-99633B07B6C2}" destId="{A9003BB0-6861-4059-8744-6D0AE91E64DC}" srcOrd="1" destOrd="0" presId="urn:microsoft.com/office/officeart/2005/8/layout/list1"/>
    <dgm:cxn modelId="{BA60574C-B381-4A0C-ABA0-66099E91FB5F}" type="presParOf" srcId="{BD43C2B3-33CE-45AC-BA29-A4BABFAB6DF3}" destId="{4E68CA78-105F-4F8D-836C-7D0394A70F38}" srcOrd="9" destOrd="0" presId="urn:microsoft.com/office/officeart/2005/8/layout/list1"/>
    <dgm:cxn modelId="{AD1B3919-0FFF-4175-9FCC-D3F3B37BD80D}" type="presParOf" srcId="{BD43C2B3-33CE-45AC-BA29-A4BABFAB6DF3}" destId="{E77E21CB-624D-449C-AAF6-3C7BB786DBC2}" srcOrd="10" destOrd="0" presId="urn:microsoft.com/office/officeart/2005/8/layout/list1"/>
    <dgm:cxn modelId="{F85C448D-560C-4DB1-8CE0-32805F977A89}" type="presParOf" srcId="{BD43C2B3-33CE-45AC-BA29-A4BABFAB6DF3}" destId="{34ABA9F8-8324-4DB0-86BF-3F4AA7031BE8}" srcOrd="11" destOrd="0" presId="urn:microsoft.com/office/officeart/2005/8/layout/list1"/>
    <dgm:cxn modelId="{F0CBF0F4-C686-41C4-95CE-71DF6396F966}" type="presParOf" srcId="{BD43C2B3-33CE-45AC-BA29-A4BABFAB6DF3}" destId="{3ECAB6F5-2DC3-4126-8023-24DE19A80453}" srcOrd="12" destOrd="0" presId="urn:microsoft.com/office/officeart/2005/8/layout/list1"/>
    <dgm:cxn modelId="{AA59DA9A-FB7D-4EF7-88FE-4E0AAF7998CC}" type="presParOf" srcId="{3ECAB6F5-2DC3-4126-8023-24DE19A80453}" destId="{1621042F-6E8A-4F20-A424-00A4EBA975F5}" srcOrd="0" destOrd="0" presId="urn:microsoft.com/office/officeart/2005/8/layout/list1"/>
    <dgm:cxn modelId="{10A24BEA-52AE-4291-9FBC-ABF995966BBE}" type="presParOf" srcId="{3ECAB6F5-2DC3-4126-8023-24DE19A80453}" destId="{A306BC2A-AF6F-4D8C-90EB-6CC48621B427}" srcOrd="1" destOrd="0" presId="urn:microsoft.com/office/officeart/2005/8/layout/list1"/>
    <dgm:cxn modelId="{B09E5ABA-FF57-4D8B-831A-92456CF7CF08}" type="presParOf" srcId="{BD43C2B3-33CE-45AC-BA29-A4BABFAB6DF3}" destId="{EA097FAB-2EDC-4BC7-906D-38E0497874BD}" srcOrd="13" destOrd="0" presId="urn:microsoft.com/office/officeart/2005/8/layout/list1"/>
    <dgm:cxn modelId="{1D0632BC-9970-464D-843D-9F97B111F559}" type="presParOf" srcId="{BD43C2B3-33CE-45AC-BA29-A4BABFAB6DF3}" destId="{89CA404B-0023-479F-848E-C175A02F6797}"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1CEA1EB-49F1-4330-8A57-3E17ECFF3AC6}"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9A4E09C4-8CF7-4C19-9FF9-07C812AC7EEB}">
      <dgm:prSet phldrT="[Text]" custT="1"/>
      <dgm:spPr/>
      <dgm:t>
        <a:bodyPr/>
        <a:lstStyle/>
        <a:p>
          <a:r>
            <a:rPr lang="en-GB" sz="2400" dirty="0"/>
            <a:t>Each table is divided evenly across 60 distributions</a:t>
          </a:r>
          <a:endParaRPr lang="es-ES" sz="2400" dirty="0"/>
        </a:p>
      </dgm:t>
    </dgm:pt>
    <dgm:pt modelId="{44A1CD8D-8628-41FE-A9FD-1841F646384C}" type="parTrans" cxnId="{03569936-40BD-455F-9A37-155C18B7AE9E}">
      <dgm:prSet/>
      <dgm:spPr/>
      <dgm:t>
        <a:bodyPr/>
        <a:lstStyle/>
        <a:p>
          <a:endParaRPr lang="es-ES"/>
        </a:p>
      </dgm:t>
    </dgm:pt>
    <dgm:pt modelId="{2854A904-782E-4F1C-9A91-E6C8201F1AB4}" type="sibTrans" cxnId="{03569936-40BD-455F-9A37-155C18B7AE9E}">
      <dgm:prSet/>
      <dgm:spPr/>
      <dgm:t>
        <a:bodyPr/>
        <a:lstStyle/>
        <a:p>
          <a:endParaRPr lang="es-ES"/>
        </a:p>
      </dgm:t>
    </dgm:pt>
    <dgm:pt modelId="{97E971B1-4783-4FE4-BABA-82E6D4DC940A}">
      <dgm:prSet custT="1"/>
      <dgm:spPr/>
      <dgm:t>
        <a:bodyPr/>
        <a:lstStyle/>
        <a:p>
          <a:r>
            <a:rPr lang="en-GB" sz="2400" dirty="0"/>
            <a:t>Data distributed in round robin fashion across the distributions</a:t>
          </a:r>
        </a:p>
      </dgm:t>
    </dgm:pt>
    <dgm:pt modelId="{B3E67211-3074-418B-8544-6A9F3AB3740D}" type="parTrans" cxnId="{86419E07-431A-4314-B8D5-2555BD92D28F}">
      <dgm:prSet/>
      <dgm:spPr/>
      <dgm:t>
        <a:bodyPr/>
        <a:lstStyle/>
        <a:p>
          <a:endParaRPr lang="es-ES"/>
        </a:p>
      </dgm:t>
    </dgm:pt>
    <dgm:pt modelId="{89FE332C-F444-4121-9066-1443FBC57A1C}" type="sibTrans" cxnId="{86419E07-431A-4314-B8D5-2555BD92D28F}">
      <dgm:prSet/>
      <dgm:spPr/>
      <dgm:t>
        <a:bodyPr/>
        <a:lstStyle/>
        <a:p>
          <a:endParaRPr lang="es-ES"/>
        </a:p>
      </dgm:t>
    </dgm:pt>
    <dgm:pt modelId="{A2293D37-A9CE-4544-B9E7-2AECB85BA775}">
      <dgm:prSet custT="1"/>
      <dgm:spPr/>
      <dgm:t>
        <a:bodyPr/>
        <a:lstStyle/>
        <a:p>
          <a:r>
            <a:rPr lang="en-GB" sz="2400" dirty="0"/>
            <a:t>Each distribution holds unique data</a:t>
          </a:r>
        </a:p>
      </dgm:t>
    </dgm:pt>
    <dgm:pt modelId="{D429E4AA-2F7B-4140-80DC-994BD08437FA}" type="parTrans" cxnId="{4277CE79-9812-45A4-9CE3-BAC43DDB056A}">
      <dgm:prSet/>
      <dgm:spPr/>
      <dgm:t>
        <a:bodyPr/>
        <a:lstStyle/>
        <a:p>
          <a:endParaRPr lang="es-ES"/>
        </a:p>
      </dgm:t>
    </dgm:pt>
    <dgm:pt modelId="{C7446B48-CD43-434A-B19F-93CEA9CFDCCF}" type="sibTrans" cxnId="{4277CE79-9812-45A4-9CE3-BAC43DDB056A}">
      <dgm:prSet/>
      <dgm:spPr/>
      <dgm:t>
        <a:bodyPr/>
        <a:lstStyle/>
        <a:p>
          <a:endParaRPr lang="es-ES"/>
        </a:p>
      </dgm:t>
    </dgm:pt>
    <dgm:pt modelId="{ABF46E95-198D-473F-A270-7F97D2BC3677}">
      <dgm:prSet custT="1"/>
      <dgm:spPr/>
      <dgm:t>
        <a:bodyPr/>
        <a:lstStyle/>
        <a:p>
          <a:r>
            <a:rPr lang="en-GB" sz="2400" dirty="0"/>
            <a:t>Round robin tables can be partitioned – each distribution has its own partitioned table</a:t>
          </a:r>
        </a:p>
      </dgm:t>
    </dgm:pt>
    <dgm:pt modelId="{E417DC63-A0EA-4EF2-8423-A2686D6965F9}" type="parTrans" cxnId="{37317AF2-1AF1-488A-8043-C380F66DCDA3}">
      <dgm:prSet/>
      <dgm:spPr/>
      <dgm:t>
        <a:bodyPr/>
        <a:lstStyle/>
        <a:p>
          <a:endParaRPr lang="es-ES"/>
        </a:p>
      </dgm:t>
    </dgm:pt>
    <dgm:pt modelId="{F20E0D78-3148-4657-A4BA-C60CB3A92A9B}" type="sibTrans" cxnId="{37317AF2-1AF1-488A-8043-C380F66DCDA3}">
      <dgm:prSet/>
      <dgm:spPr/>
      <dgm:t>
        <a:bodyPr/>
        <a:lstStyle/>
        <a:p>
          <a:endParaRPr lang="es-ES"/>
        </a:p>
      </dgm:t>
    </dgm:pt>
    <dgm:pt modelId="{B3432FE0-3637-46CE-BE34-E7422F0F7D75}" type="pres">
      <dgm:prSet presAssocID="{51CEA1EB-49F1-4330-8A57-3E17ECFF3AC6}" presName="linear" presStyleCnt="0">
        <dgm:presLayoutVars>
          <dgm:animLvl val="lvl"/>
          <dgm:resizeHandles val="exact"/>
        </dgm:presLayoutVars>
      </dgm:prSet>
      <dgm:spPr/>
    </dgm:pt>
    <dgm:pt modelId="{E0CC9776-5DD1-4A86-96DC-E8D78CBEB894}" type="pres">
      <dgm:prSet presAssocID="{9A4E09C4-8CF7-4C19-9FF9-07C812AC7EEB}" presName="parentText" presStyleLbl="node1" presStyleIdx="0" presStyleCnt="4">
        <dgm:presLayoutVars>
          <dgm:chMax val="0"/>
          <dgm:bulletEnabled val="1"/>
        </dgm:presLayoutVars>
      </dgm:prSet>
      <dgm:spPr/>
    </dgm:pt>
    <dgm:pt modelId="{7F4BB650-2D39-42DE-BAA4-F3557946414F}" type="pres">
      <dgm:prSet presAssocID="{2854A904-782E-4F1C-9A91-E6C8201F1AB4}" presName="spacer" presStyleCnt="0"/>
      <dgm:spPr/>
    </dgm:pt>
    <dgm:pt modelId="{93CE6FEB-60A4-47CA-8BE5-80C14FEE7E6E}" type="pres">
      <dgm:prSet presAssocID="{97E971B1-4783-4FE4-BABA-82E6D4DC940A}" presName="parentText" presStyleLbl="node1" presStyleIdx="1" presStyleCnt="4">
        <dgm:presLayoutVars>
          <dgm:chMax val="0"/>
          <dgm:bulletEnabled val="1"/>
        </dgm:presLayoutVars>
      </dgm:prSet>
      <dgm:spPr/>
    </dgm:pt>
    <dgm:pt modelId="{C581A887-22C8-4F88-BBBE-54566D57EEFF}" type="pres">
      <dgm:prSet presAssocID="{89FE332C-F444-4121-9066-1443FBC57A1C}" presName="spacer" presStyleCnt="0"/>
      <dgm:spPr/>
    </dgm:pt>
    <dgm:pt modelId="{7007CED2-132A-47A5-8A97-2A9D79144FAC}" type="pres">
      <dgm:prSet presAssocID="{A2293D37-A9CE-4544-B9E7-2AECB85BA775}" presName="parentText" presStyleLbl="node1" presStyleIdx="2" presStyleCnt="4">
        <dgm:presLayoutVars>
          <dgm:chMax val="0"/>
          <dgm:bulletEnabled val="1"/>
        </dgm:presLayoutVars>
      </dgm:prSet>
      <dgm:spPr/>
    </dgm:pt>
    <dgm:pt modelId="{9CF7AF10-AB86-4F28-92DF-09FD46B11C7B}" type="pres">
      <dgm:prSet presAssocID="{C7446B48-CD43-434A-B19F-93CEA9CFDCCF}" presName="spacer" presStyleCnt="0"/>
      <dgm:spPr/>
    </dgm:pt>
    <dgm:pt modelId="{C2C7D9FB-695B-4805-8476-3064DC1FF396}" type="pres">
      <dgm:prSet presAssocID="{ABF46E95-198D-473F-A270-7F97D2BC3677}" presName="parentText" presStyleLbl="node1" presStyleIdx="3" presStyleCnt="4">
        <dgm:presLayoutVars>
          <dgm:chMax val="0"/>
          <dgm:bulletEnabled val="1"/>
        </dgm:presLayoutVars>
      </dgm:prSet>
      <dgm:spPr/>
    </dgm:pt>
  </dgm:ptLst>
  <dgm:cxnLst>
    <dgm:cxn modelId="{86419E07-431A-4314-B8D5-2555BD92D28F}" srcId="{51CEA1EB-49F1-4330-8A57-3E17ECFF3AC6}" destId="{97E971B1-4783-4FE4-BABA-82E6D4DC940A}" srcOrd="1" destOrd="0" parTransId="{B3E67211-3074-418B-8544-6A9F3AB3740D}" sibTransId="{89FE332C-F444-4121-9066-1443FBC57A1C}"/>
    <dgm:cxn modelId="{03569936-40BD-455F-9A37-155C18B7AE9E}" srcId="{51CEA1EB-49F1-4330-8A57-3E17ECFF3AC6}" destId="{9A4E09C4-8CF7-4C19-9FF9-07C812AC7EEB}" srcOrd="0" destOrd="0" parTransId="{44A1CD8D-8628-41FE-A9FD-1841F646384C}" sibTransId="{2854A904-782E-4F1C-9A91-E6C8201F1AB4}"/>
    <dgm:cxn modelId="{4277CE79-9812-45A4-9CE3-BAC43DDB056A}" srcId="{51CEA1EB-49F1-4330-8A57-3E17ECFF3AC6}" destId="{A2293D37-A9CE-4544-B9E7-2AECB85BA775}" srcOrd="2" destOrd="0" parTransId="{D429E4AA-2F7B-4140-80DC-994BD08437FA}" sibTransId="{C7446B48-CD43-434A-B19F-93CEA9CFDCCF}"/>
    <dgm:cxn modelId="{9C6EFB7D-0CDE-4AB8-8B3F-6505DDE31F3A}" type="presOf" srcId="{A2293D37-A9CE-4544-B9E7-2AECB85BA775}" destId="{7007CED2-132A-47A5-8A97-2A9D79144FAC}" srcOrd="0" destOrd="0" presId="urn:microsoft.com/office/officeart/2005/8/layout/vList2"/>
    <dgm:cxn modelId="{9DF4FF81-6E24-4498-B161-8AFD8F968BB9}" type="presOf" srcId="{ABF46E95-198D-473F-A270-7F97D2BC3677}" destId="{C2C7D9FB-695B-4805-8476-3064DC1FF396}" srcOrd="0" destOrd="0" presId="urn:microsoft.com/office/officeart/2005/8/layout/vList2"/>
    <dgm:cxn modelId="{A9D282A4-4CD5-4774-8F60-3ED2601B636C}" type="presOf" srcId="{9A4E09C4-8CF7-4C19-9FF9-07C812AC7EEB}" destId="{E0CC9776-5DD1-4A86-96DC-E8D78CBEB894}" srcOrd="0" destOrd="0" presId="urn:microsoft.com/office/officeart/2005/8/layout/vList2"/>
    <dgm:cxn modelId="{2B98F9D8-B0B8-499D-96FB-F9213AA88756}" type="presOf" srcId="{97E971B1-4783-4FE4-BABA-82E6D4DC940A}" destId="{93CE6FEB-60A4-47CA-8BE5-80C14FEE7E6E}" srcOrd="0" destOrd="0" presId="urn:microsoft.com/office/officeart/2005/8/layout/vList2"/>
    <dgm:cxn modelId="{37317AF2-1AF1-488A-8043-C380F66DCDA3}" srcId="{51CEA1EB-49F1-4330-8A57-3E17ECFF3AC6}" destId="{ABF46E95-198D-473F-A270-7F97D2BC3677}" srcOrd="3" destOrd="0" parTransId="{E417DC63-A0EA-4EF2-8423-A2686D6965F9}" sibTransId="{F20E0D78-3148-4657-A4BA-C60CB3A92A9B}"/>
    <dgm:cxn modelId="{7C63D2F7-F65F-4B7B-B2A4-DB0CF7E98194}" type="presOf" srcId="{51CEA1EB-49F1-4330-8A57-3E17ECFF3AC6}" destId="{B3432FE0-3637-46CE-BE34-E7422F0F7D75}" srcOrd="0" destOrd="0" presId="urn:microsoft.com/office/officeart/2005/8/layout/vList2"/>
    <dgm:cxn modelId="{C865B767-C0D2-4BA0-828F-D775C99ECBAD}" type="presParOf" srcId="{B3432FE0-3637-46CE-BE34-E7422F0F7D75}" destId="{E0CC9776-5DD1-4A86-96DC-E8D78CBEB894}" srcOrd="0" destOrd="0" presId="urn:microsoft.com/office/officeart/2005/8/layout/vList2"/>
    <dgm:cxn modelId="{B5523AD5-F2C7-46F5-9EF4-B955EAF664CE}" type="presParOf" srcId="{B3432FE0-3637-46CE-BE34-E7422F0F7D75}" destId="{7F4BB650-2D39-42DE-BAA4-F3557946414F}" srcOrd="1" destOrd="0" presId="urn:microsoft.com/office/officeart/2005/8/layout/vList2"/>
    <dgm:cxn modelId="{578D3257-F16A-40BF-A995-4B99CA05605F}" type="presParOf" srcId="{B3432FE0-3637-46CE-BE34-E7422F0F7D75}" destId="{93CE6FEB-60A4-47CA-8BE5-80C14FEE7E6E}" srcOrd="2" destOrd="0" presId="urn:microsoft.com/office/officeart/2005/8/layout/vList2"/>
    <dgm:cxn modelId="{41C7596E-A9DC-4401-BAFF-256E750C4375}" type="presParOf" srcId="{B3432FE0-3637-46CE-BE34-E7422F0F7D75}" destId="{C581A887-22C8-4F88-BBBE-54566D57EEFF}" srcOrd="3" destOrd="0" presId="urn:microsoft.com/office/officeart/2005/8/layout/vList2"/>
    <dgm:cxn modelId="{6034A038-3808-4883-BE34-F4A02A7CB4CC}" type="presParOf" srcId="{B3432FE0-3637-46CE-BE34-E7422F0F7D75}" destId="{7007CED2-132A-47A5-8A97-2A9D79144FAC}" srcOrd="4" destOrd="0" presId="urn:microsoft.com/office/officeart/2005/8/layout/vList2"/>
    <dgm:cxn modelId="{E3E51BA5-8680-4E0B-9DFE-CEECD723744C}" type="presParOf" srcId="{B3432FE0-3637-46CE-BE34-E7422F0F7D75}" destId="{9CF7AF10-AB86-4F28-92DF-09FD46B11C7B}" srcOrd="5" destOrd="0" presId="urn:microsoft.com/office/officeart/2005/8/layout/vList2"/>
    <dgm:cxn modelId="{FF5832E0-4818-4A97-8E7C-A08995C442E6}" type="presParOf" srcId="{B3432FE0-3637-46CE-BE34-E7422F0F7D75}" destId="{C2C7D9FB-695B-4805-8476-3064DC1FF396}"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4D3F0A2-62E5-4FD8-944E-9DB922A95E6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s-ES"/>
        </a:p>
      </dgm:t>
    </dgm:pt>
    <dgm:pt modelId="{E7F1D890-CF87-4B09-96FD-FFDEC0C5BB10}">
      <dgm:prSet phldrT="[Text]" custT="1"/>
      <dgm:spPr>
        <a:scene3d>
          <a:camera prst="orthographicFront"/>
          <a:lightRig rig="threePt" dir="t"/>
        </a:scene3d>
        <a:sp3d>
          <a:bevelT prst="angle"/>
        </a:sp3d>
      </dgm:spPr>
      <dgm:t>
        <a:bodyPr/>
        <a:lstStyle/>
        <a:p>
          <a:pPr>
            <a:buNone/>
          </a:pPr>
          <a:r>
            <a:rPr lang="en-GB" sz="3200" dirty="0"/>
            <a:t>Round-Robin will almost always incur in Data Movement.</a:t>
          </a:r>
          <a:endParaRPr lang="es-ES" sz="3200" dirty="0"/>
        </a:p>
      </dgm:t>
    </dgm:pt>
    <dgm:pt modelId="{23A7865F-8E13-4081-80DE-956B2361D0DD}" type="parTrans" cxnId="{AFB55F00-6AF6-4348-B6A1-905AD4DC455F}">
      <dgm:prSet/>
      <dgm:spPr/>
      <dgm:t>
        <a:bodyPr/>
        <a:lstStyle/>
        <a:p>
          <a:endParaRPr lang="es-ES"/>
        </a:p>
      </dgm:t>
    </dgm:pt>
    <dgm:pt modelId="{85525A7C-F6F8-4524-B9EE-871F08970072}" type="sibTrans" cxnId="{AFB55F00-6AF6-4348-B6A1-905AD4DC455F}">
      <dgm:prSet/>
      <dgm:spPr/>
      <dgm:t>
        <a:bodyPr/>
        <a:lstStyle/>
        <a:p>
          <a:endParaRPr lang="es-ES"/>
        </a:p>
      </dgm:t>
    </dgm:pt>
    <dgm:pt modelId="{C02B110E-13BC-4DA9-B61D-172D3B82D9BC}">
      <dgm:prSet custT="1"/>
      <dgm:spPr/>
      <dgm:t>
        <a:bodyPr/>
        <a:lstStyle/>
        <a:p>
          <a:r>
            <a:rPr lang="en-GB" sz="2400" dirty="0"/>
            <a:t>JOIN to REPLICATED Tables</a:t>
          </a:r>
        </a:p>
      </dgm:t>
    </dgm:pt>
    <dgm:pt modelId="{221DA0D6-DF69-4897-B074-6AB2DF0AD124}" type="parTrans" cxnId="{39C1394D-879E-4CD0-B11E-F3AA9D67CB2D}">
      <dgm:prSet/>
      <dgm:spPr/>
      <dgm:t>
        <a:bodyPr/>
        <a:lstStyle/>
        <a:p>
          <a:endParaRPr lang="es-ES"/>
        </a:p>
      </dgm:t>
    </dgm:pt>
    <dgm:pt modelId="{F0B134B6-CC83-42FC-91CA-59063364F341}" type="sibTrans" cxnId="{39C1394D-879E-4CD0-B11E-F3AA9D67CB2D}">
      <dgm:prSet/>
      <dgm:spPr/>
      <dgm:t>
        <a:bodyPr/>
        <a:lstStyle/>
        <a:p>
          <a:endParaRPr lang="es-ES"/>
        </a:p>
      </dgm:t>
    </dgm:pt>
    <dgm:pt modelId="{C73F07BA-E3FF-49DC-8EB4-7245C2B952FA}">
      <dgm:prSet custT="1"/>
      <dgm:spPr/>
      <dgm:t>
        <a:bodyPr/>
        <a:lstStyle/>
        <a:p>
          <a:r>
            <a:rPr lang="en-GB" sz="2400" dirty="0"/>
            <a:t>Single table SELECT</a:t>
          </a:r>
        </a:p>
      </dgm:t>
    </dgm:pt>
    <dgm:pt modelId="{44AE4CB3-3AA6-44F9-9857-6DE1602C6ECD}" type="parTrans" cxnId="{BC64EBF7-6F1F-4582-ABE8-30EB5F0F0A12}">
      <dgm:prSet/>
      <dgm:spPr/>
      <dgm:t>
        <a:bodyPr/>
        <a:lstStyle/>
        <a:p>
          <a:endParaRPr lang="es-ES"/>
        </a:p>
      </dgm:t>
    </dgm:pt>
    <dgm:pt modelId="{4C5684A2-862B-4083-A309-2CF2F4FCD140}" type="sibTrans" cxnId="{BC64EBF7-6F1F-4582-ABE8-30EB5F0F0A12}">
      <dgm:prSet/>
      <dgm:spPr/>
      <dgm:t>
        <a:bodyPr/>
        <a:lstStyle/>
        <a:p>
          <a:endParaRPr lang="es-ES"/>
        </a:p>
      </dgm:t>
    </dgm:pt>
    <dgm:pt modelId="{B17B6BEA-5A38-4517-9A67-58B5BDC9F405}">
      <dgm:prSet phldrT="[Text]" custT="1"/>
      <dgm:spPr>
        <a:scene3d>
          <a:camera prst="orthographicFront"/>
          <a:lightRig rig="threePt" dir="t"/>
        </a:scene3d>
        <a:sp3d>
          <a:bevelT prst="angle"/>
        </a:sp3d>
      </dgm:spPr>
      <dgm:t>
        <a:bodyPr/>
        <a:lstStyle/>
        <a:p>
          <a:pPr>
            <a:buNone/>
          </a:pPr>
          <a:r>
            <a:rPr lang="en-GB" sz="3200" dirty="0"/>
            <a:t>Exceptions:</a:t>
          </a:r>
          <a:endParaRPr lang="es-ES" sz="3200" dirty="0"/>
        </a:p>
      </dgm:t>
    </dgm:pt>
    <dgm:pt modelId="{48D08D84-79AA-4617-8DC9-D53F23DC1073}" type="parTrans" cxnId="{5774AEF1-BF09-4009-9676-413F31CD539B}">
      <dgm:prSet/>
      <dgm:spPr/>
      <dgm:t>
        <a:bodyPr/>
        <a:lstStyle/>
        <a:p>
          <a:endParaRPr lang="en-US"/>
        </a:p>
      </dgm:t>
    </dgm:pt>
    <dgm:pt modelId="{85C137AD-3FCE-4781-9EC1-98F477D38F22}" type="sibTrans" cxnId="{5774AEF1-BF09-4009-9676-413F31CD539B}">
      <dgm:prSet/>
      <dgm:spPr/>
      <dgm:t>
        <a:bodyPr/>
        <a:lstStyle/>
        <a:p>
          <a:endParaRPr lang="en-US"/>
        </a:p>
      </dgm:t>
    </dgm:pt>
    <dgm:pt modelId="{9A4DD4F4-2C5E-479A-97BE-C7F8A8B323DE}" type="pres">
      <dgm:prSet presAssocID="{E4D3F0A2-62E5-4FD8-944E-9DB922A95E63}" presName="linear" presStyleCnt="0">
        <dgm:presLayoutVars>
          <dgm:animLvl val="lvl"/>
          <dgm:resizeHandles val="exact"/>
        </dgm:presLayoutVars>
      </dgm:prSet>
      <dgm:spPr/>
    </dgm:pt>
    <dgm:pt modelId="{3399D014-79F5-4E64-B726-482C27FCC9B3}" type="pres">
      <dgm:prSet presAssocID="{E7F1D890-CF87-4B09-96FD-FFDEC0C5BB10}" presName="parentText" presStyleLbl="node1" presStyleIdx="0" presStyleCnt="2" custScaleY="108450">
        <dgm:presLayoutVars>
          <dgm:chMax val="0"/>
          <dgm:bulletEnabled val="1"/>
        </dgm:presLayoutVars>
      </dgm:prSet>
      <dgm:spPr/>
    </dgm:pt>
    <dgm:pt modelId="{97B1A628-2D45-411C-AC93-96C625DF6996}" type="pres">
      <dgm:prSet presAssocID="{85525A7C-F6F8-4524-B9EE-871F08970072}" presName="spacer" presStyleCnt="0"/>
      <dgm:spPr/>
    </dgm:pt>
    <dgm:pt modelId="{D91F3BBA-73A5-41B3-96CC-94B0CF30896B}" type="pres">
      <dgm:prSet presAssocID="{B17B6BEA-5A38-4517-9A67-58B5BDC9F405}" presName="parentText" presStyleLbl="node1" presStyleIdx="1" presStyleCnt="2">
        <dgm:presLayoutVars>
          <dgm:chMax val="0"/>
          <dgm:bulletEnabled val="1"/>
        </dgm:presLayoutVars>
      </dgm:prSet>
      <dgm:spPr/>
    </dgm:pt>
    <dgm:pt modelId="{C914B26D-81F8-4ABE-B57D-049438510551}" type="pres">
      <dgm:prSet presAssocID="{B17B6BEA-5A38-4517-9A67-58B5BDC9F405}" presName="childText" presStyleLbl="revTx" presStyleIdx="0" presStyleCnt="1">
        <dgm:presLayoutVars>
          <dgm:bulletEnabled val="1"/>
        </dgm:presLayoutVars>
      </dgm:prSet>
      <dgm:spPr/>
    </dgm:pt>
  </dgm:ptLst>
  <dgm:cxnLst>
    <dgm:cxn modelId="{AFB55F00-6AF6-4348-B6A1-905AD4DC455F}" srcId="{E4D3F0A2-62E5-4FD8-944E-9DB922A95E63}" destId="{E7F1D890-CF87-4B09-96FD-FFDEC0C5BB10}" srcOrd="0" destOrd="0" parTransId="{23A7865F-8E13-4081-80DE-956B2361D0DD}" sibTransId="{85525A7C-F6F8-4524-B9EE-871F08970072}"/>
    <dgm:cxn modelId="{44187814-B0B8-4B24-AAD9-014F4B583BEE}" type="presOf" srcId="{E4D3F0A2-62E5-4FD8-944E-9DB922A95E63}" destId="{9A4DD4F4-2C5E-479A-97BE-C7F8A8B323DE}" srcOrd="0" destOrd="0" presId="urn:microsoft.com/office/officeart/2005/8/layout/vList2"/>
    <dgm:cxn modelId="{55764C24-3C4C-4511-9265-FF47EDE66818}" type="presOf" srcId="{E7F1D890-CF87-4B09-96FD-FFDEC0C5BB10}" destId="{3399D014-79F5-4E64-B726-482C27FCC9B3}" srcOrd="0" destOrd="0" presId="urn:microsoft.com/office/officeart/2005/8/layout/vList2"/>
    <dgm:cxn modelId="{7CABC238-7A2C-439F-ABDC-8FC850CAE14E}" type="presOf" srcId="{C02B110E-13BC-4DA9-B61D-172D3B82D9BC}" destId="{C914B26D-81F8-4ABE-B57D-049438510551}" srcOrd="0" destOrd="0" presId="urn:microsoft.com/office/officeart/2005/8/layout/vList2"/>
    <dgm:cxn modelId="{39C1394D-879E-4CD0-B11E-F3AA9D67CB2D}" srcId="{B17B6BEA-5A38-4517-9A67-58B5BDC9F405}" destId="{C02B110E-13BC-4DA9-B61D-172D3B82D9BC}" srcOrd="0" destOrd="0" parTransId="{221DA0D6-DF69-4897-B074-6AB2DF0AD124}" sibTransId="{F0B134B6-CC83-42FC-91CA-59063364F341}"/>
    <dgm:cxn modelId="{1657C6BB-136A-492C-88E0-3E134BEF8D62}" type="presOf" srcId="{C73F07BA-E3FF-49DC-8EB4-7245C2B952FA}" destId="{C914B26D-81F8-4ABE-B57D-049438510551}" srcOrd="0" destOrd="1" presId="urn:microsoft.com/office/officeart/2005/8/layout/vList2"/>
    <dgm:cxn modelId="{77D9DEBC-FE55-4443-9E87-FC3A313A02D8}" type="presOf" srcId="{B17B6BEA-5A38-4517-9A67-58B5BDC9F405}" destId="{D91F3BBA-73A5-41B3-96CC-94B0CF30896B}" srcOrd="0" destOrd="0" presId="urn:microsoft.com/office/officeart/2005/8/layout/vList2"/>
    <dgm:cxn modelId="{5774AEF1-BF09-4009-9676-413F31CD539B}" srcId="{E4D3F0A2-62E5-4FD8-944E-9DB922A95E63}" destId="{B17B6BEA-5A38-4517-9A67-58B5BDC9F405}" srcOrd="1" destOrd="0" parTransId="{48D08D84-79AA-4617-8DC9-D53F23DC1073}" sibTransId="{85C137AD-3FCE-4781-9EC1-98F477D38F22}"/>
    <dgm:cxn modelId="{BC64EBF7-6F1F-4582-ABE8-30EB5F0F0A12}" srcId="{B17B6BEA-5A38-4517-9A67-58B5BDC9F405}" destId="{C73F07BA-E3FF-49DC-8EB4-7245C2B952FA}" srcOrd="1" destOrd="0" parTransId="{44AE4CB3-3AA6-44F9-9857-6DE1602C6ECD}" sibTransId="{4C5684A2-862B-4083-A309-2CF2F4FCD140}"/>
    <dgm:cxn modelId="{4439F383-8871-436C-90D5-C2E3B7E13401}" type="presParOf" srcId="{9A4DD4F4-2C5E-479A-97BE-C7F8A8B323DE}" destId="{3399D014-79F5-4E64-B726-482C27FCC9B3}" srcOrd="0" destOrd="0" presId="urn:microsoft.com/office/officeart/2005/8/layout/vList2"/>
    <dgm:cxn modelId="{D087EC95-43C4-40FD-A51E-8903EA4C0398}" type="presParOf" srcId="{9A4DD4F4-2C5E-479A-97BE-C7F8A8B323DE}" destId="{97B1A628-2D45-411C-AC93-96C625DF6996}" srcOrd="1" destOrd="0" presId="urn:microsoft.com/office/officeart/2005/8/layout/vList2"/>
    <dgm:cxn modelId="{006B4962-54FA-4AAE-B2BF-E9D37A1DE84D}" type="presParOf" srcId="{9A4DD4F4-2C5E-479A-97BE-C7F8A8B323DE}" destId="{D91F3BBA-73A5-41B3-96CC-94B0CF30896B}" srcOrd="2" destOrd="0" presId="urn:microsoft.com/office/officeart/2005/8/layout/vList2"/>
    <dgm:cxn modelId="{E802135D-E3B0-4AF7-83FE-2763184AB570}" type="presParOf" srcId="{9A4DD4F4-2C5E-479A-97BE-C7F8A8B323DE}" destId="{C914B26D-81F8-4ABE-B57D-049438510551}"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392777E-6D77-46D1-8C8E-6CCAF872F15B}"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s-ES"/>
        </a:p>
      </dgm:t>
    </dgm:pt>
    <dgm:pt modelId="{D4159021-723D-45BE-B890-061DFED65184}">
      <dgm:prSet phldrT="[Text]"/>
      <dgm:spPr/>
      <dgm:t>
        <a:bodyPr/>
        <a:lstStyle/>
        <a:p>
          <a:pPr>
            <a:buNone/>
          </a:pPr>
          <a:r>
            <a:rPr lang="en-GB" dirty="0"/>
            <a:t>Not an issue with Round Robin tables</a:t>
          </a:r>
          <a:endParaRPr lang="es-ES" dirty="0"/>
        </a:p>
      </dgm:t>
    </dgm:pt>
    <dgm:pt modelId="{63C063D9-BF21-49D5-ADF1-F850B4791FBE}" type="parTrans" cxnId="{3A4DF3D1-853F-4BD8-A990-CBCBFF48993B}">
      <dgm:prSet/>
      <dgm:spPr/>
      <dgm:t>
        <a:bodyPr/>
        <a:lstStyle/>
        <a:p>
          <a:endParaRPr lang="es-ES"/>
        </a:p>
      </dgm:t>
    </dgm:pt>
    <dgm:pt modelId="{2093DAB3-B909-40D9-A995-A82339E01B32}" type="sibTrans" cxnId="{3A4DF3D1-853F-4BD8-A990-CBCBFF48993B}">
      <dgm:prSet/>
      <dgm:spPr/>
      <dgm:t>
        <a:bodyPr/>
        <a:lstStyle/>
        <a:p>
          <a:endParaRPr lang="es-ES"/>
        </a:p>
      </dgm:t>
    </dgm:pt>
    <dgm:pt modelId="{DD11C08F-4CB6-4D35-83D6-2D2E10465A8E}">
      <dgm:prSet/>
      <dgm:spPr/>
      <dgm:t>
        <a:bodyPr/>
        <a:lstStyle/>
        <a:p>
          <a:r>
            <a:rPr lang="en-GB" dirty="0"/>
            <a:t>No way to influence Distribution</a:t>
          </a:r>
        </a:p>
      </dgm:t>
    </dgm:pt>
    <dgm:pt modelId="{1ACC2456-9F07-4638-B0D2-B21BDCEDD8E8}" type="parTrans" cxnId="{995D0677-0D83-4C6B-A9C4-A100239B26D2}">
      <dgm:prSet/>
      <dgm:spPr/>
      <dgm:t>
        <a:bodyPr/>
        <a:lstStyle/>
        <a:p>
          <a:endParaRPr lang="es-ES"/>
        </a:p>
      </dgm:t>
    </dgm:pt>
    <dgm:pt modelId="{19D03FF9-C258-47DB-8717-9FBF43081D40}" type="sibTrans" cxnId="{995D0677-0D83-4C6B-A9C4-A100239B26D2}">
      <dgm:prSet/>
      <dgm:spPr/>
      <dgm:t>
        <a:bodyPr/>
        <a:lstStyle/>
        <a:p>
          <a:endParaRPr lang="es-ES"/>
        </a:p>
      </dgm:t>
    </dgm:pt>
    <dgm:pt modelId="{6426D1EA-1779-4273-9D0D-7D7AA9E62D0B}" type="pres">
      <dgm:prSet presAssocID="{7392777E-6D77-46D1-8C8E-6CCAF872F15B}" presName="linear" presStyleCnt="0">
        <dgm:presLayoutVars>
          <dgm:dir/>
          <dgm:animLvl val="lvl"/>
          <dgm:resizeHandles val="exact"/>
        </dgm:presLayoutVars>
      </dgm:prSet>
      <dgm:spPr/>
    </dgm:pt>
    <dgm:pt modelId="{DEA5979D-6339-4318-8526-3222BAA979DA}" type="pres">
      <dgm:prSet presAssocID="{D4159021-723D-45BE-B890-061DFED65184}" presName="parentLin" presStyleCnt="0"/>
      <dgm:spPr/>
    </dgm:pt>
    <dgm:pt modelId="{5BFB2D6C-B0C8-4AAC-8959-A9BE9CEBE249}" type="pres">
      <dgm:prSet presAssocID="{D4159021-723D-45BE-B890-061DFED65184}" presName="parentLeftMargin" presStyleLbl="node1" presStyleIdx="0" presStyleCnt="2"/>
      <dgm:spPr/>
    </dgm:pt>
    <dgm:pt modelId="{E10627DD-4BF7-4D8F-AEB5-589A9E6C9B94}" type="pres">
      <dgm:prSet presAssocID="{D4159021-723D-45BE-B890-061DFED65184}" presName="parentText" presStyleLbl="node1" presStyleIdx="0" presStyleCnt="2">
        <dgm:presLayoutVars>
          <dgm:chMax val="0"/>
          <dgm:bulletEnabled val="1"/>
        </dgm:presLayoutVars>
      </dgm:prSet>
      <dgm:spPr/>
    </dgm:pt>
    <dgm:pt modelId="{B7F5ED80-2C67-41E9-A53E-14F7F54A0008}" type="pres">
      <dgm:prSet presAssocID="{D4159021-723D-45BE-B890-061DFED65184}" presName="negativeSpace" presStyleCnt="0"/>
      <dgm:spPr/>
    </dgm:pt>
    <dgm:pt modelId="{2A71052D-B7CC-46B0-B357-7D5BD0704EDE}" type="pres">
      <dgm:prSet presAssocID="{D4159021-723D-45BE-B890-061DFED65184}" presName="childText" presStyleLbl="conFgAcc1" presStyleIdx="0" presStyleCnt="2">
        <dgm:presLayoutVars>
          <dgm:bulletEnabled val="1"/>
        </dgm:presLayoutVars>
      </dgm:prSet>
      <dgm:spPr/>
    </dgm:pt>
    <dgm:pt modelId="{A4EB7CD8-5D4B-41D3-B1AA-DC7E50EEDE6C}" type="pres">
      <dgm:prSet presAssocID="{2093DAB3-B909-40D9-A995-A82339E01B32}" presName="spaceBetweenRectangles" presStyleCnt="0"/>
      <dgm:spPr/>
    </dgm:pt>
    <dgm:pt modelId="{3799EE20-A241-40B2-AC40-E1BCDF464E33}" type="pres">
      <dgm:prSet presAssocID="{DD11C08F-4CB6-4D35-83D6-2D2E10465A8E}" presName="parentLin" presStyleCnt="0"/>
      <dgm:spPr/>
    </dgm:pt>
    <dgm:pt modelId="{99F38324-CC93-41D5-8A3C-76E1B317CB88}" type="pres">
      <dgm:prSet presAssocID="{DD11C08F-4CB6-4D35-83D6-2D2E10465A8E}" presName="parentLeftMargin" presStyleLbl="node1" presStyleIdx="0" presStyleCnt="2"/>
      <dgm:spPr/>
    </dgm:pt>
    <dgm:pt modelId="{1E3C11FA-A400-417B-9A7B-8B442842268C}" type="pres">
      <dgm:prSet presAssocID="{DD11C08F-4CB6-4D35-83D6-2D2E10465A8E}" presName="parentText" presStyleLbl="node1" presStyleIdx="1" presStyleCnt="2">
        <dgm:presLayoutVars>
          <dgm:chMax val="0"/>
          <dgm:bulletEnabled val="1"/>
        </dgm:presLayoutVars>
      </dgm:prSet>
      <dgm:spPr/>
    </dgm:pt>
    <dgm:pt modelId="{3BF81556-0F9A-4C8D-A65A-B1DD17CA7008}" type="pres">
      <dgm:prSet presAssocID="{DD11C08F-4CB6-4D35-83D6-2D2E10465A8E}" presName="negativeSpace" presStyleCnt="0"/>
      <dgm:spPr/>
    </dgm:pt>
    <dgm:pt modelId="{D088DBAD-AA03-4A9F-A995-3AA0DBB1B240}" type="pres">
      <dgm:prSet presAssocID="{DD11C08F-4CB6-4D35-83D6-2D2E10465A8E}" presName="childText" presStyleLbl="conFgAcc1" presStyleIdx="1" presStyleCnt="2">
        <dgm:presLayoutVars>
          <dgm:bulletEnabled val="1"/>
        </dgm:presLayoutVars>
      </dgm:prSet>
      <dgm:spPr/>
    </dgm:pt>
  </dgm:ptLst>
  <dgm:cxnLst>
    <dgm:cxn modelId="{B4DE5B05-148E-4EC5-8C14-065F9DEA697C}" type="presOf" srcId="{D4159021-723D-45BE-B890-061DFED65184}" destId="{E10627DD-4BF7-4D8F-AEB5-589A9E6C9B94}" srcOrd="1" destOrd="0" presId="urn:microsoft.com/office/officeart/2005/8/layout/list1"/>
    <dgm:cxn modelId="{995D0677-0D83-4C6B-A9C4-A100239B26D2}" srcId="{7392777E-6D77-46D1-8C8E-6CCAF872F15B}" destId="{DD11C08F-4CB6-4D35-83D6-2D2E10465A8E}" srcOrd="1" destOrd="0" parTransId="{1ACC2456-9F07-4638-B0D2-B21BDCEDD8E8}" sibTransId="{19D03FF9-C258-47DB-8717-9FBF43081D40}"/>
    <dgm:cxn modelId="{BCDDEB7B-F0CF-480D-A636-F7A4CC9A95E5}" type="presOf" srcId="{DD11C08F-4CB6-4D35-83D6-2D2E10465A8E}" destId="{1E3C11FA-A400-417B-9A7B-8B442842268C}" srcOrd="1" destOrd="0" presId="urn:microsoft.com/office/officeart/2005/8/layout/list1"/>
    <dgm:cxn modelId="{ADE3E4BC-8FBD-4C15-9879-ACF77365E678}" type="presOf" srcId="{DD11C08F-4CB6-4D35-83D6-2D2E10465A8E}" destId="{99F38324-CC93-41D5-8A3C-76E1B317CB88}" srcOrd="0" destOrd="0" presId="urn:microsoft.com/office/officeart/2005/8/layout/list1"/>
    <dgm:cxn modelId="{CA3A90BD-EBAA-4727-A151-3CAE2DC7FFFA}" type="presOf" srcId="{D4159021-723D-45BE-B890-061DFED65184}" destId="{5BFB2D6C-B0C8-4AAC-8959-A9BE9CEBE249}" srcOrd="0" destOrd="0" presId="urn:microsoft.com/office/officeart/2005/8/layout/list1"/>
    <dgm:cxn modelId="{3A4DF3D1-853F-4BD8-A990-CBCBFF48993B}" srcId="{7392777E-6D77-46D1-8C8E-6CCAF872F15B}" destId="{D4159021-723D-45BE-B890-061DFED65184}" srcOrd="0" destOrd="0" parTransId="{63C063D9-BF21-49D5-ADF1-F850B4791FBE}" sibTransId="{2093DAB3-B909-40D9-A995-A82339E01B32}"/>
    <dgm:cxn modelId="{34BB8DFA-72BA-4564-8F1F-E46C9C041EE1}" type="presOf" srcId="{7392777E-6D77-46D1-8C8E-6CCAF872F15B}" destId="{6426D1EA-1779-4273-9D0D-7D7AA9E62D0B}" srcOrd="0" destOrd="0" presId="urn:microsoft.com/office/officeart/2005/8/layout/list1"/>
    <dgm:cxn modelId="{608FFFB5-0EEB-4837-85F2-D230E03A2D3A}" type="presParOf" srcId="{6426D1EA-1779-4273-9D0D-7D7AA9E62D0B}" destId="{DEA5979D-6339-4318-8526-3222BAA979DA}" srcOrd="0" destOrd="0" presId="urn:microsoft.com/office/officeart/2005/8/layout/list1"/>
    <dgm:cxn modelId="{991C7CFE-A877-4679-9779-870CA658AC3A}" type="presParOf" srcId="{DEA5979D-6339-4318-8526-3222BAA979DA}" destId="{5BFB2D6C-B0C8-4AAC-8959-A9BE9CEBE249}" srcOrd="0" destOrd="0" presId="urn:microsoft.com/office/officeart/2005/8/layout/list1"/>
    <dgm:cxn modelId="{F4F3B7C7-1651-46AE-A397-986E7DD4437B}" type="presParOf" srcId="{DEA5979D-6339-4318-8526-3222BAA979DA}" destId="{E10627DD-4BF7-4D8F-AEB5-589A9E6C9B94}" srcOrd="1" destOrd="0" presId="urn:microsoft.com/office/officeart/2005/8/layout/list1"/>
    <dgm:cxn modelId="{F77B3BBC-07BE-4CDB-AB8E-1D2EAA73FDC1}" type="presParOf" srcId="{6426D1EA-1779-4273-9D0D-7D7AA9E62D0B}" destId="{B7F5ED80-2C67-41E9-A53E-14F7F54A0008}" srcOrd="1" destOrd="0" presId="urn:microsoft.com/office/officeart/2005/8/layout/list1"/>
    <dgm:cxn modelId="{69421E91-BF02-4693-B994-7B85E2DEDFEC}" type="presParOf" srcId="{6426D1EA-1779-4273-9D0D-7D7AA9E62D0B}" destId="{2A71052D-B7CC-46B0-B357-7D5BD0704EDE}" srcOrd="2" destOrd="0" presId="urn:microsoft.com/office/officeart/2005/8/layout/list1"/>
    <dgm:cxn modelId="{62543D43-5761-4398-A686-F513BF427EEB}" type="presParOf" srcId="{6426D1EA-1779-4273-9D0D-7D7AA9E62D0B}" destId="{A4EB7CD8-5D4B-41D3-B1AA-DC7E50EEDE6C}" srcOrd="3" destOrd="0" presId="urn:microsoft.com/office/officeart/2005/8/layout/list1"/>
    <dgm:cxn modelId="{1532FFF8-8FDC-4E91-AEB5-72A2C7D5FD40}" type="presParOf" srcId="{6426D1EA-1779-4273-9D0D-7D7AA9E62D0B}" destId="{3799EE20-A241-40B2-AC40-E1BCDF464E33}" srcOrd="4" destOrd="0" presId="urn:microsoft.com/office/officeart/2005/8/layout/list1"/>
    <dgm:cxn modelId="{0F0963EC-EC67-44AE-AF6F-09A76AA34CF8}" type="presParOf" srcId="{3799EE20-A241-40B2-AC40-E1BCDF464E33}" destId="{99F38324-CC93-41D5-8A3C-76E1B317CB88}" srcOrd="0" destOrd="0" presId="urn:microsoft.com/office/officeart/2005/8/layout/list1"/>
    <dgm:cxn modelId="{15B7B507-9351-42EE-B14E-F40DF8BB058E}" type="presParOf" srcId="{3799EE20-A241-40B2-AC40-E1BCDF464E33}" destId="{1E3C11FA-A400-417B-9A7B-8B442842268C}" srcOrd="1" destOrd="0" presId="urn:microsoft.com/office/officeart/2005/8/layout/list1"/>
    <dgm:cxn modelId="{56F8648D-AFEB-4620-A1EB-3EDBAAA88261}" type="presParOf" srcId="{6426D1EA-1779-4273-9D0D-7D7AA9E62D0B}" destId="{3BF81556-0F9A-4C8D-A65A-B1DD17CA7008}" srcOrd="5" destOrd="0" presId="urn:microsoft.com/office/officeart/2005/8/layout/list1"/>
    <dgm:cxn modelId="{2E3EC30E-CEE0-47E5-8AA8-BBF65A500B53}" type="presParOf" srcId="{6426D1EA-1779-4273-9D0D-7D7AA9E62D0B}" destId="{D088DBAD-AA03-4A9F-A995-3AA0DBB1B240}"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B7B26FF-6CAC-4E14-971F-120D39059CE6}"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s-ES"/>
        </a:p>
      </dgm:t>
    </dgm:pt>
    <dgm:pt modelId="{3A4BF09A-0078-4CE0-B464-0859FA5CCF36}">
      <dgm:prSet phldrT="[Text]" custT="1"/>
      <dgm:spPr/>
      <dgm:t>
        <a:bodyPr/>
        <a:lstStyle/>
        <a:p>
          <a:r>
            <a:rPr lang="en-GB" sz="2200" dirty="0"/>
            <a:t>Data is replicated (cached) to each compute node</a:t>
          </a:r>
          <a:endParaRPr lang="es-ES" sz="2200" dirty="0"/>
        </a:p>
      </dgm:t>
    </dgm:pt>
    <dgm:pt modelId="{2FE75844-3990-44EA-93ED-CF03878ACF72}" type="parTrans" cxnId="{35506110-7799-4117-8546-995462488A07}">
      <dgm:prSet/>
      <dgm:spPr/>
      <dgm:t>
        <a:bodyPr/>
        <a:lstStyle/>
        <a:p>
          <a:endParaRPr lang="es-ES"/>
        </a:p>
      </dgm:t>
    </dgm:pt>
    <dgm:pt modelId="{B147F619-E904-41A4-A27C-CD82DE2F4BE7}" type="sibTrans" cxnId="{35506110-7799-4117-8546-995462488A07}">
      <dgm:prSet/>
      <dgm:spPr/>
      <dgm:t>
        <a:bodyPr/>
        <a:lstStyle/>
        <a:p>
          <a:endParaRPr lang="es-ES"/>
        </a:p>
      </dgm:t>
    </dgm:pt>
    <dgm:pt modelId="{C990A42F-04C4-419D-A2C8-2B0391C8A48C}">
      <dgm:prSet custT="1"/>
      <dgm:spPr/>
      <dgm:t>
        <a:bodyPr/>
        <a:lstStyle/>
        <a:p>
          <a:r>
            <a:rPr lang="en-GB" sz="2200" dirty="0"/>
            <a:t>The cached copy of the table is a complete copy of the entire table</a:t>
          </a:r>
        </a:p>
      </dgm:t>
    </dgm:pt>
    <dgm:pt modelId="{4B08C0AE-DFB7-404A-A490-C3CD936C716C}" type="parTrans" cxnId="{6CBCF5AE-7188-4E4D-8A53-9CCAE1856BDC}">
      <dgm:prSet/>
      <dgm:spPr/>
      <dgm:t>
        <a:bodyPr/>
        <a:lstStyle/>
        <a:p>
          <a:endParaRPr lang="es-ES"/>
        </a:p>
      </dgm:t>
    </dgm:pt>
    <dgm:pt modelId="{A8BF6AD1-D73C-4BFA-9012-299FE77D024B}" type="sibTrans" cxnId="{6CBCF5AE-7188-4E4D-8A53-9CCAE1856BDC}">
      <dgm:prSet/>
      <dgm:spPr/>
      <dgm:t>
        <a:bodyPr/>
        <a:lstStyle/>
        <a:p>
          <a:endParaRPr lang="es-ES"/>
        </a:p>
      </dgm:t>
    </dgm:pt>
    <dgm:pt modelId="{B23FB34D-3133-4D89-B401-5E19CD79229C}">
      <dgm:prSet custT="1"/>
      <dgm:spPr/>
      <dgm:t>
        <a:bodyPr/>
        <a:lstStyle/>
        <a:p>
          <a:r>
            <a:rPr lang="en-GB" sz="2200" dirty="0"/>
            <a:t>Modifications to the table invalidate the cached copy</a:t>
          </a:r>
        </a:p>
      </dgm:t>
    </dgm:pt>
    <dgm:pt modelId="{4DB15FDD-E04E-46AE-A040-75D2E14647C2}" type="parTrans" cxnId="{F0B302F4-E09D-4F57-942E-70EFBA412986}">
      <dgm:prSet/>
      <dgm:spPr/>
      <dgm:t>
        <a:bodyPr/>
        <a:lstStyle/>
        <a:p>
          <a:endParaRPr lang="es-ES"/>
        </a:p>
      </dgm:t>
    </dgm:pt>
    <dgm:pt modelId="{FC47EB0B-2EF6-4927-BB2D-998DC59227ED}" type="sibTrans" cxnId="{F0B302F4-E09D-4F57-942E-70EFBA412986}">
      <dgm:prSet/>
      <dgm:spPr/>
      <dgm:t>
        <a:bodyPr/>
        <a:lstStyle/>
        <a:p>
          <a:endParaRPr lang="es-ES"/>
        </a:p>
      </dgm:t>
    </dgm:pt>
    <dgm:pt modelId="{BA61F01E-7AC1-442F-B80D-536B91F20123}">
      <dgm:prSet custT="1"/>
      <dgm:spPr/>
      <dgm:t>
        <a:bodyPr/>
        <a:lstStyle/>
        <a:p>
          <a:r>
            <a:rPr lang="en-GB" sz="2200" dirty="0">
              <a:cs typeface="Segoe UI Light"/>
            </a:rPr>
            <a:t>Scaling the database invalidates the cached copy</a:t>
          </a:r>
        </a:p>
      </dgm:t>
    </dgm:pt>
    <dgm:pt modelId="{5F74AC63-CD30-47A6-A456-799192914D74}" type="parTrans" cxnId="{C4C23A6E-8BB2-45CC-9C00-BF9DE55EDAC1}">
      <dgm:prSet/>
      <dgm:spPr/>
      <dgm:t>
        <a:bodyPr/>
        <a:lstStyle/>
        <a:p>
          <a:endParaRPr lang="es-ES"/>
        </a:p>
      </dgm:t>
    </dgm:pt>
    <dgm:pt modelId="{9F7CBA79-AEA3-4B3F-A1F3-6B78BEBD3351}" type="sibTrans" cxnId="{C4C23A6E-8BB2-45CC-9C00-BF9DE55EDAC1}">
      <dgm:prSet/>
      <dgm:spPr/>
      <dgm:t>
        <a:bodyPr/>
        <a:lstStyle/>
        <a:p>
          <a:endParaRPr lang="es-ES"/>
        </a:p>
      </dgm:t>
    </dgm:pt>
    <dgm:pt modelId="{F8E81844-0A4C-4EC9-AEEE-48B5827D6E5C}">
      <dgm:prSet custT="1"/>
      <dgm:spPr/>
      <dgm:t>
        <a:bodyPr/>
        <a:lstStyle/>
        <a:p>
          <a:r>
            <a:rPr lang="en-GB" sz="2200" dirty="0"/>
            <a:t>Can be partitioned</a:t>
          </a:r>
          <a:endParaRPr lang="en-GB" sz="2200" dirty="0">
            <a:cs typeface="Segoe UI Light"/>
          </a:endParaRPr>
        </a:p>
      </dgm:t>
    </dgm:pt>
    <dgm:pt modelId="{CD6657D6-8E0F-46E9-95D0-88C5ABB334A0}" type="parTrans" cxnId="{44A93F10-A578-4901-ADBB-F105E02F1740}">
      <dgm:prSet/>
      <dgm:spPr/>
      <dgm:t>
        <a:bodyPr/>
        <a:lstStyle/>
        <a:p>
          <a:endParaRPr lang="es-ES"/>
        </a:p>
      </dgm:t>
    </dgm:pt>
    <dgm:pt modelId="{FCE5C4CD-6A4D-470D-88DB-F09D71F463FA}" type="sibTrans" cxnId="{44A93F10-A578-4901-ADBB-F105E02F1740}">
      <dgm:prSet/>
      <dgm:spPr/>
      <dgm:t>
        <a:bodyPr/>
        <a:lstStyle/>
        <a:p>
          <a:endParaRPr lang="es-ES"/>
        </a:p>
      </dgm:t>
    </dgm:pt>
    <dgm:pt modelId="{162CF515-BABB-4434-BE9F-48873B19790E}">
      <dgm:prSet phldrT="[Text]" custT="1"/>
      <dgm:spPr/>
      <dgm:t>
        <a:bodyPr/>
        <a:lstStyle/>
        <a:p>
          <a:r>
            <a:rPr lang="en-US" sz="2200" noProof="0" dirty="0"/>
            <a:t>Table is initially stored as a round-robin table</a:t>
          </a:r>
        </a:p>
      </dgm:t>
    </dgm:pt>
    <dgm:pt modelId="{5B04B7EA-2745-44C8-8EDE-5C16779C2758}" type="parTrans" cxnId="{6C46A89D-62C7-428D-B046-0E901FC6AF26}">
      <dgm:prSet/>
      <dgm:spPr/>
      <dgm:t>
        <a:bodyPr/>
        <a:lstStyle/>
        <a:p>
          <a:endParaRPr lang="en-US"/>
        </a:p>
      </dgm:t>
    </dgm:pt>
    <dgm:pt modelId="{53AA2DB4-0A48-4AF9-9C3E-73D413A81189}" type="sibTrans" cxnId="{6C46A89D-62C7-428D-B046-0E901FC6AF26}">
      <dgm:prSet/>
      <dgm:spPr/>
      <dgm:t>
        <a:bodyPr/>
        <a:lstStyle/>
        <a:p>
          <a:endParaRPr lang="en-US"/>
        </a:p>
      </dgm:t>
    </dgm:pt>
    <dgm:pt modelId="{6A96282C-1627-413F-89BA-54C53B19BC4F}" type="pres">
      <dgm:prSet presAssocID="{CB7B26FF-6CAC-4E14-971F-120D39059CE6}" presName="linear" presStyleCnt="0">
        <dgm:presLayoutVars>
          <dgm:dir/>
          <dgm:animLvl val="lvl"/>
          <dgm:resizeHandles val="exact"/>
        </dgm:presLayoutVars>
      </dgm:prSet>
      <dgm:spPr/>
    </dgm:pt>
    <dgm:pt modelId="{102DD672-7445-40BD-905E-9D39FE2F9174}" type="pres">
      <dgm:prSet presAssocID="{162CF515-BABB-4434-BE9F-48873B19790E}" presName="parentLin" presStyleCnt="0"/>
      <dgm:spPr/>
    </dgm:pt>
    <dgm:pt modelId="{EF8983A9-45FB-4C4E-BD13-48EF2A2A1045}" type="pres">
      <dgm:prSet presAssocID="{162CF515-BABB-4434-BE9F-48873B19790E}" presName="parentLeftMargin" presStyleLbl="node1" presStyleIdx="0" presStyleCnt="6"/>
      <dgm:spPr/>
    </dgm:pt>
    <dgm:pt modelId="{F45AD6FE-D79E-4CAD-8A26-1157A978EE02}" type="pres">
      <dgm:prSet presAssocID="{162CF515-BABB-4434-BE9F-48873B19790E}" presName="parentText" presStyleLbl="node1" presStyleIdx="0" presStyleCnt="6" custScaleX="125540">
        <dgm:presLayoutVars>
          <dgm:chMax val="0"/>
          <dgm:bulletEnabled val="1"/>
        </dgm:presLayoutVars>
      </dgm:prSet>
      <dgm:spPr/>
    </dgm:pt>
    <dgm:pt modelId="{59B4A4EF-326F-4426-B19C-FD265510F755}" type="pres">
      <dgm:prSet presAssocID="{162CF515-BABB-4434-BE9F-48873B19790E}" presName="negativeSpace" presStyleCnt="0"/>
      <dgm:spPr/>
    </dgm:pt>
    <dgm:pt modelId="{58347F6C-73BF-4CA6-9155-8536AF465042}" type="pres">
      <dgm:prSet presAssocID="{162CF515-BABB-4434-BE9F-48873B19790E}" presName="childText" presStyleLbl="conFgAcc1" presStyleIdx="0" presStyleCnt="6">
        <dgm:presLayoutVars>
          <dgm:bulletEnabled val="1"/>
        </dgm:presLayoutVars>
      </dgm:prSet>
      <dgm:spPr/>
    </dgm:pt>
    <dgm:pt modelId="{C1535A07-43D9-4A1A-9DAD-822E3C55AB5A}" type="pres">
      <dgm:prSet presAssocID="{53AA2DB4-0A48-4AF9-9C3E-73D413A81189}" presName="spaceBetweenRectangles" presStyleCnt="0"/>
      <dgm:spPr/>
    </dgm:pt>
    <dgm:pt modelId="{A9321106-A77E-4B12-B8F7-27B12DB1DD3D}" type="pres">
      <dgm:prSet presAssocID="{3A4BF09A-0078-4CE0-B464-0859FA5CCF36}" presName="parentLin" presStyleCnt="0"/>
      <dgm:spPr/>
    </dgm:pt>
    <dgm:pt modelId="{D16BBD41-DD03-4349-B805-C0B146B16006}" type="pres">
      <dgm:prSet presAssocID="{3A4BF09A-0078-4CE0-B464-0859FA5CCF36}" presName="parentLeftMargin" presStyleLbl="node1" presStyleIdx="0" presStyleCnt="6"/>
      <dgm:spPr/>
    </dgm:pt>
    <dgm:pt modelId="{89EC695E-A653-499E-B62D-D3C824CBC590}" type="pres">
      <dgm:prSet presAssocID="{3A4BF09A-0078-4CE0-B464-0859FA5CCF36}" presName="parentText" presStyleLbl="node1" presStyleIdx="1" presStyleCnt="6" custScaleX="126144">
        <dgm:presLayoutVars>
          <dgm:chMax val="0"/>
          <dgm:bulletEnabled val="1"/>
        </dgm:presLayoutVars>
      </dgm:prSet>
      <dgm:spPr/>
    </dgm:pt>
    <dgm:pt modelId="{66408E1C-41AD-43F0-89D3-125826B8B2FE}" type="pres">
      <dgm:prSet presAssocID="{3A4BF09A-0078-4CE0-B464-0859FA5CCF36}" presName="negativeSpace" presStyleCnt="0"/>
      <dgm:spPr/>
    </dgm:pt>
    <dgm:pt modelId="{4F51AE5C-782C-427C-897A-6AC06E0F1D23}" type="pres">
      <dgm:prSet presAssocID="{3A4BF09A-0078-4CE0-B464-0859FA5CCF36}" presName="childText" presStyleLbl="conFgAcc1" presStyleIdx="1" presStyleCnt="6">
        <dgm:presLayoutVars>
          <dgm:bulletEnabled val="1"/>
        </dgm:presLayoutVars>
      </dgm:prSet>
      <dgm:spPr/>
    </dgm:pt>
    <dgm:pt modelId="{0E990ACC-5919-4240-9A04-2DCD4B2FA974}" type="pres">
      <dgm:prSet presAssocID="{B147F619-E904-41A4-A27C-CD82DE2F4BE7}" presName="spaceBetweenRectangles" presStyleCnt="0"/>
      <dgm:spPr/>
    </dgm:pt>
    <dgm:pt modelId="{766EFD6C-2854-4226-A444-27D9981B79B1}" type="pres">
      <dgm:prSet presAssocID="{C990A42F-04C4-419D-A2C8-2B0391C8A48C}" presName="parentLin" presStyleCnt="0"/>
      <dgm:spPr/>
    </dgm:pt>
    <dgm:pt modelId="{EA856A9E-EC21-460D-BAA3-7D5AD7E340B7}" type="pres">
      <dgm:prSet presAssocID="{C990A42F-04C4-419D-A2C8-2B0391C8A48C}" presName="parentLeftMargin" presStyleLbl="node1" presStyleIdx="1" presStyleCnt="6"/>
      <dgm:spPr/>
    </dgm:pt>
    <dgm:pt modelId="{763D35FA-31B3-4641-9632-352F66AC9170}" type="pres">
      <dgm:prSet presAssocID="{C990A42F-04C4-419D-A2C8-2B0391C8A48C}" presName="parentText" presStyleLbl="node1" presStyleIdx="2" presStyleCnt="6" custScaleX="126144">
        <dgm:presLayoutVars>
          <dgm:chMax val="0"/>
          <dgm:bulletEnabled val="1"/>
        </dgm:presLayoutVars>
      </dgm:prSet>
      <dgm:spPr/>
    </dgm:pt>
    <dgm:pt modelId="{86C2A0EB-34C8-4BE7-A8C0-F9B1B088CF66}" type="pres">
      <dgm:prSet presAssocID="{C990A42F-04C4-419D-A2C8-2B0391C8A48C}" presName="negativeSpace" presStyleCnt="0"/>
      <dgm:spPr/>
    </dgm:pt>
    <dgm:pt modelId="{F0834611-C656-411C-A4F8-A5A10C47AA12}" type="pres">
      <dgm:prSet presAssocID="{C990A42F-04C4-419D-A2C8-2B0391C8A48C}" presName="childText" presStyleLbl="conFgAcc1" presStyleIdx="2" presStyleCnt="6">
        <dgm:presLayoutVars>
          <dgm:bulletEnabled val="1"/>
        </dgm:presLayoutVars>
      </dgm:prSet>
      <dgm:spPr/>
    </dgm:pt>
    <dgm:pt modelId="{26D5DD65-7CEF-481B-8170-034E6013D25E}" type="pres">
      <dgm:prSet presAssocID="{A8BF6AD1-D73C-4BFA-9012-299FE77D024B}" presName="spaceBetweenRectangles" presStyleCnt="0"/>
      <dgm:spPr/>
    </dgm:pt>
    <dgm:pt modelId="{B4ED63BA-C0D0-430D-84E0-37FC351C142D}" type="pres">
      <dgm:prSet presAssocID="{B23FB34D-3133-4D89-B401-5E19CD79229C}" presName="parentLin" presStyleCnt="0"/>
      <dgm:spPr/>
    </dgm:pt>
    <dgm:pt modelId="{2342BC79-185E-4475-AB28-9BB0FFCC22A1}" type="pres">
      <dgm:prSet presAssocID="{B23FB34D-3133-4D89-B401-5E19CD79229C}" presName="parentLeftMargin" presStyleLbl="node1" presStyleIdx="2" presStyleCnt="6"/>
      <dgm:spPr/>
    </dgm:pt>
    <dgm:pt modelId="{32C47C20-2CDB-417E-A3C9-6D67C3668440}" type="pres">
      <dgm:prSet presAssocID="{B23FB34D-3133-4D89-B401-5E19CD79229C}" presName="parentText" presStyleLbl="node1" presStyleIdx="3" presStyleCnt="6" custScaleX="126144">
        <dgm:presLayoutVars>
          <dgm:chMax val="0"/>
          <dgm:bulletEnabled val="1"/>
        </dgm:presLayoutVars>
      </dgm:prSet>
      <dgm:spPr/>
    </dgm:pt>
    <dgm:pt modelId="{39E8EE7A-97E3-4C8E-B547-14808B92D524}" type="pres">
      <dgm:prSet presAssocID="{B23FB34D-3133-4D89-B401-5E19CD79229C}" presName="negativeSpace" presStyleCnt="0"/>
      <dgm:spPr/>
    </dgm:pt>
    <dgm:pt modelId="{CB89E389-4229-4CA4-AE95-BF1F59768C23}" type="pres">
      <dgm:prSet presAssocID="{B23FB34D-3133-4D89-B401-5E19CD79229C}" presName="childText" presStyleLbl="conFgAcc1" presStyleIdx="3" presStyleCnt="6">
        <dgm:presLayoutVars>
          <dgm:bulletEnabled val="1"/>
        </dgm:presLayoutVars>
      </dgm:prSet>
      <dgm:spPr/>
    </dgm:pt>
    <dgm:pt modelId="{E3F98051-E191-44A8-AA7A-315227A25172}" type="pres">
      <dgm:prSet presAssocID="{FC47EB0B-2EF6-4927-BB2D-998DC59227ED}" presName="spaceBetweenRectangles" presStyleCnt="0"/>
      <dgm:spPr/>
    </dgm:pt>
    <dgm:pt modelId="{F599E747-9FF5-4F8E-8FEE-EE2B6DB54266}" type="pres">
      <dgm:prSet presAssocID="{BA61F01E-7AC1-442F-B80D-536B91F20123}" presName="parentLin" presStyleCnt="0"/>
      <dgm:spPr/>
    </dgm:pt>
    <dgm:pt modelId="{8DACEE00-E563-40FF-BC61-2933F381F685}" type="pres">
      <dgm:prSet presAssocID="{BA61F01E-7AC1-442F-B80D-536B91F20123}" presName="parentLeftMargin" presStyleLbl="node1" presStyleIdx="3" presStyleCnt="6"/>
      <dgm:spPr/>
    </dgm:pt>
    <dgm:pt modelId="{FDA51C44-ACAC-4DB1-8D89-B6D9B43C5550}" type="pres">
      <dgm:prSet presAssocID="{BA61F01E-7AC1-442F-B80D-536B91F20123}" presName="parentText" presStyleLbl="node1" presStyleIdx="4" presStyleCnt="6" custScaleX="126144">
        <dgm:presLayoutVars>
          <dgm:chMax val="0"/>
          <dgm:bulletEnabled val="1"/>
        </dgm:presLayoutVars>
      </dgm:prSet>
      <dgm:spPr/>
    </dgm:pt>
    <dgm:pt modelId="{5336D723-9F31-470C-AD21-96A315F61C05}" type="pres">
      <dgm:prSet presAssocID="{BA61F01E-7AC1-442F-B80D-536B91F20123}" presName="negativeSpace" presStyleCnt="0"/>
      <dgm:spPr/>
    </dgm:pt>
    <dgm:pt modelId="{628C39E6-39B5-4E45-99D9-391009090BFE}" type="pres">
      <dgm:prSet presAssocID="{BA61F01E-7AC1-442F-B80D-536B91F20123}" presName="childText" presStyleLbl="conFgAcc1" presStyleIdx="4" presStyleCnt="6">
        <dgm:presLayoutVars>
          <dgm:bulletEnabled val="1"/>
        </dgm:presLayoutVars>
      </dgm:prSet>
      <dgm:spPr/>
    </dgm:pt>
    <dgm:pt modelId="{5D83996D-A251-4A55-B8AC-50F005F3969D}" type="pres">
      <dgm:prSet presAssocID="{9F7CBA79-AEA3-4B3F-A1F3-6B78BEBD3351}" presName="spaceBetweenRectangles" presStyleCnt="0"/>
      <dgm:spPr/>
    </dgm:pt>
    <dgm:pt modelId="{A4E7A901-9519-4251-BFDE-D1FAD87AEB88}" type="pres">
      <dgm:prSet presAssocID="{F8E81844-0A4C-4EC9-AEEE-48B5827D6E5C}" presName="parentLin" presStyleCnt="0"/>
      <dgm:spPr/>
    </dgm:pt>
    <dgm:pt modelId="{4C616AA9-7BF0-44E3-ABF2-151D1353A75B}" type="pres">
      <dgm:prSet presAssocID="{F8E81844-0A4C-4EC9-AEEE-48B5827D6E5C}" presName="parentLeftMargin" presStyleLbl="node1" presStyleIdx="4" presStyleCnt="6"/>
      <dgm:spPr/>
    </dgm:pt>
    <dgm:pt modelId="{5C79EF4F-BFC8-4156-A2B0-4A77DDC7F7B9}" type="pres">
      <dgm:prSet presAssocID="{F8E81844-0A4C-4EC9-AEEE-48B5827D6E5C}" presName="parentText" presStyleLbl="node1" presStyleIdx="5" presStyleCnt="6" custScaleX="126144">
        <dgm:presLayoutVars>
          <dgm:chMax val="0"/>
          <dgm:bulletEnabled val="1"/>
        </dgm:presLayoutVars>
      </dgm:prSet>
      <dgm:spPr/>
    </dgm:pt>
    <dgm:pt modelId="{8C6184CB-C474-4402-A1F8-92E0F3D82ACC}" type="pres">
      <dgm:prSet presAssocID="{F8E81844-0A4C-4EC9-AEEE-48B5827D6E5C}" presName="negativeSpace" presStyleCnt="0"/>
      <dgm:spPr/>
    </dgm:pt>
    <dgm:pt modelId="{CD5D26E0-1EBD-48A2-A198-9D0AE308EFE0}" type="pres">
      <dgm:prSet presAssocID="{F8E81844-0A4C-4EC9-AEEE-48B5827D6E5C}" presName="childText" presStyleLbl="conFgAcc1" presStyleIdx="5" presStyleCnt="6">
        <dgm:presLayoutVars>
          <dgm:bulletEnabled val="1"/>
        </dgm:presLayoutVars>
      </dgm:prSet>
      <dgm:spPr/>
    </dgm:pt>
  </dgm:ptLst>
  <dgm:cxnLst>
    <dgm:cxn modelId="{5CD1650B-0FA2-4DAD-8170-7CC8BF326004}" type="presOf" srcId="{162CF515-BABB-4434-BE9F-48873B19790E}" destId="{F45AD6FE-D79E-4CAD-8A26-1157A978EE02}" srcOrd="1" destOrd="0" presId="urn:microsoft.com/office/officeart/2005/8/layout/list1"/>
    <dgm:cxn modelId="{2B97CE0B-2E50-4FA5-9D5F-E5530B7548B6}" type="presOf" srcId="{F8E81844-0A4C-4EC9-AEEE-48B5827D6E5C}" destId="{5C79EF4F-BFC8-4156-A2B0-4A77DDC7F7B9}" srcOrd="1" destOrd="0" presId="urn:microsoft.com/office/officeart/2005/8/layout/list1"/>
    <dgm:cxn modelId="{44A93F10-A578-4901-ADBB-F105E02F1740}" srcId="{CB7B26FF-6CAC-4E14-971F-120D39059CE6}" destId="{F8E81844-0A4C-4EC9-AEEE-48B5827D6E5C}" srcOrd="5" destOrd="0" parTransId="{CD6657D6-8E0F-46E9-95D0-88C5ABB334A0}" sibTransId="{FCE5C4CD-6A4D-470D-88DB-F09D71F463FA}"/>
    <dgm:cxn modelId="{35506110-7799-4117-8546-995462488A07}" srcId="{CB7B26FF-6CAC-4E14-971F-120D39059CE6}" destId="{3A4BF09A-0078-4CE0-B464-0859FA5CCF36}" srcOrd="1" destOrd="0" parTransId="{2FE75844-3990-44EA-93ED-CF03878ACF72}" sibTransId="{B147F619-E904-41A4-A27C-CD82DE2F4BE7}"/>
    <dgm:cxn modelId="{274AA31D-1F30-442F-9EF8-11BD025E8DE2}" type="presOf" srcId="{BA61F01E-7AC1-442F-B80D-536B91F20123}" destId="{8DACEE00-E563-40FF-BC61-2933F381F685}" srcOrd="0" destOrd="0" presId="urn:microsoft.com/office/officeart/2005/8/layout/list1"/>
    <dgm:cxn modelId="{6E150463-4C45-483E-A1FC-D6EED857E74C}" type="presOf" srcId="{C990A42F-04C4-419D-A2C8-2B0391C8A48C}" destId="{763D35FA-31B3-4641-9632-352F66AC9170}" srcOrd="1" destOrd="0" presId="urn:microsoft.com/office/officeart/2005/8/layout/list1"/>
    <dgm:cxn modelId="{3FD15E6A-2CE1-453E-8FD1-C0D9EBE2859A}" type="presOf" srcId="{3A4BF09A-0078-4CE0-B464-0859FA5CCF36}" destId="{D16BBD41-DD03-4349-B805-C0B146B16006}" srcOrd="0" destOrd="0" presId="urn:microsoft.com/office/officeart/2005/8/layout/list1"/>
    <dgm:cxn modelId="{1656576D-C4C1-4587-8138-D3C033AF0A89}" type="presOf" srcId="{3A4BF09A-0078-4CE0-B464-0859FA5CCF36}" destId="{89EC695E-A653-499E-B62D-D3C824CBC590}" srcOrd="1" destOrd="0" presId="urn:microsoft.com/office/officeart/2005/8/layout/list1"/>
    <dgm:cxn modelId="{C4C23A6E-8BB2-45CC-9C00-BF9DE55EDAC1}" srcId="{CB7B26FF-6CAC-4E14-971F-120D39059CE6}" destId="{BA61F01E-7AC1-442F-B80D-536B91F20123}" srcOrd="4" destOrd="0" parTransId="{5F74AC63-CD30-47A6-A456-799192914D74}" sibTransId="{9F7CBA79-AEA3-4B3F-A1F3-6B78BEBD3351}"/>
    <dgm:cxn modelId="{E71D1889-FCE8-4741-9064-0731000F39A9}" type="presOf" srcId="{F8E81844-0A4C-4EC9-AEEE-48B5827D6E5C}" destId="{4C616AA9-7BF0-44E3-ABF2-151D1353A75B}" srcOrd="0" destOrd="0" presId="urn:microsoft.com/office/officeart/2005/8/layout/list1"/>
    <dgm:cxn modelId="{6C46A89D-62C7-428D-B046-0E901FC6AF26}" srcId="{CB7B26FF-6CAC-4E14-971F-120D39059CE6}" destId="{162CF515-BABB-4434-BE9F-48873B19790E}" srcOrd="0" destOrd="0" parTransId="{5B04B7EA-2745-44C8-8EDE-5C16779C2758}" sibTransId="{53AA2DB4-0A48-4AF9-9C3E-73D413A81189}"/>
    <dgm:cxn modelId="{EA3DFC9D-0C7F-4221-9D59-4C74AE904F57}" type="presOf" srcId="{162CF515-BABB-4434-BE9F-48873B19790E}" destId="{EF8983A9-45FB-4C4E-BD13-48EF2A2A1045}" srcOrd="0" destOrd="0" presId="urn:microsoft.com/office/officeart/2005/8/layout/list1"/>
    <dgm:cxn modelId="{593986A5-3822-4E4C-8095-34C8F65D95AD}" type="presOf" srcId="{C990A42F-04C4-419D-A2C8-2B0391C8A48C}" destId="{EA856A9E-EC21-460D-BAA3-7D5AD7E340B7}" srcOrd="0" destOrd="0" presId="urn:microsoft.com/office/officeart/2005/8/layout/list1"/>
    <dgm:cxn modelId="{645664AD-1D5C-40D1-931D-583D3EC4F3EE}" type="presOf" srcId="{CB7B26FF-6CAC-4E14-971F-120D39059CE6}" destId="{6A96282C-1627-413F-89BA-54C53B19BC4F}" srcOrd="0" destOrd="0" presId="urn:microsoft.com/office/officeart/2005/8/layout/list1"/>
    <dgm:cxn modelId="{6CBCF5AE-7188-4E4D-8A53-9CCAE1856BDC}" srcId="{CB7B26FF-6CAC-4E14-971F-120D39059CE6}" destId="{C990A42F-04C4-419D-A2C8-2B0391C8A48C}" srcOrd="2" destOrd="0" parTransId="{4B08C0AE-DFB7-404A-A490-C3CD936C716C}" sibTransId="{A8BF6AD1-D73C-4BFA-9012-299FE77D024B}"/>
    <dgm:cxn modelId="{02954BCC-D235-4708-AEDA-50853AD5852F}" type="presOf" srcId="{B23FB34D-3133-4D89-B401-5E19CD79229C}" destId="{2342BC79-185E-4475-AB28-9BB0FFCC22A1}" srcOrd="0" destOrd="0" presId="urn:microsoft.com/office/officeart/2005/8/layout/list1"/>
    <dgm:cxn modelId="{942AA2D7-A6B9-4A01-BB5A-258ED4413B36}" type="presOf" srcId="{B23FB34D-3133-4D89-B401-5E19CD79229C}" destId="{32C47C20-2CDB-417E-A3C9-6D67C3668440}" srcOrd="1" destOrd="0" presId="urn:microsoft.com/office/officeart/2005/8/layout/list1"/>
    <dgm:cxn modelId="{DC529DE9-CE41-4C28-8638-70A0E22134B2}" type="presOf" srcId="{BA61F01E-7AC1-442F-B80D-536B91F20123}" destId="{FDA51C44-ACAC-4DB1-8D89-B6D9B43C5550}" srcOrd="1" destOrd="0" presId="urn:microsoft.com/office/officeart/2005/8/layout/list1"/>
    <dgm:cxn modelId="{F0B302F4-E09D-4F57-942E-70EFBA412986}" srcId="{CB7B26FF-6CAC-4E14-971F-120D39059CE6}" destId="{B23FB34D-3133-4D89-B401-5E19CD79229C}" srcOrd="3" destOrd="0" parTransId="{4DB15FDD-E04E-46AE-A040-75D2E14647C2}" sibTransId="{FC47EB0B-2EF6-4927-BB2D-998DC59227ED}"/>
    <dgm:cxn modelId="{C9769B34-831B-46F1-B9EC-3C8C197EFAAB}" type="presParOf" srcId="{6A96282C-1627-413F-89BA-54C53B19BC4F}" destId="{102DD672-7445-40BD-905E-9D39FE2F9174}" srcOrd="0" destOrd="0" presId="urn:microsoft.com/office/officeart/2005/8/layout/list1"/>
    <dgm:cxn modelId="{C7F7616D-5CFC-4F9E-82BA-7EF0013EFD28}" type="presParOf" srcId="{102DD672-7445-40BD-905E-9D39FE2F9174}" destId="{EF8983A9-45FB-4C4E-BD13-48EF2A2A1045}" srcOrd="0" destOrd="0" presId="urn:microsoft.com/office/officeart/2005/8/layout/list1"/>
    <dgm:cxn modelId="{E5C32EA7-4785-4753-8EB5-DD70A295211E}" type="presParOf" srcId="{102DD672-7445-40BD-905E-9D39FE2F9174}" destId="{F45AD6FE-D79E-4CAD-8A26-1157A978EE02}" srcOrd="1" destOrd="0" presId="urn:microsoft.com/office/officeart/2005/8/layout/list1"/>
    <dgm:cxn modelId="{45C3C3DB-88DA-45BA-9408-DE488738AE72}" type="presParOf" srcId="{6A96282C-1627-413F-89BA-54C53B19BC4F}" destId="{59B4A4EF-326F-4426-B19C-FD265510F755}" srcOrd="1" destOrd="0" presId="urn:microsoft.com/office/officeart/2005/8/layout/list1"/>
    <dgm:cxn modelId="{A44AE1A4-614D-43AD-ABF1-52FFA632E13C}" type="presParOf" srcId="{6A96282C-1627-413F-89BA-54C53B19BC4F}" destId="{58347F6C-73BF-4CA6-9155-8536AF465042}" srcOrd="2" destOrd="0" presId="urn:microsoft.com/office/officeart/2005/8/layout/list1"/>
    <dgm:cxn modelId="{41883735-F71E-4692-B994-001AC9B1100E}" type="presParOf" srcId="{6A96282C-1627-413F-89BA-54C53B19BC4F}" destId="{C1535A07-43D9-4A1A-9DAD-822E3C55AB5A}" srcOrd="3" destOrd="0" presId="urn:microsoft.com/office/officeart/2005/8/layout/list1"/>
    <dgm:cxn modelId="{9B4B3C5F-9C2C-450C-A03C-62ABDCCA3DD2}" type="presParOf" srcId="{6A96282C-1627-413F-89BA-54C53B19BC4F}" destId="{A9321106-A77E-4B12-B8F7-27B12DB1DD3D}" srcOrd="4" destOrd="0" presId="urn:microsoft.com/office/officeart/2005/8/layout/list1"/>
    <dgm:cxn modelId="{5462596F-81AB-49DA-8EE0-5E85B9E55751}" type="presParOf" srcId="{A9321106-A77E-4B12-B8F7-27B12DB1DD3D}" destId="{D16BBD41-DD03-4349-B805-C0B146B16006}" srcOrd="0" destOrd="0" presId="urn:microsoft.com/office/officeart/2005/8/layout/list1"/>
    <dgm:cxn modelId="{6B9F93C7-E524-4665-BA6F-951758F1EBF2}" type="presParOf" srcId="{A9321106-A77E-4B12-B8F7-27B12DB1DD3D}" destId="{89EC695E-A653-499E-B62D-D3C824CBC590}" srcOrd="1" destOrd="0" presId="urn:microsoft.com/office/officeart/2005/8/layout/list1"/>
    <dgm:cxn modelId="{BCBB1FA1-3F6E-4F22-BD80-6F76914A8652}" type="presParOf" srcId="{6A96282C-1627-413F-89BA-54C53B19BC4F}" destId="{66408E1C-41AD-43F0-89D3-125826B8B2FE}" srcOrd="5" destOrd="0" presId="urn:microsoft.com/office/officeart/2005/8/layout/list1"/>
    <dgm:cxn modelId="{989EC708-DC2F-47F4-98F6-EA2566329790}" type="presParOf" srcId="{6A96282C-1627-413F-89BA-54C53B19BC4F}" destId="{4F51AE5C-782C-427C-897A-6AC06E0F1D23}" srcOrd="6" destOrd="0" presId="urn:microsoft.com/office/officeart/2005/8/layout/list1"/>
    <dgm:cxn modelId="{0ED9F200-9DD0-4420-B6B9-733EE0966EB1}" type="presParOf" srcId="{6A96282C-1627-413F-89BA-54C53B19BC4F}" destId="{0E990ACC-5919-4240-9A04-2DCD4B2FA974}" srcOrd="7" destOrd="0" presId="urn:microsoft.com/office/officeart/2005/8/layout/list1"/>
    <dgm:cxn modelId="{6ECCB88B-37F2-4B50-9123-5314AC74C492}" type="presParOf" srcId="{6A96282C-1627-413F-89BA-54C53B19BC4F}" destId="{766EFD6C-2854-4226-A444-27D9981B79B1}" srcOrd="8" destOrd="0" presId="urn:microsoft.com/office/officeart/2005/8/layout/list1"/>
    <dgm:cxn modelId="{470A8A3A-16A5-477F-84DA-96579827BB6B}" type="presParOf" srcId="{766EFD6C-2854-4226-A444-27D9981B79B1}" destId="{EA856A9E-EC21-460D-BAA3-7D5AD7E340B7}" srcOrd="0" destOrd="0" presId="urn:microsoft.com/office/officeart/2005/8/layout/list1"/>
    <dgm:cxn modelId="{D32F6E91-E295-432F-9044-9A5BC0EA51E5}" type="presParOf" srcId="{766EFD6C-2854-4226-A444-27D9981B79B1}" destId="{763D35FA-31B3-4641-9632-352F66AC9170}" srcOrd="1" destOrd="0" presId="urn:microsoft.com/office/officeart/2005/8/layout/list1"/>
    <dgm:cxn modelId="{677A5F2C-1E1F-4C79-A5FB-E0DD950B1D93}" type="presParOf" srcId="{6A96282C-1627-413F-89BA-54C53B19BC4F}" destId="{86C2A0EB-34C8-4BE7-A8C0-F9B1B088CF66}" srcOrd="9" destOrd="0" presId="urn:microsoft.com/office/officeart/2005/8/layout/list1"/>
    <dgm:cxn modelId="{A0DA070A-C50B-4C29-87B6-7B4D79C8AC2E}" type="presParOf" srcId="{6A96282C-1627-413F-89BA-54C53B19BC4F}" destId="{F0834611-C656-411C-A4F8-A5A10C47AA12}" srcOrd="10" destOrd="0" presId="urn:microsoft.com/office/officeart/2005/8/layout/list1"/>
    <dgm:cxn modelId="{4322112C-B57C-444B-8A64-A6A2B78A9B0E}" type="presParOf" srcId="{6A96282C-1627-413F-89BA-54C53B19BC4F}" destId="{26D5DD65-7CEF-481B-8170-034E6013D25E}" srcOrd="11" destOrd="0" presId="urn:microsoft.com/office/officeart/2005/8/layout/list1"/>
    <dgm:cxn modelId="{260A45A6-076E-47FC-98BE-0B1DBB669D8C}" type="presParOf" srcId="{6A96282C-1627-413F-89BA-54C53B19BC4F}" destId="{B4ED63BA-C0D0-430D-84E0-37FC351C142D}" srcOrd="12" destOrd="0" presId="urn:microsoft.com/office/officeart/2005/8/layout/list1"/>
    <dgm:cxn modelId="{F1AA0EA9-C421-40D9-AA87-B8FB47DDBE98}" type="presParOf" srcId="{B4ED63BA-C0D0-430D-84E0-37FC351C142D}" destId="{2342BC79-185E-4475-AB28-9BB0FFCC22A1}" srcOrd="0" destOrd="0" presId="urn:microsoft.com/office/officeart/2005/8/layout/list1"/>
    <dgm:cxn modelId="{B5AFBC31-03AB-411A-A433-C92D773320C5}" type="presParOf" srcId="{B4ED63BA-C0D0-430D-84E0-37FC351C142D}" destId="{32C47C20-2CDB-417E-A3C9-6D67C3668440}" srcOrd="1" destOrd="0" presId="urn:microsoft.com/office/officeart/2005/8/layout/list1"/>
    <dgm:cxn modelId="{4DB0741F-07FE-45FE-8CF8-9B7BD839DF9E}" type="presParOf" srcId="{6A96282C-1627-413F-89BA-54C53B19BC4F}" destId="{39E8EE7A-97E3-4C8E-B547-14808B92D524}" srcOrd="13" destOrd="0" presId="urn:microsoft.com/office/officeart/2005/8/layout/list1"/>
    <dgm:cxn modelId="{4FB2E60F-CB9C-4D1D-8278-7BD30ECCDD80}" type="presParOf" srcId="{6A96282C-1627-413F-89BA-54C53B19BC4F}" destId="{CB89E389-4229-4CA4-AE95-BF1F59768C23}" srcOrd="14" destOrd="0" presId="urn:microsoft.com/office/officeart/2005/8/layout/list1"/>
    <dgm:cxn modelId="{40C5B1C4-1F43-4277-88F2-84834A5A9AF1}" type="presParOf" srcId="{6A96282C-1627-413F-89BA-54C53B19BC4F}" destId="{E3F98051-E191-44A8-AA7A-315227A25172}" srcOrd="15" destOrd="0" presId="urn:microsoft.com/office/officeart/2005/8/layout/list1"/>
    <dgm:cxn modelId="{A0488911-7D13-4A9E-92DE-5130BA55274F}" type="presParOf" srcId="{6A96282C-1627-413F-89BA-54C53B19BC4F}" destId="{F599E747-9FF5-4F8E-8FEE-EE2B6DB54266}" srcOrd="16" destOrd="0" presId="urn:microsoft.com/office/officeart/2005/8/layout/list1"/>
    <dgm:cxn modelId="{04FA464B-E59B-4E37-97A4-BA161310B43F}" type="presParOf" srcId="{F599E747-9FF5-4F8E-8FEE-EE2B6DB54266}" destId="{8DACEE00-E563-40FF-BC61-2933F381F685}" srcOrd="0" destOrd="0" presId="urn:microsoft.com/office/officeart/2005/8/layout/list1"/>
    <dgm:cxn modelId="{5FC34392-4585-4174-86A8-860E6A760434}" type="presParOf" srcId="{F599E747-9FF5-4F8E-8FEE-EE2B6DB54266}" destId="{FDA51C44-ACAC-4DB1-8D89-B6D9B43C5550}" srcOrd="1" destOrd="0" presId="urn:microsoft.com/office/officeart/2005/8/layout/list1"/>
    <dgm:cxn modelId="{C0C1AC90-3A0B-4288-8532-AF99CF4106FB}" type="presParOf" srcId="{6A96282C-1627-413F-89BA-54C53B19BC4F}" destId="{5336D723-9F31-470C-AD21-96A315F61C05}" srcOrd="17" destOrd="0" presId="urn:microsoft.com/office/officeart/2005/8/layout/list1"/>
    <dgm:cxn modelId="{43AA8808-3D98-4E80-9A1F-FE3A48853EA3}" type="presParOf" srcId="{6A96282C-1627-413F-89BA-54C53B19BC4F}" destId="{628C39E6-39B5-4E45-99D9-391009090BFE}" srcOrd="18" destOrd="0" presId="urn:microsoft.com/office/officeart/2005/8/layout/list1"/>
    <dgm:cxn modelId="{FAEC9111-6ADB-4D0B-871D-2AB6F9471ADE}" type="presParOf" srcId="{6A96282C-1627-413F-89BA-54C53B19BC4F}" destId="{5D83996D-A251-4A55-B8AC-50F005F3969D}" srcOrd="19" destOrd="0" presId="urn:microsoft.com/office/officeart/2005/8/layout/list1"/>
    <dgm:cxn modelId="{C9D89847-8EF7-4A9D-9102-DE808A610C53}" type="presParOf" srcId="{6A96282C-1627-413F-89BA-54C53B19BC4F}" destId="{A4E7A901-9519-4251-BFDE-D1FAD87AEB88}" srcOrd="20" destOrd="0" presId="urn:microsoft.com/office/officeart/2005/8/layout/list1"/>
    <dgm:cxn modelId="{CB9425E2-35EC-4E34-8C9B-481AB0F39858}" type="presParOf" srcId="{A4E7A901-9519-4251-BFDE-D1FAD87AEB88}" destId="{4C616AA9-7BF0-44E3-ABF2-151D1353A75B}" srcOrd="0" destOrd="0" presId="urn:microsoft.com/office/officeart/2005/8/layout/list1"/>
    <dgm:cxn modelId="{F5AFAA96-9697-45AC-AC6A-B8F4513D54DA}" type="presParOf" srcId="{A4E7A901-9519-4251-BFDE-D1FAD87AEB88}" destId="{5C79EF4F-BFC8-4156-A2B0-4A77DDC7F7B9}" srcOrd="1" destOrd="0" presId="urn:microsoft.com/office/officeart/2005/8/layout/list1"/>
    <dgm:cxn modelId="{0AF980A2-CF89-4482-B5B2-C28DEF15B216}" type="presParOf" srcId="{6A96282C-1627-413F-89BA-54C53B19BC4F}" destId="{8C6184CB-C474-4402-A1F8-92E0F3D82ACC}" srcOrd="21" destOrd="0" presId="urn:microsoft.com/office/officeart/2005/8/layout/list1"/>
    <dgm:cxn modelId="{CB8A82E2-3C6B-47AB-BB14-0A13861F5C5D}" type="presParOf" srcId="{6A96282C-1627-413F-89BA-54C53B19BC4F}" destId="{CD5D26E0-1EBD-48A2-A198-9D0AE308EFE0}" srcOrd="2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76149A02-CE15-4BFB-937F-4A4A4791E129}"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A24CA0BB-A0E9-4E4C-B36E-57BAA1CA22FD}">
      <dgm:prSet phldrT="[Text]" custT="1"/>
      <dgm:spPr>
        <a:scene3d>
          <a:camera prst="orthographicFront"/>
          <a:lightRig rig="threePt" dir="t"/>
        </a:scene3d>
        <a:sp3d>
          <a:bevelT prst="angle"/>
        </a:sp3d>
      </dgm:spPr>
      <dgm:t>
        <a:bodyPr/>
        <a:lstStyle/>
        <a:p>
          <a:pPr>
            <a:buNone/>
          </a:pPr>
          <a:r>
            <a:rPr lang="en-US" sz="3600" dirty="0"/>
            <a:t>Replicated tables should…</a:t>
          </a:r>
          <a:endParaRPr lang="es-ES" sz="3600" dirty="0"/>
        </a:p>
      </dgm:t>
    </dgm:pt>
    <dgm:pt modelId="{76E4063A-643C-4F84-9FCF-8AD023E16D0B}" type="parTrans" cxnId="{0364E689-8716-4A05-9174-F6CE32D2F9D6}">
      <dgm:prSet/>
      <dgm:spPr/>
      <dgm:t>
        <a:bodyPr/>
        <a:lstStyle/>
        <a:p>
          <a:endParaRPr lang="es-ES"/>
        </a:p>
      </dgm:t>
    </dgm:pt>
    <dgm:pt modelId="{81B18184-4666-4931-8DC2-E7D11D50169C}" type="sibTrans" cxnId="{0364E689-8716-4A05-9174-F6CE32D2F9D6}">
      <dgm:prSet/>
      <dgm:spPr/>
      <dgm:t>
        <a:bodyPr/>
        <a:lstStyle/>
        <a:p>
          <a:endParaRPr lang="es-ES"/>
        </a:p>
      </dgm:t>
    </dgm:pt>
    <dgm:pt modelId="{3E573D52-CF05-42DE-87B6-2A68D9E19B2E}">
      <dgm:prSet custT="1"/>
      <dgm:spPr/>
      <dgm:t>
        <a:bodyPr/>
        <a:lstStyle/>
        <a:p>
          <a:r>
            <a:rPr lang="en-US" sz="2800" dirty="0">
              <a:latin typeface="+mn-lt"/>
            </a:rPr>
            <a:t>Be less than 2GB</a:t>
          </a:r>
        </a:p>
      </dgm:t>
    </dgm:pt>
    <dgm:pt modelId="{80ADCE91-F161-42C8-A966-E87F02812325}" type="parTrans" cxnId="{DDBC2CEE-CA17-4807-A332-6E50ED7FD025}">
      <dgm:prSet/>
      <dgm:spPr/>
      <dgm:t>
        <a:bodyPr/>
        <a:lstStyle/>
        <a:p>
          <a:endParaRPr lang="es-ES"/>
        </a:p>
      </dgm:t>
    </dgm:pt>
    <dgm:pt modelId="{4A446D59-16D8-4C5E-AF14-BA45BE9D2538}" type="sibTrans" cxnId="{DDBC2CEE-CA17-4807-A332-6E50ED7FD025}">
      <dgm:prSet/>
      <dgm:spPr/>
      <dgm:t>
        <a:bodyPr/>
        <a:lstStyle/>
        <a:p>
          <a:endParaRPr lang="es-ES"/>
        </a:p>
      </dgm:t>
    </dgm:pt>
    <dgm:pt modelId="{FFA1A286-E20F-436F-A48F-3540AB98CA61}">
      <dgm:prSet custT="1"/>
      <dgm:spPr/>
      <dgm:t>
        <a:bodyPr/>
        <a:lstStyle/>
        <a:p>
          <a:r>
            <a:rPr lang="en-US" sz="2800" dirty="0">
              <a:latin typeface="+mn-lt"/>
            </a:rPr>
            <a:t>Be used to eliminate data movement due to distribution incompatibility </a:t>
          </a:r>
        </a:p>
      </dgm:t>
    </dgm:pt>
    <dgm:pt modelId="{BC596DE9-A813-4D32-A2BF-2CC5E54A0E73}" type="parTrans" cxnId="{4D2FA116-C343-4A08-89E4-4E6CDE64AA19}">
      <dgm:prSet/>
      <dgm:spPr/>
      <dgm:t>
        <a:bodyPr/>
        <a:lstStyle/>
        <a:p>
          <a:endParaRPr lang="es-ES"/>
        </a:p>
      </dgm:t>
    </dgm:pt>
    <dgm:pt modelId="{AA132867-9D74-43F9-AD9C-6590CC9BD075}" type="sibTrans" cxnId="{4D2FA116-C343-4A08-89E4-4E6CDE64AA19}">
      <dgm:prSet/>
      <dgm:spPr/>
      <dgm:t>
        <a:bodyPr/>
        <a:lstStyle/>
        <a:p>
          <a:endParaRPr lang="es-ES"/>
        </a:p>
      </dgm:t>
    </dgm:pt>
    <dgm:pt modelId="{6C3F848D-42D5-4B65-9317-E5DAEF70D26C}">
      <dgm:prSet custT="1"/>
      <dgm:spPr/>
      <dgm:t>
        <a:bodyPr/>
        <a:lstStyle/>
        <a:p>
          <a:r>
            <a:rPr lang="en-US" sz="2800" dirty="0">
              <a:latin typeface="+mn-lt"/>
            </a:rPr>
            <a:t>Be used instead of Round Robin for small dimensions and other reference data sets</a:t>
          </a:r>
        </a:p>
      </dgm:t>
    </dgm:pt>
    <dgm:pt modelId="{28716F73-E294-4D23-A6AB-EABC154CBA27}" type="parTrans" cxnId="{E0F1A6B8-BB07-4B66-BB58-41214B24190A}">
      <dgm:prSet/>
      <dgm:spPr/>
      <dgm:t>
        <a:bodyPr/>
        <a:lstStyle/>
        <a:p>
          <a:endParaRPr lang="es-ES"/>
        </a:p>
      </dgm:t>
    </dgm:pt>
    <dgm:pt modelId="{402CB391-B86B-48D3-B9E4-B147F0B2681B}" type="sibTrans" cxnId="{E0F1A6B8-BB07-4B66-BB58-41214B24190A}">
      <dgm:prSet/>
      <dgm:spPr/>
      <dgm:t>
        <a:bodyPr/>
        <a:lstStyle/>
        <a:p>
          <a:endParaRPr lang="es-ES"/>
        </a:p>
      </dgm:t>
    </dgm:pt>
    <dgm:pt modelId="{30329270-2673-4A13-9B4D-E07C41663C7F}" type="pres">
      <dgm:prSet presAssocID="{76149A02-CE15-4BFB-937F-4A4A4791E129}" presName="linear" presStyleCnt="0">
        <dgm:presLayoutVars>
          <dgm:animLvl val="lvl"/>
          <dgm:resizeHandles val="exact"/>
        </dgm:presLayoutVars>
      </dgm:prSet>
      <dgm:spPr/>
    </dgm:pt>
    <dgm:pt modelId="{B8B590C6-2C8F-4BA7-BC29-78EA11BD9210}" type="pres">
      <dgm:prSet presAssocID="{A24CA0BB-A0E9-4E4C-B36E-57BAA1CA22FD}" presName="parentText" presStyleLbl="node1" presStyleIdx="0" presStyleCnt="1" custLinFactNeighborX="-33916" custLinFactNeighborY="-3496">
        <dgm:presLayoutVars>
          <dgm:chMax val="0"/>
          <dgm:bulletEnabled val="1"/>
        </dgm:presLayoutVars>
      </dgm:prSet>
      <dgm:spPr/>
    </dgm:pt>
    <dgm:pt modelId="{FE83189F-161B-4D20-B504-72C053A21E91}" type="pres">
      <dgm:prSet presAssocID="{A24CA0BB-A0E9-4E4C-B36E-57BAA1CA22FD}" presName="childText" presStyleLbl="revTx" presStyleIdx="0" presStyleCnt="1">
        <dgm:presLayoutVars>
          <dgm:bulletEnabled val="1"/>
        </dgm:presLayoutVars>
      </dgm:prSet>
      <dgm:spPr/>
    </dgm:pt>
  </dgm:ptLst>
  <dgm:cxnLst>
    <dgm:cxn modelId="{83E34510-9D4F-42FC-A43F-698523C6A0D6}" type="presOf" srcId="{76149A02-CE15-4BFB-937F-4A4A4791E129}" destId="{30329270-2673-4A13-9B4D-E07C41663C7F}" srcOrd="0" destOrd="0" presId="urn:microsoft.com/office/officeart/2005/8/layout/vList2"/>
    <dgm:cxn modelId="{4D2FA116-C343-4A08-89E4-4E6CDE64AA19}" srcId="{A24CA0BB-A0E9-4E4C-B36E-57BAA1CA22FD}" destId="{FFA1A286-E20F-436F-A48F-3540AB98CA61}" srcOrd="1" destOrd="0" parTransId="{BC596DE9-A813-4D32-A2BF-2CC5E54A0E73}" sibTransId="{AA132867-9D74-43F9-AD9C-6590CC9BD075}"/>
    <dgm:cxn modelId="{AF4EA421-7FD0-42BC-BF0B-7612D388C30D}" type="presOf" srcId="{3E573D52-CF05-42DE-87B6-2A68D9E19B2E}" destId="{FE83189F-161B-4D20-B504-72C053A21E91}" srcOrd="0" destOrd="0" presId="urn:microsoft.com/office/officeart/2005/8/layout/vList2"/>
    <dgm:cxn modelId="{123AEC7F-C1A5-42D3-8A79-B07E0FB6BF4B}" type="presOf" srcId="{FFA1A286-E20F-436F-A48F-3540AB98CA61}" destId="{FE83189F-161B-4D20-B504-72C053A21E91}" srcOrd="0" destOrd="1" presId="urn:microsoft.com/office/officeart/2005/8/layout/vList2"/>
    <dgm:cxn modelId="{0364E689-8716-4A05-9174-F6CE32D2F9D6}" srcId="{76149A02-CE15-4BFB-937F-4A4A4791E129}" destId="{A24CA0BB-A0E9-4E4C-B36E-57BAA1CA22FD}" srcOrd="0" destOrd="0" parTransId="{76E4063A-643C-4F84-9FCF-8AD023E16D0B}" sibTransId="{81B18184-4666-4931-8DC2-E7D11D50169C}"/>
    <dgm:cxn modelId="{E0F1A6B8-BB07-4B66-BB58-41214B24190A}" srcId="{A24CA0BB-A0E9-4E4C-B36E-57BAA1CA22FD}" destId="{6C3F848D-42D5-4B65-9317-E5DAEF70D26C}" srcOrd="2" destOrd="0" parTransId="{28716F73-E294-4D23-A6AB-EABC154CBA27}" sibTransId="{402CB391-B86B-48D3-B9E4-B147F0B2681B}"/>
    <dgm:cxn modelId="{AD6F78BB-1461-4239-B646-3D2D4BACBBBB}" type="presOf" srcId="{A24CA0BB-A0E9-4E4C-B36E-57BAA1CA22FD}" destId="{B8B590C6-2C8F-4BA7-BC29-78EA11BD9210}" srcOrd="0" destOrd="0" presId="urn:microsoft.com/office/officeart/2005/8/layout/vList2"/>
    <dgm:cxn modelId="{3890DDE2-8E31-4C7F-8330-D808A46DBB53}" type="presOf" srcId="{6C3F848D-42D5-4B65-9317-E5DAEF70D26C}" destId="{FE83189F-161B-4D20-B504-72C053A21E91}" srcOrd="0" destOrd="2" presId="urn:microsoft.com/office/officeart/2005/8/layout/vList2"/>
    <dgm:cxn modelId="{DDBC2CEE-CA17-4807-A332-6E50ED7FD025}" srcId="{A24CA0BB-A0E9-4E4C-B36E-57BAA1CA22FD}" destId="{3E573D52-CF05-42DE-87B6-2A68D9E19B2E}" srcOrd="0" destOrd="0" parTransId="{80ADCE91-F161-42C8-A966-E87F02812325}" sibTransId="{4A446D59-16D8-4C5E-AF14-BA45BE9D2538}"/>
    <dgm:cxn modelId="{0B786443-8AD5-4944-8D60-DC8A7308C15C}" type="presParOf" srcId="{30329270-2673-4A13-9B4D-E07C41663C7F}" destId="{B8B590C6-2C8F-4BA7-BC29-78EA11BD9210}" srcOrd="0" destOrd="0" presId="urn:microsoft.com/office/officeart/2005/8/layout/vList2"/>
    <dgm:cxn modelId="{93B4F73D-D637-4449-84C1-E0A64418237B}" type="presParOf" srcId="{30329270-2673-4A13-9B4D-E07C41663C7F}" destId="{FE83189F-161B-4D20-B504-72C053A21E91}"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A217FEF-010C-4FB6-ADBE-8C9B3348D0CA}"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6DEC1CB8-87EC-434C-B5FF-E22DA3FF2021}">
      <dgm:prSet phldrT="[Text]" custT="1"/>
      <dgm:spPr/>
      <dgm:t>
        <a:bodyPr/>
        <a:lstStyle/>
        <a:p>
          <a:pPr>
            <a:buNone/>
          </a:pPr>
          <a:r>
            <a:rPr lang="en-US" sz="3600" dirty="0"/>
            <a:t>Avoid Replicated tables if…</a:t>
          </a:r>
          <a:endParaRPr lang="es-ES" sz="3600" dirty="0"/>
        </a:p>
      </dgm:t>
    </dgm:pt>
    <dgm:pt modelId="{378BA62E-EE81-4B09-9137-1FEC6502A815}" type="parTrans" cxnId="{28C730AE-D2AB-4E42-BE52-5EB06EE80968}">
      <dgm:prSet/>
      <dgm:spPr/>
      <dgm:t>
        <a:bodyPr/>
        <a:lstStyle/>
        <a:p>
          <a:endParaRPr lang="es-ES"/>
        </a:p>
      </dgm:t>
    </dgm:pt>
    <dgm:pt modelId="{A34C2BE0-AFAB-4888-BF98-BDE3A6227B79}" type="sibTrans" cxnId="{28C730AE-D2AB-4E42-BE52-5EB06EE80968}">
      <dgm:prSet/>
      <dgm:spPr/>
      <dgm:t>
        <a:bodyPr/>
        <a:lstStyle/>
        <a:p>
          <a:endParaRPr lang="es-ES"/>
        </a:p>
      </dgm:t>
    </dgm:pt>
    <dgm:pt modelId="{FCA09AA2-033D-40EA-B488-DF4B0C7B9F8E}">
      <dgm:prSet custT="1"/>
      <dgm:spPr/>
      <dgm:t>
        <a:bodyPr/>
        <a:lstStyle/>
        <a:p>
          <a:r>
            <a:rPr lang="en-US" sz="2800" dirty="0">
              <a:latin typeface="+mn-lt"/>
            </a:rPr>
            <a:t>The table has frequent updates or deletes</a:t>
          </a:r>
        </a:p>
      </dgm:t>
    </dgm:pt>
    <dgm:pt modelId="{ED2E340C-093A-499D-A960-50AFB9E31EA2}" type="parTrans" cxnId="{B42C2354-62A0-4603-B66A-58C6AB60EC6D}">
      <dgm:prSet/>
      <dgm:spPr/>
      <dgm:t>
        <a:bodyPr/>
        <a:lstStyle/>
        <a:p>
          <a:endParaRPr lang="es-ES"/>
        </a:p>
      </dgm:t>
    </dgm:pt>
    <dgm:pt modelId="{0A3FC58A-91A9-4EF2-BC26-CBC3FDB9ADAC}" type="sibTrans" cxnId="{B42C2354-62A0-4603-B66A-58C6AB60EC6D}">
      <dgm:prSet/>
      <dgm:spPr/>
      <dgm:t>
        <a:bodyPr/>
        <a:lstStyle/>
        <a:p>
          <a:endParaRPr lang="es-ES"/>
        </a:p>
      </dgm:t>
    </dgm:pt>
    <dgm:pt modelId="{AFBD8680-B889-4FB1-9599-39DDF0BC9373}">
      <dgm:prSet custT="1"/>
      <dgm:spPr/>
      <dgm:t>
        <a:bodyPr/>
        <a:lstStyle/>
        <a:p>
          <a:r>
            <a:rPr lang="en-US" sz="2800" dirty="0">
              <a:latin typeface="+mn-lt"/>
            </a:rPr>
            <a:t>The SQL Pool instance will be scaled frequently</a:t>
          </a:r>
        </a:p>
      </dgm:t>
    </dgm:pt>
    <dgm:pt modelId="{94E7F6FA-47AA-4002-8005-6BF664E5E53D}" type="parTrans" cxnId="{AA85E5D1-5407-453D-985F-298132B81330}">
      <dgm:prSet/>
      <dgm:spPr/>
      <dgm:t>
        <a:bodyPr/>
        <a:lstStyle/>
        <a:p>
          <a:endParaRPr lang="es-ES"/>
        </a:p>
      </dgm:t>
    </dgm:pt>
    <dgm:pt modelId="{97AE373F-287B-4838-8618-9B11249BC1B3}" type="sibTrans" cxnId="{AA85E5D1-5407-453D-985F-298132B81330}">
      <dgm:prSet/>
      <dgm:spPr/>
      <dgm:t>
        <a:bodyPr/>
        <a:lstStyle/>
        <a:p>
          <a:endParaRPr lang="es-ES"/>
        </a:p>
      </dgm:t>
    </dgm:pt>
    <dgm:pt modelId="{A0E9F32E-2EC8-40EA-AB9F-A5EE8BA75C74}">
      <dgm:prSet custT="1"/>
      <dgm:spPr/>
      <dgm:t>
        <a:bodyPr/>
        <a:lstStyle/>
        <a:p>
          <a:r>
            <a:rPr lang="en-US" sz="2800" dirty="0">
              <a:latin typeface="+mn-lt"/>
            </a:rPr>
            <a:t>The table has a large number of columns, with few referenced frequently (consider distributing and indexing on the commonly used columns)</a:t>
          </a:r>
        </a:p>
      </dgm:t>
    </dgm:pt>
    <dgm:pt modelId="{6D677E62-8D5F-4EEA-AFC3-A1A8531360EF}" type="parTrans" cxnId="{CCC8AEB5-5F30-4D1E-B600-6A3C33C0FFEC}">
      <dgm:prSet/>
      <dgm:spPr/>
      <dgm:t>
        <a:bodyPr/>
        <a:lstStyle/>
        <a:p>
          <a:endParaRPr lang="es-ES"/>
        </a:p>
      </dgm:t>
    </dgm:pt>
    <dgm:pt modelId="{92C1D9DE-4B5D-42D8-AE26-45897131E299}" type="sibTrans" cxnId="{CCC8AEB5-5F30-4D1E-B600-6A3C33C0FFEC}">
      <dgm:prSet/>
      <dgm:spPr/>
      <dgm:t>
        <a:bodyPr/>
        <a:lstStyle/>
        <a:p>
          <a:endParaRPr lang="es-ES"/>
        </a:p>
      </dgm:t>
    </dgm:pt>
    <dgm:pt modelId="{6675664D-D94B-4EBE-8C61-FDAF3B8092CD}" type="pres">
      <dgm:prSet presAssocID="{6A217FEF-010C-4FB6-ADBE-8C9B3348D0CA}" presName="linear" presStyleCnt="0">
        <dgm:presLayoutVars>
          <dgm:animLvl val="lvl"/>
          <dgm:resizeHandles val="exact"/>
        </dgm:presLayoutVars>
      </dgm:prSet>
      <dgm:spPr/>
    </dgm:pt>
    <dgm:pt modelId="{EA0CE856-2FF6-4EA6-97B0-8CC4C7BF5CDD}" type="pres">
      <dgm:prSet presAssocID="{6DEC1CB8-87EC-434C-B5FF-E22DA3FF2021}" presName="parentText" presStyleLbl="node1" presStyleIdx="0" presStyleCnt="1">
        <dgm:presLayoutVars>
          <dgm:chMax val="0"/>
          <dgm:bulletEnabled val="1"/>
        </dgm:presLayoutVars>
      </dgm:prSet>
      <dgm:spPr/>
    </dgm:pt>
    <dgm:pt modelId="{13FADA50-E7E4-4CCF-88E1-5EBC09048EFA}" type="pres">
      <dgm:prSet presAssocID="{6DEC1CB8-87EC-434C-B5FF-E22DA3FF2021}" presName="childText" presStyleLbl="revTx" presStyleIdx="0" presStyleCnt="1">
        <dgm:presLayoutVars>
          <dgm:bulletEnabled val="1"/>
        </dgm:presLayoutVars>
      </dgm:prSet>
      <dgm:spPr/>
    </dgm:pt>
  </dgm:ptLst>
  <dgm:cxnLst>
    <dgm:cxn modelId="{0CB49508-B88B-4AD9-B9E8-6E82287B18B5}" type="presOf" srcId="{A0E9F32E-2EC8-40EA-AB9F-A5EE8BA75C74}" destId="{13FADA50-E7E4-4CCF-88E1-5EBC09048EFA}" srcOrd="0" destOrd="2" presId="urn:microsoft.com/office/officeart/2005/8/layout/vList2"/>
    <dgm:cxn modelId="{6B5FE12D-97CD-4FEA-B4A6-022B305ECD5F}" type="presOf" srcId="{6A217FEF-010C-4FB6-ADBE-8C9B3348D0CA}" destId="{6675664D-D94B-4EBE-8C61-FDAF3B8092CD}" srcOrd="0" destOrd="0" presId="urn:microsoft.com/office/officeart/2005/8/layout/vList2"/>
    <dgm:cxn modelId="{B42C2354-62A0-4603-B66A-58C6AB60EC6D}" srcId="{6DEC1CB8-87EC-434C-B5FF-E22DA3FF2021}" destId="{FCA09AA2-033D-40EA-B488-DF4B0C7B9F8E}" srcOrd="0" destOrd="0" parTransId="{ED2E340C-093A-499D-A960-50AFB9E31EA2}" sibTransId="{0A3FC58A-91A9-4EF2-BC26-CBC3FDB9ADAC}"/>
    <dgm:cxn modelId="{49244491-B38F-49FD-92A2-94642AE5AA2E}" type="presOf" srcId="{FCA09AA2-033D-40EA-B488-DF4B0C7B9F8E}" destId="{13FADA50-E7E4-4CCF-88E1-5EBC09048EFA}" srcOrd="0" destOrd="0" presId="urn:microsoft.com/office/officeart/2005/8/layout/vList2"/>
    <dgm:cxn modelId="{28C730AE-D2AB-4E42-BE52-5EB06EE80968}" srcId="{6A217FEF-010C-4FB6-ADBE-8C9B3348D0CA}" destId="{6DEC1CB8-87EC-434C-B5FF-E22DA3FF2021}" srcOrd="0" destOrd="0" parTransId="{378BA62E-EE81-4B09-9137-1FEC6502A815}" sibTransId="{A34C2BE0-AFAB-4888-BF98-BDE3A6227B79}"/>
    <dgm:cxn modelId="{CCC8AEB5-5F30-4D1E-B600-6A3C33C0FFEC}" srcId="{6DEC1CB8-87EC-434C-B5FF-E22DA3FF2021}" destId="{A0E9F32E-2EC8-40EA-AB9F-A5EE8BA75C74}" srcOrd="2" destOrd="0" parTransId="{6D677E62-8D5F-4EEA-AFC3-A1A8531360EF}" sibTransId="{92C1D9DE-4B5D-42D8-AE26-45897131E299}"/>
    <dgm:cxn modelId="{F2AEDCC7-1335-42E8-AF37-A109B9933672}" type="presOf" srcId="{AFBD8680-B889-4FB1-9599-39DDF0BC9373}" destId="{13FADA50-E7E4-4CCF-88E1-5EBC09048EFA}" srcOrd="0" destOrd="1" presId="urn:microsoft.com/office/officeart/2005/8/layout/vList2"/>
    <dgm:cxn modelId="{C81CA3CB-2F92-4DAB-8417-A582CEA4610B}" type="presOf" srcId="{6DEC1CB8-87EC-434C-B5FF-E22DA3FF2021}" destId="{EA0CE856-2FF6-4EA6-97B0-8CC4C7BF5CDD}" srcOrd="0" destOrd="0" presId="urn:microsoft.com/office/officeart/2005/8/layout/vList2"/>
    <dgm:cxn modelId="{AA85E5D1-5407-453D-985F-298132B81330}" srcId="{6DEC1CB8-87EC-434C-B5FF-E22DA3FF2021}" destId="{AFBD8680-B889-4FB1-9599-39DDF0BC9373}" srcOrd="1" destOrd="0" parTransId="{94E7F6FA-47AA-4002-8005-6BF664E5E53D}" sibTransId="{97AE373F-287B-4838-8618-9B11249BC1B3}"/>
    <dgm:cxn modelId="{2C2C5E25-BD77-4EC7-8B43-6FCCCB73997B}" type="presParOf" srcId="{6675664D-D94B-4EBE-8C61-FDAF3B8092CD}" destId="{EA0CE856-2FF6-4EA6-97B0-8CC4C7BF5CDD}" srcOrd="0" destOrd="0" presId="urn:microsoft.com/office/officeart/2005/8/layout/vList2"/>
    <dgm:cxn modelId="{85C11878-338C-42CB-936A-519F51A5D5D7}" type="presParOf" srcId="{6675664D-D94B-4EBE-8C61-FDAF3B8092CD}" destId="{13FADA50-E7E4-4CCF-88E1-5EBC09048EFA}"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E49E1F-908B-4615-8C06-DC22CD77D493}"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F2E8A013-BC99-4844-A69B-34A66191275F}" type="pres">
      <dgm:prSet presAssocID="{F0E49E1F-908B-4615-8C06-DC22CD77D493}" presName="root" presStyleCnt="0">
        <dgm:presLayoutVars>
          <dgm:dir/>
          <dgm:resizeHandles val="exact"/>
        </dgm:presLayoutVars>
      </dgm:prSet>
      <dgm:spPr/>
    </dgm:pt>
    <dgm:pt modelId="{C0582367-7D39-4AA7-BCA6-E930BEDA79C3}" type="pres">
      <dgm:prSet presAssocID="{F0E49E1F-908B-4615-8C06-DC22CD77D493}" presName="container" presStyleCnt="0">
        <dgm:presLayoutVars>
          <dgm:dir/>
          <dgm:resizeHandles val="exact"/>
        </dgm:presLayoutVars>
      </dgm:prSet>
      <dgm:spPr/>
    </dgm:pt>
  </dgm:ptLst>
  <dgm:cxnLst>
    <dgm:cxn modelId="{BB2D0D8D-30F9-43C0-923A-D4AD4060EF68}" type="presOf" srcId="{F0E49E1F-908B-4615-8C06-DC22CD77D493}" destId="{F2E8A013-BC99-4844-A69B-34A66191275F}" srcOrd="0" destOrd="0" presId="urn:microsoft.com/office/officeart/2018/2/layout/IconCircleList"/>
    <dgm:cxn modelId="{D5E1D46F-E465-4CA2-8FF0-D181B29C8459}" type="presParOf" srcId="{F2E8A013-BC99-4844-A69B-34A66191275F}" destId="{C0582367-7D39-4AA7-BCA6-E930BEDA79C3}" srcOrd="0"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9137EB83-19E9-43F5-BCD6-ADCB027E8815}" type="doc">
      <dgm:prSet loTypeId="urn:microsoft.com/office/officeart/2005/8/layout/vList2" loCatId="list" qsTypeId="urn:microsoft.com/office/officeart/2005/8/quickstyle/simple2" qsCatId="simple" csTypeId="urn:microsoft.com/office/officeart/2005/8/colors/accent2_3" csCatId="accent2" phldr="1"/>
      <dgm:spPr/>
      <dgm:t>
        <a:bodyPr/>
        <a:lstStyle/>
        <a:p>
          <a:endParaRPr lang="es-ES"/>
        </a:p>
      </dgm:t>
    </dgm:pt>
    <dgm:pt modelId="{7CA48E3D-38E6-4098-8B4F-A0DB65E6291A}">
      <dgm:prSet phldrT="[Text]" custT="1"/>
      <dgm:spPr/>
      <dgm:t>
        <a:bodyPr/>
        <a:lstStyle/>
        <a:p>
          <a:r>
            <a:rPr lang="en-US" sz="2000" noProof="0" dirty="0"/>
            <a:t>SQL Pool maintains a master version of the table (round robin)</a:t>
          </a:r>
          <a:endParaRPr lang="en-US" sz="500" noProof="0" dirty="0"/>
        </a:p>
      </dgm:t>
    </dgm:pt>
    <dgm:pt modelId="{798AEAD9-F53B-496A-8D25-D6DEFBAC68CC}" type="parTrans" cxnId="{6CE39BDF-DBEC-452B-B018-578B711AA7CA}">
      <dgm:prSet/>
      <dgm:spPr/>
      <dgm:t>
        <a:bodyPr/>
        <a:lstStyle/>
        <a:p>
          <a:endParaRPr lang="es-ES"/>
        </a:p>
      </dgm:t>
    </dgm:pt>
    <dgm:pt modelId="{4C7A0CF3-C0BC-46E4-8EAF-814D111A44B0}" type="sibTrans" cxnId="{6CE39BDF-DBEC-452B-B018-578B711AA7CA}">
      <dgm:prSet/>
      <dgm:spPr/>
      <dgm:t>
        <a:bodyPr/>
        <a:lstStyle/>
        <a:p>
          <a:endParaRPr lang="es-ES"/>
        </a:p>
      </dgm:t>
    </dgm:pt>
    <dgm:pt modelId="{4EABAAD5-3370-48EB-A2EF-029E10D76DA8}">
      <dgm:prSet phldrT="[Text]" custT="1"/>
      <dgm:spPr/>
      <dgm:t>
        <a:bodyPr/>
        <a:lstStyle/>
        <a:p>
          <a:r>
            <a:rPr lang="en-US" sz="2000" noProof="0" dirty="0"/>
            <a:t>The master version is copied to the first Distribution database on each node</a:t>
          </a:r>
        </a:p>
      </dgm:t>
    </dgm:pt>
    <dgm:pt modelId="{186212B8-E61C-4529-B2AE-34997CAA6252}" type="parTrans" cxnId="{6419402F-45A7-40BF-8F64-7309F716486B}">
      <dgm:prSet/>
      <dgm:spPr/>
      <dgm:t>
        <a:bodyPr/>
        <a:lstStyle/>
        <a:p>
          <a:endParaRPr lang="es-ES"/>
        </a:p>
      </dgm:t>
    </dgm:pt>
    <dgm:pt modelId="{7EA7BE9C-4461-4C04-96B9-366E4F22CFEE}" type="sibTrans" cxnId="{6419402F-45A7-40BF-8F64-7309F716486B}">
      <dgm:prSet/>
      <dgm:spPr/>
      <dgm:t>
        <a:bodyPr/>
        <a:lstStyle/>
        <a:p>
          <a:endParaRPr lang="es-ES"/>
        </a:p>
      </dgm:t>
    </dgm:pt>
    <dgm:pt modelId="{D6DBB9E9-5645-4964-806D-23723CE373DB}">
      <dgm:prSet phldrT="[Text]" custT="1"/>
      <dgm:spPr/>
      <dgm:t>
        <a:bodyPr/>
        <a:lstStyle/>
        <a:p>
          <a:r>
            <a:rPr lang="en-US" sz="2000" noProof="0" dirty="0"/>
            <a:t>A re-cache of a replicated table includes copying the table to each compute node and then building the indexes</a:t>
          </a:r>
          <a:r>
            <a:rPr lang="en-US" sz="500" noProof="0" dirty="0"/>
            <a:t>.</a:t>
          </a:r>
        </a:p>
      </dgm:t>
    </dgm:pt>
    <dgm:pt modelId="{A3F69D09-4ECB-438D-B637-DBD91211166E}" type="parTrans" cxnId="{D48E78AB-B8D3-4921-87E3-F5E41F714E5E}">
      <dgm:prSet/>
      <dgm:spPr/>
      <dgm:t>
        <a:bodyPr/>
        <a:lstStyle/>
        <a:p>
          <a:endParaRPr lang="es-ES"/>
        </a:p>
      </dgm:t>
    </dgm:pt>
    <dgm:pt modelId="{CCE67CBC-F329-4364-9367-6F28467EBDF9}" type="sibTrans" cxnId="{D48E78AB-B8D3-4921-87E3-F5E41F714E5E}">
      <dgm:prSet/>
      <dgm:spPr/>
      <dgm:t>
        <a:bodyPr/>
        <a:lstStyle/>
        <a:p>
          <a:endParaRPr lang="es-ES"/>
        </a:p>
      </dgm:t>
    </dgm:pt>
    <dgm:pt modelId="{20874711-DC49-4E01-8408-CDB4C4D4A57C}" type="pres">
      <dgm:prSet presAssocID="{9137EB83-19E9-43F5-BCD6-ADCB027E8815}" presName="linear" presStyleCnt="0">
        <dgm:presLayoutVars>
          <dgm:animLvl val="lvl"/>
          <dgm:resizeHandles val="exact"/>
        </dgm:presLayoutVars>
      </dgm:prSet>
      <dgm:spPr/>
    </dgm:pt>
    <dgm:pt modelId="{51839688-AB3D-4759-BF07-9FA9F5FA5E1F}" type="pres">
      <dgm:prSet presAssocID="{7CA48E3D-38E6-4098-8B4F-A0DB65E6291A}" presName="parentText" presStyleLbl="node1" presStyleIdx="0" presStyleCnt="3">
        <dgm:presLayoutVars>
          <dgm:chMax val="0"/>
          <dgm:bulletEnabled val="1"/>
        </dgm:presLayoutVars>
      </dgm:prSet>
      <dgm:spPr/>
    </dgm:pt>
    <dgm:pt modelId="{756317B1-61FE-4E23-94AB-375689F42563}" type="pres">
      <dgm:prSet presAssocID="{4C7A0CF3-C0BC-46E4-8EAF-814D111A44B0}" presName="spacer" presStyleCnt="0"/>
      <dgm:spPr/>
    </dgm:pt>
    <dgm:pt modelId="{222B1D7F-9A47-49AC-AA42-CF43CE87C4BF}" type="pres">
      <dgm:prSet presAssocID="{4EABAAD5-3370-48EB-A2EF-029E10D76DA8}" presName="parentText" presStyleLbl="node1" presStyleIdx="1" presStyleCnt="3">
        <dgm:presLayoutVars>
          <dgm:chMax val="0"/>
          <dgm:bulletEnabled val="1"/>
        </dgm:presLayoutVars>
      </dgm:prSet>
      <dgm:spPr/>
    </dgm:pt>
    <dgm:pt modelId="{E81F5F71-D834-4CDD-8B76-77574DDBDF82}" type="pres">
      <dgm:prSet presAssocID="{7EA7BE9C-4461-4C04-96B9-366E4F22CFEE}" presName="spacer" presStyleCnt="0"/>
      <dgm:spPr/>
    </dgm:pt>
    <dgm:pt modelId="{410E6469-587D-4CDB-9C4F-058604CDC5FA}" type="pres">
      <dgm:prSet presAssocID="{D6DBB9E9-5645-4964-806D-23723CE373DB}" presName="parentText" presStyleLbl="node1" presStyleIdx="2" presStyleCnt="3">
        <dgm:presLayoutVars>
          <dgm:chMax val="0"/>
          <dgm:bulletEnabled val="1"/>
        </dgm:presLayoutVars>
      </dgm:prSet>
      <dgm:spPr/>
    </dgm:pt>
  </dgm:ptLst>
  <dgm:cxnLst>
    <dgm:cxn modelId="{2ACF1826-4396-4186-9203-308430E12AC7}" type="presOf" srcId="{4EABAAD5-3370-48EB-A2EF-029E10D76DA8}" destId="{222B1D7F-9A47-49AC-AA42-CF43CE87C4BF}" srcOrd="0" destOrd="0" presId="urn:microsoft.com/office/officeart/2005/8/layout/vList2"/>
    <dgm:cxn modelId="{6419402F-45A7-40BF-8F64-7309F716486B}" srcId="{9137EB83-19E9-43F5-BCD6-ADCB027E8815}" destId="{4EABAAD5-3370-48EB-A2EF-029E10D76DA8}" srcOrd="1" destOrd="0" parTransId="{186212B8-E61C-4529-B2AE-34997CAA6252}" sibTransId="{7EA7BE9C-4461-4C04-96B9-366E4F22CFEE}"/>
    <dgm:cxn modelId="{D48E78AB-B8D3-4921-87E3-F5E41F714E5E}" srcId="{9137EB83-19E9-43F5-BCD6-ADCB027E8815}" destId="{D6DBB9E9-5645-4964-806D-23723CE373DB}" srcOrd="2" destOrd="0" parTransId="{A3F69D09-4ECB-438D-B637-DBD91211166E}" sibTransId="{CCE67CBC-F329-4364-9367-6F28467EBDF9}"/>
    <dgm:cxn modelId="{0E1998B5-C0CD-4153-83F0-2DEF1D42739C}" type="presOf" srcId="{9137EB83-19E9-43F5-BCD6-ADCB027E8815}" destId="{20874711-DC49-4E01-8408-CDB4C4D4A57C}" srcOrd="0" destOrd="0" presId="urn:microsoft.com/office/officeart/2005/8/layout/vList2"/>
    <dgm:cxn modelId="{6CE39BDF-DBEC-452B-B018-578B711AA7CA}" srcId="{9137EB83-19E9-43F5-BCD6-ADCB027E8815}" destId="{7CA48E3D-38E6-4098-8B4F-A0DB65E6291A}" srcOrd="0" destOrd="0" parTransId="{798AEAD9-F53B-496A-8D25-D6DEFBAC68CC}" sibTransId="{4C7A0CF3-C0BC-46E4-8EAF-814D111A44B0}"/>
    <dgm:cxn modelId="{0AB1DEF4-2E18-4EAF-9155-4FBCB6523487}" type="presOf" srcId="{7CA48E3D-38E6-4098-8B4F-A0DB65E6291A}" destId="{51839688-AB3D-4759-BF07-9FA9F5FA5E1F}" srcOrd="0" destOrd="0" presId="urn:microsoft.com/office/officeart/2005/8/layout/vList2"/>
    <dgm:cxn modelId="{589D9DF5-1FA3-4CF1-803D-87BCA8C77EA1}" type="presOf" srcId="{D6DBB9E9-5645-4964-806D-23723CE373DB}" destId="{410E6469-587D-4CDB-9C4F-058604CDC5FA}" srcOrd="0" destOrd="0" presId="urn:microsoft.com/office/officeart/2005/8/layout/vList2"/>
    <dgm:cxn modelId="{3F3D4766-B795-46C2-A09D-D1EECC264650}" type="presParOf" srcId="{20874711-DC49-4E01-8408-CDB4C4D4A57C}" destId="{51839688-AB3D-4759-BF07-9FA9F5FA5E1F}" srcOrd="0" destOrd="0" presId="urn:microsoft.com/office/officeart/2005/8/layout/vList2"/>
    <dgm:cxn modelId="{ECC7493C-745C-43FC-B634-08FF13CCCAD9}" type="presParOf" srcId="{20874711-DC49-4E01-8408-CDB4C4D4A57C}" destId="{756317B1-61FE-4E23-94AB-375689F42563}" srcOrd="1" destOrd="0" presId="urn:microsoft.com/office/officeart/2005/8/layout/vList2"/>
    <dgm:cxn modelId="{C8F7741F-E946-41ED-98E9-D0A57A7D1F31}" type="presParOf" srcId="{20874711-DC49-4E01-8408-CDB4C4D4A57C}" destId="{222B1D7F-9A47-49AC-AA42-CF43CE87C4BF}" srcOrd="2" destOrd="0" presId="urn:microsoft.com/office/officeart/2005/8/layout/vList2"/>
    <dgm:cxn modelId="{01BD8C4D-34DA-46A8-B795-5C97CC94512D}" type="presParOf" srcId="{20874711-DC49-4E01-8408-CDB4C4D4A57C}" destId="{E81F5F71-D834-4CDD-8B76-77574DDBDF82}" srcOrd="3" destOrd="0" presId="urn:microsoft.com/office/officeart/2005/8/layout/vList2"/>
    <dgm:cxn modelId="{66D268EB-C2DD-47F7-B4F6-5DB1074E6BC8}" type="presParOf" srcId="{20874711-DC49-4E01-8408-CDB4C4D4A57C}" destId="{410E6469-587D-4CDB-9C4F-058604CDC5FA}"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34AB17B4-6F52-48CE-B3E0-FD33FADD9ACA}"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644382E-2953-425E-BAD4-C5837B802D9B}">
      <dgm:prSet/>
      <dgm:spPr/>
      <dgm:t>
        <a:bodyPr/>
        <a:lstStyle/>
        <a:p>
          <a:r>
            <a:rPr lang="en-US" b="0" i="0" dirty="0"/>
            <a:t>Cache / Re-cache is required after:</a:t>
          </a:r>
          <a:endParaRPr lang="en-US" dirty="0"/>
        </a:p>
      </dgm:t>
    </dgm:pt>
    <dgm:pt modelId="{922A340C-6F04-401C-B8CA-D7AD4A6AB250}" type="parTrans" cxnId="{464B3B06-0CF7-4763-BBE4-6F8E3F43E0A1}">
      <dgm:prSet/>
      <dgm:spPr/>
      <dgm:t>
        <a:bodyPr/>
        <a:lstStyle/>
        <a:p>
          <a:endParaRPr lang="en-US"/>
        </a:p>
      </dgm:t>
    </dgm:pt>
    <dgm:pt modelId="{657B7B19-32C9-455F-8A5C-C852E226F5B4}" type="sibTrans" cxnId="{464B3B06-0CF7-4763-BBE4-6F8E3F43E0A1}">
      <dgm:prSet/>
      <dgm:spPr/>
      <dgm:t>
        <a:bodyPr/>
        <a:lstStyle/>
        <a:p>
          <a:endParaRPr lang="en-US"/>
        </a:p>
      </dgm:t>
    </dgm:pt>
    <dgm:pt modelId="{F80E143C-052D-49A2-9C22-1E0A18EBECD7}">
      <dgm:prSet/>
      <dgm:spPr/>
      <dgm:t>
        <a:bodyPr/>
        <a:lstStyle/>
        <a:p>
          <a:r>
            <a:rPr lang="en-US" dirty="0"/>
            <a:t>Data is loaded or modified</a:t>
          </a:r>
        </a:p>
      </dgm:t>
    </dgm:pt>
    <dgm:pt modelId="{9E7DCF3A-7ADA-4AD3-B97A-40582A57C111}" type="parTrans" cxnId="{63D74141-C3A0-4F18-A7A2-972B1C43F7B1}">
      <dgm:prSet/>
      <dgm:spPr/>
      <dgm:t>
        <a:bodyPr/>
        <a:lstStyle/>
        <a:p>
          <a:endParaRPr lang="en-US"/>
        </a:p>
      </dgm:t>
    </dgm:pt>
    <dgm:pt modelId="{370AAA2C-B428-4ADB-811D-61CB13F69724}" type="sibTrans" cxnId="{63D74141-C3A0-4F18-A7A2-972B1C43F7B1}">
      <dgm:prSet/>
      <dgm:spPr/>
      <dgm:t>
        <a:bodyPr/>
        <a:lstStyle/>
        <a:p>
          <a:endParaRPr lang="en-US"/>
        </a:p>
      </dgm:t>
    </dgm:pt>
    <dgm:pt modelId="{578E5350-5FD4-45C1-9421-4F079901F8C1}">
      <dgm:prSet/>
      <dgm:spPr/>
      <dgm:t>
        <a:bodyPr/>
        <a:lstStyle/>
        <a:p>
          <a:r>
            <a:rPr lang="en-US" dirty="0"/>
            <a:t>Scaling operation on the Synapse database</a:t>
          </a:r>
        </a:p>
      </dgm:t>
    </dgm:pt>
    <dgm:pt modelId="{236C3FB6-896F-4EA0-9DD9-C97BFD0760FF}" type="parTrans" cxnId="{B5B0BE4D-07A2-4841-BFBF-ADBD6BE1E05C}">
      <dgm:prSet/>
      <dgm:spPr/>
      <dgm:t>
        <a:bodyPr/>
        <a:lstStyle/>
        <a:p>
          <a:endParaRPr lang="en-US"/>
        </a:p>
      </dgm:t>
    </dgm:pt>
    <dgm:pt modelId="{976B5E93-E4C1-4385-9C12-48FA9F36B075}" type="sibTrans" cxnId="{B5B0BE4D-07A2-4841-BFBF-ADBD6BE1E05C}">
      <dgm:prSet/>
      <dgm:spPr/>
      <dgm:t>
        <a:bodyPr/>
        <a:lstStyle/>
        <a:p>
          <a:endParaRPr lang="en-US"/>
        </a:p>
      </dgm:t>
    </dgm:pt>
    <dgm:pt modelId="{6C8475F8-CAAB-47D5-8C9E-A08430326BA5}">
      <dgm:prSet/>
      <dgm:spPr/>
      <dgm:t>
        <a:bodyPr/>
        <a:lstStyle/>
        <a:p>
          <a:r>
            <a:rPr lang="en-US" dirty="0"/>
            <a:t>Table definition change</a:t>
          </a:r>
        </a:p>
      </dgm:t>
    </dgm:pt>
    <dgm:pt modelId="{3A4AA4B9-7E5F-46E9-B273-FA45DD73AA20}" type="parTrans" cxnId="{28E4D95E-D2B4-4CC7-BE86-B5D3545922C7}">
      <dgm:prSet/>
      <dgm:spPr/>
      <dgm:t>
        <a:bodyPr/>
        <a:lstStyle/>
        <a:p>
          <a:endParaRPr lang="en-US"/>
        </a:p>
      </dgm:t>
    </dgm:pt>
    <dgm:pt modelId="{12780964-3578-43E8-8E93-04862E9193C1}" type="sibTrans" cxnId="{28E4D95E-D2B4-4CC7-BE86-B5D3545922C7}">
      <dgm:prSet/>
      <dgm:spPr/>
      <dgm:t>
        <a:bodyPr/>
        <a:lstStyle/>
        <a:p>
          <a:endParaRPr lang="en-US"/>
        </a:p>
      </dgm:t>
    </dgm:pt>
    <dgm:pt modelId="{C9C5CF14-4498-41E4-B9E2-FADF7E43C977}">
      <dgm:prSet/>
      <dgm:spPr/>
      <dgm:t>
        <a:bodyPr/>
        <a:lstStyle/>
        <a:p>
          <a:pPr rtl="0"/>
          <a:r>
            <a:rPr lang="en-US" b="0" i="0" dirty="0"/>
            <a:t>Cache / re-cache</a:t>
          </a:r>
          <a:r>
            <a:rPr lang="en-US" dirty="0"/>
            <a:t> triggered by the first query that accesses the table.</a:t>
          </a:r>
          <a:r>
            <a:rPr lang="en-US" dirty="0">
              <a:latin typeface="Segoe UI Semibold"/>
            </a:rPr>
            <a:t> </a:t>
          </a:r>
          <a:endParaRPr lang="en-US" dirty="0"/>
        </a:p>
      </dgm:t>
    </dgm:pt>
    <dgm:pt modelId="{E23F38C5-BBCF-4C2A-8B50-09301D84DC78}" type="parTrans" cxnId="{464B420F-9CA7-417C-B5DB-8F8A5C8EFD29}">
      <dgm:prSet/>
      <dgm:spPr/>
      <dgm:t>
        <a:bodyPr/>
        <a:lstStyle/>
        <a:p>
          <a:endParaRPr lang="en-US"/>
        </a:p>
      </dgm:t>
    </dgm:pt>
    <dgm:pt modelId="{B6D067AD-A874-4A19-9474-494B278A1312}" type="sibTrans" cxnId="{464B420F-9CA7-417C-B5DB-8F8A5C8EFD29}">
      <dgm:prSet/>
      <dgm:spPr/>
      <dgm:t>
        <a:bodyPr/>
        <a:lstStyle/>
        <a:p>
          <a:endParaRPr lang="en-US"/>
        </a:p>
      </dgm:t>
    </dgm:pt>
    <dgm:pt modelId="{BBE9EB52-B16D-4493-9A3D-575AC3147577}">
      <dgm:prSet/>
      <dgm:spPr/>
      <dgm:t>
        <a:bodyPr/>
        <a:lstStyle/>
        <a:p>
          <a:r>
            <a:rPr lang="en-US" dirty="0"/>
            <a:t>SELECT TOP 1 * FROM </a:t>
          </a:r>
          <a:r>
            <a:rPr lang="en-US" dirty="0" err="1">
              <a:latin typeface="Segoe UI" panose="020B0502040204020203" pitchFamily="34" charset="0"/>
              <a:cs typeface="Segoe UI" panose="020B0502040204020203" pitchFamily="34" charset="0"/>
            </a:rPr>
            <a:t>ReplTable</a:t>
          </a:r>
        </a:p>
      </dgm:t>
    </dgm:pt>
    <dgm:pt modelId="{BA077AD0-7D04-49DC-860F-3A7928DEBFCD}" type="parTrans" cxnId="{845F62C7-C4D9-499C-A911-9F969105AB84}">
      <dgm:prSet/>
      <dgm:spPr/>
      <dgm:t>
        <a:bodyPr/>
        <a:lstStyle/>
        <a:p>
          <a:endParaRPr lang="en-US"/>
        </a:p>
      </dgm:t>
    </dgm:pt>
    <dgm:pt modelId="{CD41E975-43BB-4A8D-80E5-48CD037CC9C1}" type="sibTrans" cxnId="{845F62C7-C4D9-499C-A911-9F969105AB84}">
      <dgm:prSet/>
      <dgm:spPr/>
      <dgm:t>
        <a:bodyPr/>
        <a:lstStyle/>
        <a:p>
          <a:endParaRPr lang="en-US"/>
        </a:p>
      </dgm:t>
    </dgm:pt>
    <dgm:pt modelId="{A2D638BD-8D45-484C-84BA-5DEDD1FDA46D}">
      <dgm:prSet/>
      <dgm:spPr/>
      <dgm:t>
        <a:bodyPr/>
        <a:lstStyle/>
        <a:p>
          <a:r>
            <a:rPr lang="en-US" b="0" i="0" dirty="0"/>
            <a:t>Cache / re-cache is synchronous</a:t>
          </a:r>
          <a:endParaRPr lang="en-US" dirty="0"/>
        </a:p>
      </dgm:t>
    </dgm:pt>
    <dgm:pt modelId="{DC5A5EB8-F072-48D7-9EE3-ECD8D26186C8}" type="parTrans" cxnId="{E89D65D3-3EC5-4C7D-9446-91491D42DC7A}">
      <dgm:prSet/>
      <dgm:spPr/>
      <dgm:t>
        <a:bodyPr/>
        <a:lstStyle/>
        <a:p>
          <a:endParaRPr lang="en-US"/>
        </a:p>
      </dgm:t>
    </dgm:pt>
    <dgm:pt modelId="{775D18EF-31E3-400B-9BAC-E7D434CE1B56}" type="sibTrans" cxnId="{E89D65D3-3EC5-4C7D-9446-91491D42DC7A}">
      <dgm:prSet/>
      <dgm:spPr/>
      <dgm:t>
        <a:bodyPr/>
        <a:lstStyle/>
        <a:p>
          <a:endParaRPr lang="en-US"/>
        </a:p>
      </dgm:t>
    </dgm:pt>
    <dgm:pt modelId="{3CABC86E-1356-40D1-847C-508668762548}">
      <dgm:prSet/>
      <dgm:spPr/>
      <dgm:t>
        <a:bodyPr/>
        <a:lstStyle/>
        <a:p>
          <a:r>
            <a:rPr lang="en-US" dirty="0"/>
            <a:t>The query that triggers the </a:t>
          </a:r>
          <a:r>
            <a:rPr lang="en-US" b="0" i="0" dirty="0"/>
            <a:t>re-cache</a:t>
          </a:r>
          <a:r>
            <a:rPr lang="en-US" dirty="0"/>
            <a:t> reads from the master version of the table</a:t>
          </a:r>
        </a:p>
      </dgm:t>
    </dgm:pt>
    <dgm:pt modelId="{C7D7233F-33B4-4A0D-B01D-AF98F41BB6CF}" type="parTrans" cxnId="{A5D7BC74-EF63-464E-AD14-97BE40157D39}">
      <dgm:prSet/>
      <dgm:spPr/>
      <dgm:t>
        <a:bodyPr/>
        <a:lstStyle/>
        <a:p>
          <a:endParaRPr lang="en-US"/>
        </a:p>
      </dgm:t>
    </dgm:pt>
    <dgm:pt modelId="{D256A5C5-9DE9-4EAD-9419-48F25E3928EE}" type="sibTrans" cxnId="{A5D7BC74-EF63-464E-AD14-97BE40157D39}">
      <dgm:prSet/>
      <dgm:spPr/>
      <dgm:t>
        <a:bodyPr/>
        <a:lstStyle/>
        <a:p>
          <a:endParaRPr lang="en-US"/>
        </a:p>
      </dgm:t>
    </dgm:pt>
    <dgm:pt modelId="{F6ED31E0-DAE7-4FE7-9925-3F11D372FF27}">
      <dgm:prSet/>
      <dgm:spPr/>
      <dgm:t>
        <a:bodyPr/>
        <a:lstStyle/>
        <a:p>
          <a:r>
            <a:rPr lang="en-US" dirty="0"/>
            <a:t>Subsequent queries also reads from the master version, until caching is completed.</a:t>
          </a:r>
        </a:p>
      </dgm:t>
    </dgm:pt>
    <dgm:pt modelId="{87B04545-611E-4901-B84E-10D037888897}" type="parTrans" cxnId="{E1AFAA10-55FF-4C0D-8A36-C232FB2673E3}">
      <dgm:prSet/>
      <dgm:spPr/>
      <dgm:t>
        <a:bodyPr/>
        <a:lstStyle/>
        <a:p>
          <a:endParaRPr lang="en-US"/>
        </a:p>
      </dgm:t>
    </dgm:pt>
    <dgm:pt modelId="{CE4B1AA9-9FF6-4FB0-9749-D9CD0A47396A}" type="sibTrans" cxnId="{E1AFAA10-55FF-4C0D-8A36-C232FB2673E3}">
      <dgm:prSet/>
      <dgm:spPr/>
      <dgm:t>
        <a:bodyPr/>
        <a:lstStyle/>
        <a:p>
          <a:endParaRPr lang="en-US"/>
        </a:p>
      </dgm:t>
    </dgm:pt>
    <dgm:pt modelId="{C2EBE9D8-DCEB-406B-872E-F4DE3CF7AC33}" type="pres">
      <dgm:prSet presAssocID="{34AB17B4-6F52-48CE-B3E0-FD33FADD9ACA}" presName="linear" presStyleCnt="0">
        <dgm:presLayoutVars>
          <dgm:animLvl val="lvl"/>
          <dgm:resizeHandles val="exact"/>
        </dgm:presLayoutVars>
      </dgm:prSet>
      <dgm:spPr/>
    </dgm:pt>
    <dgm:pt modelId="{761B8C1E-9208-48F0-BC1F-880BEDFB4D4A}" type="pres">
      <dgm:prSet presAssocID="{D644382E-2953-425E-BAD4-C5837B802D9B}" presName="parentText" presStyleLbl="node1" presStyleIdx="0" presStyleCnt="3">
        <dgm:presLayoutVars>
          <dgm:chMax val="0"/>
          <dgm:bulletEnabled val="1"/>
        </dgm:presLayoutVars>
      </dgm:prSet>
      <dgm:spPr/>
    </dgm:pt>
    <dgm:pt modelId="{CBA5DA7A-F46E-42A3-A3E1-AFAA23A87CC0}" type="pres">
      <dgm:prSet presAssocID="{D644382E-2953-425E-BAD4-C5837B802D9B}" presName="childText" presStyleLbl="revTx" presStyleIdx="0" presStyleCnt="3">
        <dgm:presLayoutVars>
          <dgm:bulletEnabled val="1"/>
        </dgm:presLayoutVars>
      </dgm:prSet>
      <dgm:spPr/>
    </dgm:pt>
    <dgm:pt modelId="{555631A5-FDCA-43F0-B568-C4287289428E}" type="pres">
      <dgm:prSet presAssocID="{C9C5CF14-4498-41E4-B9E2-FADF7E43C977}" presName="parentText" presStyleLbl="node1" presStyleIdx="1" presStyleCnt="3">
        <dgm:presLayoutVars>
          <dgm:chMax val="0"/>
          <dgm:bulletEnabled val="1"/>
        </dgm:presLayoutVars>
      </dgm:prSet>
      <dgm:spPr/>
    </dgm:pt>
    <dgm:pt modelId="{AF68AF07-4757-42F6-BD7F-2275B2888699}" type="pres">
      <dgm:prSet presAssocID="{C9C5CF14-4498-41E4-B9E2-FADF7E43C977}" presName="childText" presStyleLbl="revTx" presStyleIdx="1" presStyleCnt="3">
        <dgm:presLayoutVars>
          <dgm:bulletEnabled val="1"/>
        </dgm:presLayoutVars>
      </dgm:prSet>
      <dgm:spPr/>
    </dgm:pt>
    <dgm:pt modelId="{40E3F0B1-105B-4BAB-8E30-38863DF4CF39}" type="pres">
      <dgm:prSet presAssocID="{A2D638BD-8D45-484C-84BA-5DEDD1FDA46D}" presName="parentText" presStyleLbl="node1" presStyleIdx="2" presStyleCnt="3">
        <dgm:presLayoutVars>
          <dgm:chMax val="0"/>
          <dgm:bulletEnabled val="1"/>
        </dgm:presLayoutVars>
      </dgm:prSet>
      <dgm:spPr/>
    </dgm:pt>
    <dgm:pt modelId="{C09A73A9-7901-4338-9240-ED5897CA67C2}" type="pres">
      <dgm:prSet presAssocID="{A2D638BD-8D45-484C-84BA-5DEDD1FDA46D}" presName="childText" presStyleLbl="revTx" presStyleIdx="2" presStyleCnt="3">
        <dgm:presLayoutVars>
          <dgm:bulletEnabled val="1"/>
        </dgm:presLayoutVars>
      </dgm:prSet>
      <dgm:spPr/>
    </dgm:pt>
  </dgm:ptLst>
  <dgm:cxnLst>
    <dgm:cxn modelId="{464B3B06-0CF7-4763-BBE4-6F8E3F43E0A1}" srcId="{34AB17B4-6F52-48CE-B3E0-FD33FADD9ACA}" destId="{D644382E-2953-425E-BAD4-C5837B802D9B}" srcOrd="0" destOrd="0" parTransId="{922A340C-6F04-401C-B8CA-D7AD4A6AB250}" sibTransId="{657B7B19-32C9-455F-8A5C-C852E226F5B4}"/>
    <dgm:cxn modelId="{464B420F-9CA7-417C-B5DB-8F8A5C8EFD29}" srcId="{34AB17B4-6F52-48CE-B3E0-FD33FADD9ACA}" destId="{C9C5CF14-4498-41E4-B9E2-FADF7E43C977}" srcOrd="1" destOrd="0" parTransId="{E23F38C5-BBCF-4C2A-8B50-09301D84DC78}" sibTransId="{B6D067AD-A874-4A19-9474-494B278A1312}"/>
    <dgm:cxn modelId="{E1AFAA10-55FF-4C0D-8A36-C232FB2673E3}" srcId="{A2D638BD-8D45-484C-84BA-5DEDD1FDA46D}" destId="{F6ED31E0-DAE7-4FE7-9925-3F11D372FF27}" srcOrd="1" destOrd="0" parTransId="{87B04545-611E-4901-B84E-10D037888897}" sibTransId="{CE4B1AA9-9FF6-4FB0-9749-D9CD0A47396A}"/>
    <dgm:cxn modelId="{5B192C11-8B46-4431-9A03-57EBC9677089}" type="presOf" srcId="{F6ED31E0-DAE7-4FE7-9925-3F11D372FF27}" destId="{C09A73A9-7901-4338-9240-ED5897CA67C2}" srcOrd="0" destOrd="1" presId="urn:microsoft.com/office/officeart/2005/8/layout/vList2"/>
    <dgm:cxn modelId="{5974AF5D-7567-494B-A8E5-2A0E12B784B5}" type="presOf" srcId="{6C8475F8-CAAB-47D5-8C9E-A08430326BA5}" destId="{CBA5DA7A-F46E-42A3-A3E1-AFAA23A87CC0}" srcOrd="0" destOrd="2" presId="urn:microsoft.com/office/officeart/2005/8/layout/vList2"/>
    <dgm:cxn modelId="{28E4D95E-D2B4-4CC7-BE86-B5D3545922C7}" srcId="{D644382E-2953-425E-BAD4-C5837B802D9B}" destId="{6C8475F8-CAAB-47D5-8C9E-A08430326BA5}" srcOrd="2" destOrd="0" parTransId="{3A4AA4B9-7E5F-46E9-B273-FA45DD73AA20}" sibTransId="{12780964-3578-43E8-8E93-04862E9193C1}"/>
    <dgm:cxn modelId="{63D74141-C3A0-4F18-A7A2-972B1C43F7B1}" srcId="{D644382E-2953-425E-BAD4-C5837B802D9B}" destId="{F80E143C-052D-49A2-9C22-1E0A18EBECD7}" srcOrd="0" destOrd="0" parTransId="{9E7DCF3A-7ADA-4AD3-B97A-40582A57C111}" sibTransId="{370AAA2C-B428-4ADB-811D-61CB13F69724}"/>
    <dgm:cxn modelId="{2A717844-DBD5-4DB1-BD55-B1D4E41145E5}" type="presOf" srcId="{A2D638BD-8D45-484C-84BA-5DEDD1FDA46D}" destId="{40E3F0B1-105B-4BAB-8E30-38863DF4CF39}" srcOrd="0" destOrd="0" presId="urn:microsoft.com/office/officeart/2005/8/layout/vList2"/>
    <dgm:cxn modelId="{DC321A45-6AF5-4ABD-B230-EBDE320A2D86}" type="presOf" srcId="{C9C5CF14-4498-41E4-B9E2-FADF7E43C977}" destId="{555631A5-FDCA-43F0-B568-C4287289428E}" srcOrd="0" destOrd="0" presId="urn:microsoft.com/office/officeart/2005/8/layout/vList2"/>
    <dgm:cxn modelId="{B5B0BE4D-07A2-4841-BFBF-ADBD6BE1E05C}" srcId="{D644382E-2953-425E-BAD4-C5837B802D9B}" destId="{578E5350-5FD4-45C1-9421-4F079901F8C1}" srcOrd="1" destOrd="0" parTransId="{236C3FB6-896F-4EA0-9DD9-C97BFD0760FF}" sibTransId="{976B5E93-E4C1-4385-9C12-48FA9F36B075}"/>
    <dgm:cxn modelId="{A5D7BC74-EF63-464E-AD14-97BE40157D39}" srcId="{A2D638BD-8D45-484C-84BA-5DEDD1FDA46D}" destId="{3CABC86E-1356-40D1-847C-508668762548}" srcOrd="0" destOrd="0" parTransId="{C7D7233F-33B4-4A0D-B01D-AF98F41BB6CF}" sibTransId="{D256A5C5-9DE9-4EAD-9419-48F25E3928EE}"/>
    <dgm:cxn modelId="{0AD43692-88C3-4FEB-9F63-D1A6D3EC59C4}" type="presOf" srcId="{F80E143C-052D-49A2-9C22-1E0A18EBECD7}" destId="{CBA5DA7A-F46E-42A3-A3E1-AFAA23A87CC0}" srcOrd="0" destOrd="0" presId="urn:microsoft.com/office/officeart/2005/8/layout/vList2"/>
    <dgm:cxn modelId="{1DB486C6-B27F-4282-A090-2F7E9C5C9C16}" type="presOf" srcId="{D644382E-2953-425E-BAD4-C5837B802D9B}" destId="{761B8C1E-9208-48F0-BC1F-880BEDFB4D4A}" srcOrd="0" destOrd="0" presId="urn:microsoft.com/office/officeart/2005/8/layout/vList2"/>
    <dgm:cxn modelId="{845F62C7-C4D9-499C-A911-9F969105AB84}" srcId="{C9C5CF14-4498-41E4-B9E2-FADF7E43C977}" destId="{BBE9EB52-B16D-4493-9A3D-575AC3147577}" srcOrd="0" destOrd="0" parTransId="{BA077AD0-7D04-49DC-860F-3A7928DEBFCD}" sibTransId="{CD41E975-43BB-4A8D-80E5-48CD037CC9C1}"/>
    <dgm:cxn modelId="{E89D65D3-3EC5-4C7D-9446-91491D42DC7A}" srcId="{34AB17B4-6F52-48CE-B3E0-FD33FADD9ACA}" destId="{A2D638BD-8D45-484C-84BA-5DEDD1FDA46D}" srcOrd="2" destOrd="0" parTransId="{DC5A5EB8-F072-48D7-9EE3-ECD8D26186C8}" sibTransId="{775D18EF-31E3-400B-9BAC-E7D434CE1B56}"/>
    <dgm:cxn modelId="{7BFCFED7-7ED2-4700-ABDE-EC94F6F77BEF}" type="presOf" srcId="{3CABC86E-1356-40D1-847C-508668762548}" destId="{C09A73A9-7901-4338-9240-ED5897CA67C2}" srcOrd="0" destOrd="0" presId="urn:microsoft.com/office/officeart/2005/8/layout/vList2"/>
    <dgm:cxn modelId="{6F3632D8-36AC-4748-8D1F-1EB8C6DE1479}" type="presOf" srcId="{34AB17B4-6F52-48CE-B3E0-FD33FADD9ACA}" destId="{C2EBE9D8-DCEB-406B-872E-F4DE3CF7AC33}" srcOrd="0" destOrd="0" presId="urn:microsoft.com/office/officeart/2005/8/layout/vList2"/>
    <dgm:cxn modelId="{725E47E8-4472-46E0-80B0-192867E31E0F}" type="presOf" srcId="{578E5350-5FD4-45C1-9421-4F079901F8C1}" destId="{CBA5DA7A-F46E-42A3-A3E1-AFAA23A87CC0}" srcOrd="0" destOrd="1" presId="urn:microsoft.com/office/officeart/2005/8/layout/vList2"/>
    <dgm:cxn modelId="{15CA73F7-E781-4F88-9541-D95D2AD305AE}" type="presOf" srcId="{BBE9EB52-B16D-4493-9A3D-575AC3147577}" destId="{AF68AF07-4757-42F6-BD7F-2275B2888699}" srcOrd="0" destOrd="0" presId="urn:microsoft.com/office/officeart/2005/8/layout/vList2"/>
    <dgm:cxn modelId="{3EB661A7-2C46-4CF6-8302-86B36D1282E3}" type="presParOf" srcId="{C2EBE9D8-DCEB-406B-872E-F4DE3CF7AC33}" destId="{761B8C1E-9208-48F0-BC1F-880BEDFB4D4A}" srcOrd="0" destOrd="0" presId="urn:microsoft.com/office/officeart/2005/8/layout/vList2"/>
    <dgm:cxn modelId="{E70F73C5-870D-49BC-BF21-5548BD27D19D}" type="presParOf" srcId="{C2EBE9D8-DCEB-406B-872E-F4DE3CF7AC33}" destId="{CBA5DA7A-F46E-42A3-A3E1-AFAA23A87CC0}" srcOrd="1" destOrd="0" presId="urn:microsoft.com/office/officeart/2005/8/layout/vList2"/>
    <dgm:cxn modelId="{DE1B2B40-F7D7-4ED6-814E-88EF7AF40E49}" type="presParOf" srcId="{C2EBE9D8-DCEB-406B-872E-F4DE3CF7AC33}" destId="{555631A5-FDCA-43F0-B568-C4287289428E}" srcOrd="2" destOrd="0" presId="urn:microsoft.com/office/officeart/2005/8/layout/vList2"/>
    <dgm:cxn modelId="{DFAEE47D-CBEF-4066-A7A1-AAE8D476F111}" type="presParOf" srcId="{C2EBE9D8-DCEB-406B-872E-F4DE3CF7AC33}" destId="{AF68AF07-4757-42F6-BD7F-2275B2888699}" srcOrd="3" destOrd="0" presId="urn:microsoft.com/office/officeart/2005/8/layout/vList2"/>
    <dgm:cxn modelId="{8F3B098E-92EE-4B4B-AF96-1CFE853EA041}" type="presParOf" srcId="{C2EBE9D8-DCEB-406B-872E-F4DE3CF7AC33}" destId="{40E3F0B1-105B-4BAB-8E30-38863DF4CF39}" srcOrd="4" destOrd="0" presId="urn:microsoft.com/office/officeart/2005/8/layout/vList2"/>
    <dgm:cxn modelId="{BE66ACED-6E71-4FD3-A0C6-8A633929B701}" type="presParOf" srcId="{C2EBE9D8-DCEB-406B-872E-F4DE3CF7AC33}" destId="{C09A73A9-7901-4338-9240-ED5897CA67C2}"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9BDB490A-13D1-450E-ADD5-186C0A419470}"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82E73C9E-E2C1-4CC0-884A-DDC9DE9E0451}">
      <dgm:prSet phldrT="[Text]" custT="1"/>
      <dgm:spPr/>
      <dgm:t>
        <a:bodyPr/>
        <a:lstStyle/>
        <a:p>
          <a:r>
            <a:rPr lang="en-US" sz="3200" noProof="0" dirty="0"/>
            <a:t>Use DMV to monitor caching state</a:t>
          </a:r>
        </a:p>
      </dgm:t>
    </dgm:pt>
    <dgm:pt modelId="{08746133-6024-4EB6-9822-7F72D41E2C47}" type="parTrans" cxnId="{47DD0736-7907-4858-B6B0-395215873100}">
      <dgm:prSet/>
      <dgm:spPr/>
      <dgm:t>
        <a:bodyPr/>
        <a:lstStyle/>
        <a:p>
          <a:endParaRPr lang="es-ES"/>
        </a:p>
      </dgm:t>
    </dgm:pt>
    <dgm:pt modelId="{6090AF74-F611-4B68-A262-E0CDF9149DE0}" type="sibTrans" cxnId="{47DD0736-7907-4858-B6B0-395215873100}">
      <dgm:prSet/>
      <dgm:spPr/>
      <dgm:t>
        <a:bodyPr/>
        <a:lstStyle/>
        <a:p>
          <a:endParaRPr lang="es-ES"/>
        </a:p>
      </dgm:t>
    </dgm:pt>
    <dgm:pt modelId="{1265BBB1-9859-434A-8840-1284D50C9404}">
      <dgm:prSet phldrT="[Text]" custT="1"/>
      <dgm:spPr/>
      <dgm:t>
        <a:bodyPr/>
        <a:lstStyle/>
        <a:p>
          <a:r>
            <a:rPr lang="en-US" sz="3200" noProof="0" dirty="0" err="1"/>
            <a:t>sys.pdw_replicated_table_cache_state</a:t>
          </a:r>
          <a:r>
            <a:rPr lang="en-US" sz="3200" noProof="0" dirty="0"/>
            <a:t> </a:t>
          </a:r>
          <a:endParaRPr lang="es-ES" sz="3200" dirty="0"/>
        </a:p>
      </dgm:t>
    </dgm:pt>
    <dgm:pt modelId="{D02B6270-21FC-4707-B61F-B0B71FD838A8}" type="parTrans" cxnId="{C6291A33-1C37-45DB-81B7-F4A881746BDF}">
      <dgm:prSet/>
      <dgm:spPr/>
      <dgm:t>
        <a:bodyPr/>
        <a:lstStyle/>
        <a:p>
          <a:endParaRPr lang="es-ES"/>
        </a:p>
      </dgm:t>
    </dgm:pt>
    <dgm:pt modelId="{41D51AA7-F34D-404D-8E89-FA24B637A30E}" type="sibTrans" cxnId="{C6291A33-1C37-45DB-81B7-F4A881746BDF}">
      <dgm:prSet/>
      <dgm:spPr/>
      <dgm:t>
        <a:bodyPr/>
        <a:lstStyle/>
        <a:p>
          <a:endParaRPr lang="es-ES"/>
        </a:p>
      </dgm:t>
    </dgm:pt>
    <dgm:pt modelId="{309E1D9E-B1F2-4850-978B-28F19137A748}" type="pres">
      <dgm:prSet presAssocID="{9BDB490A-13D1-450E-ADD5-186C0A419470}" presName="linear" presStyleCnt="0">
        <dgm:presLayoutVars>
          <dgm:animLvl val="lvl"/>
          <dgm:resizeHandles val="exact"/>
        </dgm:presLayoutVars>
      </dgm:prSet>
      <dgm:spPr/>
    </dgm:pt>
    <dgm:pt modelId="{6FC886F4-72C2-4F6A-9144-D75CDA6D8D62}" type="pres">
      <dgm:prSet presAssocID="{82E73C9E-E2C1-4CC0-884A-DDC9DE9E0451}" presName="parentText" presStyleLbl="node1" presStyleIdx="0" presStyleCnt="1" custScaleY="101346" custLinFactNeighborY="5394">
        <dgm:presLayoutVars>
          <dgm:chMax val="0"/>
          <dgm:bulletEnabled val="1"/>
        </dgm:presLayoutVars>
      </dgm:prSet>
      <dgm:spPr/>
    </dgm:pt>
    <dgm:pt modelId="{2BB96914-9A17-488A-A9EC-CE3F96851D6D}" type="pres">
      <dgm:prSet presAssocID="{82E73C9E-E2C1-4CC0-884A-DDC9DE9E0451}" presName="childText" presStyleLbl="revTx" presStyleIdx="0" presStyleCnt="1" custScaleY="101346" custLinFactNeighborY="5394">
        <dgm:presLayoutVars>
          <dgm:bulletEnabled val="1"/>
        </dgm:presLayoutVars>
      </dgm:prSet>
      <dgm:spPr/>
    </dgm:pt>
  </dgm:ptLst>
  <dgm:cxnLst>
    <dgm:cxn modelId="{ACD0A505-2178-450D-9548-24971DCEBCDF}" type="presOf" srcId="{9BDB490A-13D1-450E-ADD5-186C0A419470}" destId="{309E1D9E-B1F2-4850-978B-28F19137A748}" srcOrd="0" destOrd="0" presId="urn:microsoft.com/office/officeart/2005/8/layout/vList2"/>
    <dgm:cxn modelId="{C6291A33-1C37-45DB-81B7-F4A881746BDF}" srcId="{82E73C9E-E2C1-4CC0-884A-DDC9DE9E0451}" destId="{1265BBB1-9859-434A-8840-1284D50C9404}" srcOrd="0" destOrd="0" parTransId="{D02B6270-21FC-4707-B61F-B0B71FD838A8}" sibTransId="{41D51AA7-F34D-404D-8E89-FA24B637A30E}"/>
    <dgm:cxn modelId="{47DD0736-7907-4858-B6B0-395215873100}" srcId="{9BDB490A-13D1-450E-ADD5-186C0A419470}" destId="{82E73C9E-E2C1-4CC0-884A-DDC9DE9E0451}" srcOrd="0" destOrd="0" parTransId="{08746133-6024-4EB6-9822-7F72D41E2C47}" sibTransId="{6090AF74-F611-4B68-A262-E0CDF9149DE0}"/>
    <dgm:cxn modelId="{BC976FAE-DF2C-4A3C-932F-9A6F2B9EE796}" type="presOf" srcId="{82E73C9E-E2C1-4CC0-884A-DDC9DE9E0451}" destId="{6FC886F4-72C2-4F6A-9144-D75CDA6D8D62}" srcOrd="0" destOrd="0" presId="urn:microsoft.com/office/officeart/2005/8/layout/vList2"/>
    <dgm:cxn modelId="{1F115DFB-6C9C-4F88-B07D-5AC98CF7C059}" type="presOf" srcId="{1265BBB1-9859-434A-8840-1284D50C9404}" destId="{2BB96914-9A17-488A-A9EC-CE3F96851D6D}" srcOrd="0" destOrd="0" presId="urn:microsoft.com/office/officeart/2005/8/layout/vList2"/>
    <dgm:cxn modelId="{46607DD0-FA43-4F46-A732-04CE791DBD35}" type="presParOf" srcId="{309E1D9E-B1F2-4850-978B-28F19137A748}" destId="{6FC886F4-72C2-4F6A-9144-D75CDA6D8D62}" srcOrd="0" destOrd="0" presId="urn:microsoft.com/office/officeart/2005/8/layout/vList2"/>
    <dgm:cxn modelId="{2E4D1748-7F84-4DDA-94BE-7A2BA4A49885}" type="presParOf" srcId="{309E1D9E-B1F2-4850-978B-28F19137A748}" destId="{2BB96914-9A17-488A-A9EC-CE3F96851D6D}"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16A45907-E9DA-43B5-8A37-6C85A352BD11}" type="doc">
      <dgm:prSet loTypeId="urn:microsoft.com/office/officeart/2008/layout/VerticalCurvedList" loCatId="list" qsTypeId="urn:microsoft.com/office/officeart/2005/8/quickstyle/simple1" qsCatId="simple" csTypeId="urn:microsoft.com/office/officeart/2005/8/colors/accent2_3" csCatId="accent2" phldr="1"/>
      <dgm:spPr/>
      <dgm:t>
        <a:bodyPr/>
        <a:lstStyle/>
        <a:p>
          <a:endParaRPr lang="en-US"/>
        </a:p>
      </dgm:t>
    </dgm:pt>
    <dgm:pt modelId="{BB59EAD9-7092-4370-854E-36B6BD240612}">
      <dgm:prSet/>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dirty="0"/>
            <a:t>The size of the table will determine the time taken to re-cache the replicated table</a:t>
          </a:r>
        </a:p>
      </dgm:t>
    </dgm:pt>
    <dgm:pt modelId="{A181F46D-BD8A-4520-8756-4333D9C28D09}" type="parTrans" cxnId="{847F42DC-C410-4D42-B351-DEADBC53BB4B}">
      <dgm:prSet/>
      <dgm:spPr/>
      <dgm:t>
        <a:bodyPr/>
        <a:lstStyle/>
        <a:p>
          <a:endParaRPr lang="en-US"/>
        </a:p>
      </dgm:t>
    </dgm:pt>
    <dgm:pt modelId="{E1C7A0B2-5885-40B4-97B1-A550E0E545D2}" type="sibTrans" cxnId="{847F42DC-C410-4D42-B351-DEADBC53BB4B}">
      <dgm:prSet/>
      <dgm:spPr/>
      <dgm:t>
        <a:bodyPr/>
        <a:lstStyle/>
        <a:p>
          <a:endParaRPr lang="en-US"/>
        </a:p>
      </dgm:t>
    </dgm:pt>
    <dgm:pt modelId="{B066D75E-FEE0-4C39-8D26-2312FBE9554A}">
      <dgm:prSet/>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a:t>Each data modification requires the replicated copy to be re-cached</a:t>
          </a:r>
        </a:p>
      </dgm:t>
    </dgm:pt>
    <dgm:pt modelId="{351AF153-212E-4302-B73C-6DA1C4DF7F3E}" type="parTrans" cxnId="{4CFC5476-809E-4C4B-A252-655C6EFDFD43}">
      <dgm:prSet/>
      <dgm:spPr/>
      <dgm:t>
        <a:bodyPr/>
        <a:lstStyle/>
        <a:p>
          <a:endParaRPr lang="en-US"/>
        </a:p>
      </dgm:t>
    </dgm:pt>
    <dgm:pt modelId="{993ABC6E-B77E-4520-9833-705B24ABDC2B}" type="sibTrans" cxnId="{4CFC5476-809E-4C4B-A252-655C6EFDFD43}">
      <dgm:prSet/>
      <dgm:spPr/>
      <dgm:t>
        <a:bodyPr/>
        <a:lstStyle/>
        <a:p>
          <a:endParaRPr lang="en-US"/>
        </a:p>
      </dgm:t>
    </dgm:pt>
    <dgm:pt modelId="{5FFBFCE6-8246-47FE-BC62-E72979A2E055}">
      <dgm:prSet/>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a:t>Each SQL Pool Scale operation requires the replicated copy to be re-cached</a:t>
          </a:r>
        </a:p>
      </dgm:t>
    </dgm:pt>
    <dgm:pt modelId="{3E046A18-A46B-47DD-B3B5-0CD20014CFD3}" type="parTrans" cxnId="{04118752-9624-424D-B3FD-56DFADFC721E}">
      <dgm:prSet/>
      <dgm:spPr/>
      <dgm:t>
        <a:bodyPr/>
        <a:lstStyle/>
        <a:p>
          <a:endParaRPr lang="en-US"/>
        </a:p>
      </dgm:t>
    </dgm:pt>
    <dgm:pt modelId="{EE0D5E63-0701-49B3-91B4-6D18746A4511}" type="sibTrans" cxnId="{04118752-9624-424D-B3FD-56DFADFC721E}">
      <dgm:prSet/>
      <dgm:spPr/>
      <dgm:t>
        <a:bodyPr/>
        <a:lstStyle/>
        <a:p>
          <a:endParaRPr lang="en-US"/>
        </a:p>
      </dgm:t>
    </dgm:pt>
    <dgm:pt modelId="{D345A9B2-5B59-4DFA-9B6A-CB04E7295EC7}">
      <dgm:prSet/>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b="0" i="0"/>
            <a:t>Replicated tables are cached to the first Distribution on each Compute Node</a:t>
          </a:r>
          <a:endParaRPr lang="en-US"/>
        </a:p>
      </dgm:t>
    </dgm:pt>
    <dgm:pt modelId="{EC583B10-CED5-44B8-AD81-354EA59EC8BC}" type="parTrans" cxnId="{50B893C4-1824-4A02-9CEA-33953C3286F9}">
      <dgm:prSet/>
      <dgm:spPr/>
      <dgm:t>
        <a:bodyPr/>
        <a:lstStyle/>
        <a:p>
          <a:endParaRPr lang="en-US"/>
        </a:p>
      </dgm:t>
    </dgm:pt>
    <dgm:pt modelId="{FF498866-45E8-4AD1-9788-BE448FA33F9C}" type="sibTrans" cxnId="{50B893C4-1824-4A02-9CEA-33953C3286F9}">
      <dgm:prSet/>
      <dgm:spPr/>
      <dgm:t>
        <a:bodyPr/>
        <a:lstStyle/>
        <a:p>
          <a:endParaRPr lang="en-US"/>
        </a:p>
      </dgm:t>
    </dgm:pt>
    <dgm:pt modelId="{71822FDF-7975-47B1-BD6D-EFEDF9F6B9E5}" type="pres">
      <dgm:prSet presAssocID="{16A45907-E9DA-43B5-8A37-6C85A352BD11}" presName="Name0" presStyleCnt="0">
        <dgm:presLayoutVars>
          <dgm:chMax val="7"/>
          <dgm:chPref val="7"/>
          <dgm:dir/>
        </dgm:presLayoutVars>
      </dgm:prSet>
      <dgm:spPr/>
    </dgm:pt>
    <dgm:pt modelId="{2688F2A3-69CD-445B-8742-45A5214E606B}" type="pres">
      <dgm:prSet presAssocID="{16A45907-E9DA-43B5-8A37-6C85A352BD11}" presName="Name1" presStyleCnt="0"/>
      <dgm:spPr/>
    </dgm:pt>
    <dgm:pt modelId="{91BEEEE9-39C6-474F-BE26-F48AC6D8547C}" type="pres">
      <dgm:prSet presAssocID="{16A45907-E9DA-43B5-8A37-6C85A352BD11}" presName="cycle" presStyleCnt="0"/>
      <dgm:spPr/>
    </dgm:pt>
    <dgm:pt modelId="{1CEB8FEB-F10F-40BC-8556-7CE335603091}" type="pres">
      <dgm:prSet presAssocID="{16A45907-E9DA-43B5-8A37-6C85A352BD11}" presName="srcNode" presStyleLbl="node1" presStyleIdx="0" presStyleCnt="4"/>
      <dgm:spPr/>
    </dgm:pt>
    <dgm:pt modelId="{DA9343B0-53D4-47A4-83AC-180DC722FBBC}" type="pres">
      <dgm:prSet presAssocID="{16A45907-E9DA-43B5-8A37-6C85A352BD11}" presName="conn" presStyleLbl="parChTrans1D2" presStyleIdx="0" presStyleCnt="1"/>
      <dgm:spPr/>
    </dgm:pt>
    <dgm:pt modelId="{F26094B9-4B4E-4AF2-A9E2-3D623DA100E9}" type="pres">
      <dgm:prSet presAssocID="{16A45907-E9DA-43B5-8A37-6C85A352BD11}" presName="extraNode" presStyleLbl="node1" presStyleIdx="0" presStyleCnt="4"/>
      <dgm:spPr/>
    </dgm:pt>
    <dgm:pt modelId="{F8A3F7F0-19FD-4D69-B5BC-04E83F220221}" type="pres">
      <dgm:prSet presAssocID="{16A45907-E9DA-43B5-8A37-6C85A352BD11}" presName="dstNode" presStyleLbl="node1" presStyleIdx="0" presStyleCnt="4"/>
      <dgm:spPr/>
    </dgm:pt>
    <dgm:pt modelId="{A0BC8DF5-588B-400D-A829-8FDBD46AF547}" type="pres">
      <dgm:prSet presAssocID="{BB59EAD9-7092-4370-854E-36B6BD240612}" presName="text_1" presStyleLbl="node1" presStyleIdx="0" presStyleCnt="4">
        <dgm:presLayoutVars>
          <dgm:bulletEnabled val="1"/>
        </dgm:presLayoutVars>
      </dgm:prSet>
      <dgm:spPr/>
    </dgm:pt>
    <dgm:pt modelId="{4F736433-B3CC-47C4-8140-01E1E0BD0D04}" type="pres">
      <dgm:prSet presAssocID="{BB59EAD9-7092-4370-854E-36B6BD240612}" presName="accent_1" presStyleCnt="0"/>
      <dgm:spPr/>
    </dgm:pt>
    <dgm:pt modelId="{F2908787-E8CB-42D2-9B74-4428F0C1FE59}" type="pres">
      <dgm:prSet presAssocID="{BB59EAD9-7092-4370-854E-36B6BD240612}" presName="accentRepeatNode" presStyleLbl="solidFgAcc1" presStyleIdx="0"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E0FD91A0-8361-4602-B5D1-F793FCF5079D}" type="pres">
      <dgm:prSet presAssocID="{B066D75E-FEE0-4C39-8D26-2312FBE9554A}" presName="text_2" presStyleLbl="node1" presStyleIdx="1" presStyleCnt="4">
        <dgm:presLayoutVars>
          <dgm:bulletEnabled val="1"/>
        </dgm:presLayoutVars>
      </dgm:prSet>
      <dgm:spPr/>
    </dgm:pt>
    <dgm:pt modelId="{EB277967-9CCC-4E1C-8B1B-4185AB08780D}" type="pres">
      <dgm:prSet presAssocID="{B066D75E-FEE0-4C39-8D26-2312FBE9554A}" presName="accent_2" presStyleCnt="0"/>
      <dgm:spPr/>
    </dgm:pt>
    <dgm:pt modelId="{DD314253-A998-4C36-AF0A-1B3768E1F085}" type="pres">
      <dgm:prSet presAssocID="{B066D75E-FEE0-4C39-8D26-2312FBE9554A}" presName="accentRepeatNode" presStyleLbl="solidFgAcc1" presStyleIdx="1"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9704CFF4-494B-4CBD-A23B-B3CAD6296D81}" type="pres">
      <dgm:prSet presAssocID="{5FFBFCE6-8246-47FE-BC62-E72979A2E055}" presName="text_3" presStyleLbl="node1" presStyleIdx="2" presStyleCnt="4">
        <dgm:presLayoutVars>
          <dgm:bulletEnabled val="1"/>
        </dgm:presLayoutVars>
      </dgm:prSet>
      <dgm:spPr/>
    </dgm:pt>
    <dgm:pt modelId="{CB879E5D-EFB8-4238-AD9B-CA1118A4A224}" type="pres">
      <dgm:prSet presAssocID="{5FFBFCE6-8246-47FE-BC62-E72979A2E055}" presName="accent_3" presStyleCnt="0"/>
      <dgm:spPr/>
    </dgm:pt>
    <dgm:pt modelId="{88698B88-63F6-4A03-98CE-43DEA8B1CACB}" type="pres">
      <dgm:prSet presAssocID="{5FFBFCE6-8246-47FE-BC62-E72979A2E055}" presName="accentRepeatNode" presStyleLbl="solidFgAcc1" presStyleIdx="2"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6DE47EC2-5F05-49BB-8434-5565C6844557}" type="pres">
      <dgm:prSet presAssocID="{D345A9B2-5B59-4DFA-9B6A-CB04E7295EC7}" presName="text_4" presStyleLbl="node1" presStyleIdx="3" presStyleCnt="4">
        <dgm:presLayoutVars>
          <dgm:bulletEnabled val="1"/>
        </dgm:presLayoutVars>
      </dgm:prSet>
      <dgm:spPr/>
    </dgm:pt>
    <dgm:pt modelId="{4B81F367-1A1D-4F73-B546-C3E4EFF72329}" type="pres">
      <dgm:prSet presAssocID="{D345A9B2-5B59-4DFA-9B6A-CB04E7295EC7}" presName="accent_4" presStyleCnt="0"/>
      <dgm:spPr/>
    </dgm:pt>
    <dgm:pt modelId="{FE59AE7E-F918-427E-8B8C-C7DA7646FE43}" type="pres">
      <dgm:prSet presAssocID="{D345A9B2-5B59-4DFA-9B6A-CB04E7295EC7}" presName="accentRepeatNode" presStyleLbl="solidFgAcc1" presStyleIdx="3"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Lst>
  <dgm:cxnLst>
    <dgm:cxn modelId="{BDE89826-4693-45AA-8CBA-4F29A4D7AF8A}" type="presOf" srcId="{D345A9B2-5B59-4DFA-9B6A-CB04E7295EC7}" destId="{6DE47EC2-5F05-49BB-8434-5565C6844557}" srcOrd="0" destOrd="0" presId="urn:microsoft.com/office/officeart/2008/layout/VerticalCurvedList"/>
    <dgm:cxn modelId="{04878941-5739-40D5-8A55-BDA5AC5D8ECB}" type="presOf" srcId="{5FFBFCE6-8246-47FE-BC62-E72979A2E055}" destId="{9704CFF4-494B-4CBD-A23B-B3CAD6296D81}" srcOrd="0" destOrd="0" presId="urn:microsoft.com/office/officeart/2008/layout/VerticalCurvedList"/>
    <dgm:cxn modelId="{5B79F449-A568-4568-88C5-5B3F00B65133}" type="presOf" srcId="{B066D75E-FEE0-4C39-8D26-2312FBE9554A}" destId="{E0FD91A0-8361-4602-B5D1-F793FCF5079D}" srcOrd="0" destOrd="0" presId="urn:microsoft.com/office/officeart/2008/layout/VerticalCurvedList"/>
    <dgm:cxn modelId="{04118752-9624-424D-B3FD-56DFADFC721E}" srcId="{16A45907-E9DA-43B5-8A37-6C85A352BD11}" destId="{5FFBFCE6-8246-47FE-BC62-E72979A2E055}" srcOrd="2" destOrd="0" parTransId="{3E046A18-A46B-47DD-B3B5-0CD20014CFD3}" sibTransId="{EE0D5E63-0701-49B3-91B4-6D18746A4511}"/>
    <dgm:cxn modelId="{4CFC5476-809E-4C4B-A252-655C6EFDFD43}" srcId="{16A45907-E9DA-43B5-8A37-6C85A352BD11}" destId="{B066D75E-FEE0-4C39-8D26-2312FBE9554A}" srcOrd="1" destOrd="0" parTransId="{351AF153-212E-4302-B73C-6DA1C4DF7F3E}" sibTransId="{993ABC6E-B77E-4520-9833-705B24ABDC2B}"/>
    <dgm:cxn modelId="{173572A8-EB1A-4B55-9337-AE7391DAFF7B}" type="presOf" srcId="{E1C7A0B2-5885-40B4-97B1-A550E0E545D2}" destId="{DA9343B0-53D4-47A4-83AC-180DC722FBBC}" srcOrd="0" destOrd="0" presId="urn:microsoft.com/office/officeart/2008/layout/VerticalCurvedList"/>
    <dgm:cxn modelId="{50B893C4-1824-4A02-9CEA-33953C3286F9}" srcId="{16A45907-E9DA-43B5-8A37-6C85A352BD11}" destId="{D345A9B2-5B59-4DFA-9B6A-CB04E7295EC7}" srcOrd="3" destOrd="0" parTransId="{EC583B10-CED5-44B8-AD81-354EA59EC8BC}" sibTransId="{FF498866-45E8-4AD1-9788-BE448FA33F9C}"/>
    <dgm:cxn modelId="{847F42DC-C410-4D42-B351-DEADBC53BB4B}" srcId="{16A45907-E9DA-43B5-8A37-6C85A352BD11}" destId="{BB59EAD9-7092-4370-854E-36B6BD240612}" srcOrd="0" destOrd="0" parTransId="{A181F46D-BD8A-4520-8756-4333D9C28D09}" sibTransId="{E1C7A0B2-5885-40B4-97B1-A550E0E545D2}"/>
    <dgm:cxn modelId="{6BF717DF-665D-44E8-9586-8091CCD4B4A6}" type="presOf" srcId="{BB59EAD9-7092-4370-854E-36B6BD240612}" destId="{A0BC8DF5-588B-400D-A829-8FDBD46AF547}" srcOrd="0" destOrd="0" presId="urn:microsoft.com/office/officeart/2008/layout/VerticalCurvedList"/>
    <dgm:cxn modelId="{131190FE-73EE-4C39-8748-5BAF06440978}" type="presOf" srcId="{16A45907-E9DA-43B5-8A37-6C85A352BD11}" destId="{71822FDF-7975-47B1-BD6D-EFEDF9F6B9E5}" srcOrd="0" destOrd="0" presId="urn:microsoft.com/office/officeart/2008/layout/VerticalCurvedList"/>
    <dgm:cxn modelId="{DED609A7-1865-49C2-841E-3367ECC06467}" type="presParOf" srcId="{71822FDF-7975-47B1-BD6D-EFEDF9F6B9E5}" destId="{2688F2A3-69CD-445B-8742-45A5214E606B}" srcOrd="0" destOrd="0" presId="urn:microsoft.com/office/officeart/2008/layout/VerticalCurvedList"/>
    <dgm:cxn modelId="{EBFC2BC7-97F7-4CB3-8637-7E4098C19A74}" type="presParOf" srcId="{2688F2A3-69CD-445B-8742-45A5214E606B}" destId="{91BEEEE9-39C6-474F-BE26-F48AC6D8547C}" srcOrd="0" destOrd="0" presId="urn:microsoft.com/office/officeart/2008/layout/VerticalCurvedList"/>
    <dgm:cxn modelId="{C33F64A0-8540-4B26-802F-3FA98013C26B}" type="presParOf" srcId="{91BEEEE9-39C6-474F-BE26-F48AC6D8547C}" destId="{1CEB8FEB-F10F-40BC-8556-7CE335603091}" srcOrd="0" destOrd="0" presId="urn:microsoft.com/office/officeart/2008/layout/VerticalCurvedList"/>
    <dgm:cxn modelId="{29D50B75-2748-484C-9433-BF45062DFA1A}" type="presParOf" srcId="{91BEEEE9-39C6-474F-BE26-F48AC6D8547C}" destId="{DA9343B0-53D4-47A4-83AC-180DC722FBBC}" srcOrd="1" destOrd="0" presId="urn:microsoft.com/office/officeart/2008/layout/VerticalCurvedList"/>
    <dgm:cxn modelId="{872882C3-1623-40B7-A888-ACBA612854B9}" type="presParOf" srcId="{91BEEEE9-39C6-474F-BE26-F48AC6D8547C}" destId="{F26094B9-4B4E-4AF2-A9E2-3D623DA100E9}" srcOrd="2" destOrd="0" presId="urn:microsoft.com/office/officeart/2008/layout/VerticalCurvedList"/>
    <dgm:cxn modelId="{D2F16220-4E33-4686-9544-641F4EE6D075}" type="presParOf" srcId="{91BEEEE9-39C6-474F-BE26-F48AC6D8547C}" destId="{F8A3F7F0-19FD-4D69-B5BC-04E83F220221}" srcOrd="3" destOrd="0" presId="urn:microsoft.com/office/officeart/2008/layout/VerticalCurvedList"/>
    <dgm:cxn modelId="{7BDD571D-4755-4034-8DE1-2BA65B63A1DB}" type="presParOf" srcId="{2688F2A3-69CD-445B-8742-45A5214E606B}" destId="{A0BC8DF5-588B-400D-A829-8FDBD46AF547}" srcOrd="1" destOrd="0" presId="urn:microsoft.com/office/officeart/2008/layout/VerticalCurvedList"/>
    <dgm:cxn modelId="{BF9159DF-2B7F-49AD-B4CA-3CC3788DB2BA}" type="presParOf" srcId="{2688F2A3-69CD-445B-8742-45A5214E606B}" destId="{4F736433-B3CC-47C4-8140-01E1E0BD0D04}" srcOrd="2" destOrd="0" presId="urn:microsoft.com/office/officeart/2008/layout/VerticalCurvedList"/>
    <dgm:cxn modelId="{918DE865-D0F7-4F00-AFD4-D4F5115D0C35}" type="presParOf" srcId="{4F736433-B3CC-47C4-8140-01E1E0BD0D04}" destId="{F2908787-E8CB-42D2-9B74-4428F0C1FE59}" srcOrd="0" destOrd="0" presId="urn:microsoft.com/office/officeart/2008/layout/VerticalCurvedList"/>
    <dgm:cxn modelId="{C295B2F5-23F1-4C3B-8A7B-9254C632C997}" type="presParOf" srcId="{2688F2A3-69CD-445B-8742-45A5214E606B}" destId="{E0FD91A0-8361-4602-B5D1-F793FCF5079D}" srcOrd="3" destOrd="0" presId="urn:microsoft.com/office/officeart/2008/layout/VerticalCurvedList"/>
    <dgm:cxn modelId="{7B5DB436-97AB-4F90-9448-607C018D1CF6}" type="presParOf" srcId="{2688F2A3-69CD-445B-8742-45A5214E606B}" destId="{EB277967-9CCC-4E1C-8B1B-4185AB08780D}" srcOrd="4" destOrd="0" presId="urn:microsoft.com/office/officeart/2008/layout/VerticalCurvedList"/>
    <dgm:cxn modelId="{1F114A08-FA5A-4736-A372-52D3859D1CCD}" type="presParOf" srcId="{EB277967-9CCC-4E1C-8B1B-4185AB08780D}" destId="{DD314253-A998-4C36-AF0A-1B3768E1F085}" srcOrd="0" destOrd="0" presId="urn:microsoft.com/office/officeart/2008/layout/VerticalCurvedList"/>
    <dgm:cxn modelId="{158DB45A-191B-485B-8DFB-54EA99964596}" type="presParOf" srcId="{2688F2A3-69CD-445B-8742-45A5214E606B}" destId="{9704CFF4-494B-4CBD-A23B-B3CAD6296D81}" srcOrd="5" destOrd="0" presId="urn:microsoft.com/office/officeart/2008/layout/VerticalCurvedList"/>
    <dgm:cxn modelId="{0946ED3E-4CB4-4D19-8229-931481A05F9A}" type="presParOf" srcId="{2688F2A3-69CD-445B-8742-45A5214E606B}" destId="{CB879E5D-EFB8-4238-AD9B-CA1118A4A224}" srcOrd="6" destOrd="0" presId="urn:microsoft.com/office/officeart/2008/layout/VerticalCurvedList"/>
    <dgm:cxn modelId="{5ADFFD75-C9FF-49E2-9249-3A1BC829802D}" type="presParOf" srcId="{CB879E5D-EFB8-4238-AD9B-CA1118A4A224}" destId="{88698B88-63F6-4A03-98CE-43DEA8B1CACB}" srcOrd="0" destOrd="0" presId="urn:microsoft.com/office/officeart/2008/layout/VerticalCurvedList"/>
    <dgm:cxn modelId="{29ED53CD-814A-42C7-8F28-DB1050A3DFE5}" type="presParOf" srcId="{2688F2A3-69CD-445B-8742-45A5214E606B}" destId="{6DE47EC2-5F05-49BB-8434-5565C6844557}" srcOrd="7" destOrd="0" presId="urn:microsoft.com/office/officeart/2008/layout/VerticalCurvedList"/>
    <dgm:cxn modelId="{06C27F59-4849-43EE-B174-66F895EA8F7B}" type="presParOf" srcId="{2688F2A3-69CD-445B-8742-45A5214E606B}" destId="{4B81F367-1A1D-4F73-B546-C3E4EFF72329}" srcOrd="8" destOrd="0" presId="urn:microsoft.com/office/officeart/2008/layout/VerticalCurvedList"/>
    <dgm:cxn modelId="{DA05E203-7B99-471E-9168-4A0E4F70BFE9}" type="presParOf" srcId="{4B81F367-1A1D-4F73-B546-C3E4EFF72329}" destId="{FE59AE7E-F918-427E-8B8C-C7DA7646FE43}"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baseline="0"/>
            <a:t>What are the different table geometries in Synapse SQL Pool?</a:t>
          </a:r>
          <a:endParaRPr lang="en-US"/>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baseline="0" dirty="0"/>
            <a:t>If you have a 100B row table, of order details, what geometry would you pick?</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baseline="0" dirty="0"/>
            <a:t>If you have a table of product details, what geometry would you pick?</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baseline="0" dirty="0"/>
            <a:t>When would you use a Round-Robin table?</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0" custLinFactNeighborY="563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2_3" csCatId="accent2" phldr="1"/>
      <dgm:spPr/>
      <dgm:t>
        <a:bodyPr/>
        <a:lstStyle/>
        <a:p>
          <a:endParaRPr lang="en-US"/>
        </a:p>
      </dgm:t>
    </dgm:pt>
    <dgm:pt modelId="{C5464CD1-2A0A-42CF-9EFB-CFBD923C7CDB}">
      <dgm:prSet/>
      <dgm:spPr/>
      <dgm:t>
        <a:bodyPr/>
        <a:lstStyle/>
        <a:p>
          <a:r>
            <a:rPr lang="en-US" baseline="0" dirty="0"/>
            <a:t>What are the 3 criteria for picking a HASH Distribution key?</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5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76799905-9977-4B68-B2C4-6C5DE5361CFD}" type="doc">
      <dgm:prSet loTypeId="urn:microsoft.com/office/officeart/2005/8/layout/hierarchy3" loCatId="list" qsTypeId="urn:microsoft.com/office/officeart/2005/8/quickstyle/simple1" qsCatId="simple" csTypeId="urn:microsoft.com/office/officeart/2005/8/colors/accent2_3" csCatId="accent2" phldr="1"/>
      <dgm:spPr/>
      <dgm:t>
        <a:bodyPr/>
        <a:lstStyle/>
        <a:p>
          <a:endParaRPr lang="es-ES"/>
        </a:p>
      </dgm:t>
    </dgm:pt>
    <dgm:pt modelId="{AA40D0C3-A3D5-45E1-9774-6EF7EEB9BEF2}">
      <dgm:prSet phldrT="[Tex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s-ES" sz="3200" dirty="0"/>
            <a:t>Regular table</a:t>
          </a:r>
        </a:p>
      </dgm:t>
    </dgm:pt>
    <dgm:pt modelId="{B5DB4061-93AF-47BD-ACC3-E7CD75CA81D3}" type="parTrans" cxnId="{AE9418A6-7493-4C81-8068-E0B8E3CFBD7F}">
      <dgm:prSet/>
      <dgm:spPr/>
      <dgm:t>
        <a:bodyPr/>
        <a:lstStyle/>
        <a:p>
          <a:endParaRPr lang="es-ES"/>
        </a:p>
      </dgm:t>
    </dgm:pt>
    <dgm:pt modelId="{A0F101EC-F181-48F1-8F74-781D1FD7E23D}" type="sibTrans" cxnId="{AE9418A6-7493-4C81-8068-E0B8E3CFBD7F}">
      <dgm:prSet/>
      <dgm:spPr/>
      <dgm:t>
        <a:bodyPr/>
        <a:lstStyle/>
        <a:p>
          <a:endParaRPr lang="es-ES"/>
        </a:p>
      </dgm:t>
    </dgm:pt>
    <dgm:pt modelId="{ED000457-D0E5-4BE6-912F-95E36E7433EC}">
      <dgm:prSet phldrT="[Text]" custT="1"/>
      <dgm:spPr/>
      <dgm:t>
        <a:bodyPr/>
        <a:lstStyle/>
        <a:p>
          <a:r>
            <a:rPr lang="en-US" sz="2000" b="0" i="0" dirty="0"/>
            <a:t>Stores data as regular SQL tables</a:t>
          </a:r>
          <a:endParaRPr lang="es-ES" sz="2000" dirty="0"/>
        </a:p>
      </dgm:t>
    </dgm:pt>
    <dgm:pt modelId="{4F28E50A-DBFD-47B5-92A9-19B311C0118A}" type="parTrans" cxnId="{D61295D6-A896-43E5-A8AB-436079E963E4}">
      <dgm:prSet/>
      <dgm:spPr/>
      <dgm:t>
        <a:bodyPr/>
        <a:lstStyle/>
        <a:p>
          <a:endParaRPr lang="es-ES"/>
        </a:p>
      </dgm:t>
    </dgm:pt>
    <dgm:pt modelId="{8F594F02-2793-4DE1-A58E-EDDAE23D68A8}" type="sibTrans" cxnId="{D61295D6-A896-43E5-A8AB-436079E963E4}">
      <dgm:prSet/>
      <dgm:spPr/>
      <dgm:t>
        <a:bodyPr/>
        <a:lstStyle/>
        <a:p>
          <a:endParaRPr lang="es-ES"/>
        </a:p>
      </dgm:t>
    </dgm:pt>
    <dgm:pt modelId="{87D51BB9-6AFA-4562-8C9B-73555517BD41}">
      <dgm:prSet phldrT="[Text]" custT="1"/>
      <dgm:spPr/>
      <dgm:t>
        <a:bodyPr/>
        <a:lstStyle/>
        <a:p>
          <a:r>
            <a:rPr lang="en-US" sz="2000" b="0" i="0" dirty="0"/>
            <a:t>Permanent, until deleted / modified</a:t>
          </a:r>
          <a:endParaRPr lang="es-ES" sz="2000" dirty="0"/>
        </a:p>
      </dgm:t>
    </dgm:pt>
    <dgm:pt modelId="{A0C75548-3B81-451F-9750-B9DF07AA6185}" type="parTrans" cxnId="{67DB5990-882D-4AD3-99F9-9C672CEFA7DF}">
      <dgm:prSet/>
      <dgm:spPr/>
      <dgm:t>
        <a:bodyPr/>
        <a:lstStyle/>
        <a:p>
          <a:endParaRPr lang="es-ES"/>
        </a:p>
      </dgm:t>
    </dgm:pt>
    <dgm:pt modelId="{688020E6-CFF5-47C9-85D9-6C189527664A}" type="sibTrans" cxnId="{67DB5990-882D-4AD3-99F9-9C672CEFA7DF}">
      <dgm:prSet/>
      <dgm:spPr/>
      <dgm:t>
        <a:bodyPr/>
        <a:lstStyle/>
        <a:p>
          <a:endParaRPr lang="es-ES"/>
        </a:p>
      </dgm:t>
    </dgm:pt>
    <dgm:pt modelId="{F897691F-9C14-4A01-9155-417CE6E06A8C}">
      <dgm:prSet phldrT="[Tex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sz="3200" noProof="0" dirty="0"/>
            <a:t>Temporary</a:t>
          </a:r>
          <a:r>
            <a:rPr lang="es-ES" sz="3200" dirty="0"/>
            <a:t> table</a:t>
          </a:r>
        </a:p>
      </dgm:t>
    </dgm:pt>
    <dgm:pt modelId="{5B841482-086A-4F4A-A763-F6834E28FBE2}" type="parTrans" cxnId="{0870151E-58AF-4852-A8CC-F5B193A82E7F}">
      <dgm:prSet/>
      <dgm:spPr/>
      <dgm:t>
        <a:bodyPr/>
        <a:lstStyle/>
        <a:p>
          <a:endParaRPr lang="es-ES"/>
        </a:p>
      </dgm:t>
    </dgm:pt>
    <dgm:pt modelId="{89EE1DCE-85A7-498C-A70A-B58D331BD74F}" type="sibTrans" cxnId="{0870151E-58AF-4852-A8CC-F5B193A82E7F}">
      <dgm:prSet/>
      <dgm:spPr/>
      <dgm:t>
        <a:bodyPr/>
        <a:lstStyle/>
        <a:p>
          <a:endParaRPr lang="es-ES"/>
        </a:p>
      </dgm:t>
    </dgm:pt>
    <dgm:pt modelId="{1FA8F8E1-90F2-44C7-9647-41B274E9464D}">
      <dgm:prSet phldrT="[Text]" custT="1"/>
      <dgm:spPr/>
      <dgm:t>
        <a:bodyPr/>
        <a:lstStyle/>
        <a:p>
          <a:r>
            <a:rPr lang="en-US" sz="2000" b="0" i="0" dirty="0"/>
            <a:t>Only exists for the duration of the session</a:t>
          </a:r>
          <a:endParaRPr lang="es-ES" sz="2000" dirty="0"/>
        </a:p>
      </dgm:t>
    </dgm:pt>
    <dgm:pt modelId="{16BFA6DF-1282-45C0-8404-9D7D2915C8DA}" type="parTrans" cxnId="{B96A66B8-D1E9-4BBE-8C73-2BEACF300907}">
      <dgm:prSet/>
      <dgm:spPr/>
      <dgm:t>
        <a:bodyPr/>
        <a:lstStyle/>
        <a:p>
          <a:endParaRPr lang="es-ES"/>
        </a:p>
      </dgm:t>
    </dgm:pt>
    <dgm:pt modelId="{A60A9A0F-FC17-4287-99C8-2634BBC3C249}" type="sibTrans" cxnId="{B96A66B8-D1E9-4BBE-8C73-2BEACF300907}">
      <dgm:prSet/>
      <dgm:spPr/>
      <dgm:t>
        <a:bodyPr/>
        <a:lstStyle/>
        <a:p>
          <a:endParaRPr lang="es-ES"/>
        </a:p>
      </dgm:t>
    </dgm:pt>
    <dgm:pt modelId="{8D5B83EC-12C2-46A0-9B04-59CA1640F4B2}">
      <dgm:prSet phldrT="[Tex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sz="3200" noProof="0" dirty="0"/>
            <a:t>External</a:t>
          </a:r>
          <a:r>
            <a:rPr lang="es-ES" sz="3200" dirty="0"/>
            <a:t> table</a:t>
          </a:r>
        </a:p>
      </dgm:t>
    </dgm:pt>
    <dgm:pt modelId="{55C7B682-82F4-4DB9-8DFF-F2B3643A9625}" type="parTrans" cxnId="{5246F637-F9B1-449E-9F41-89EFDDDDD22B}">
      <dgm:prSet/>
      <dgm:spPr/>
      <dgm:t>
        <a:bodyPr/>
        <a:lstStyle/>
        <a:p>
          <a:endParaRPr lang="es-ES"/>
        </a:p>
      </dgm:t>
    </dgm:pt>
    <dgm:pt modelId="{2B242E3A-9C35-4F80-81D8-A987A0AC8807}" type="sibTrans" cxnId="{5246F637-F9B1-449E-9F41-89EFDDDDD22B}">
      <dgm:prSet/>
      <dgm:spPr/>
      <dgm:t>
        <a:bodyPr/>
        <a:lstStyle/>
        <a:p>
          <a:endParaRPr lang="es-ES"/>
        </a:p>
      </dgm:t>
    </dgm:pt>
    <dgm:pt modelId="{1E5F42A0-2B42-4679-AB30-6C21FA5AC5FE}">
      <dgm:prSet phldrT="[Text]" custT="1"/>
      <dgm:spPr/>
      <dgm:t>
        <a:bodyPr/>
        <a:lstStyle/>
        <a:p>
          <a:r>
            <a:rPr lang="en-US" sz="2000" b="0" i="0" dirty="0"/>
            <a:t>Utilize local SSD storage</a:t>
          </a:r>
          <a:endParaRPr lang="es-ES" sz="2000" dirty="0"/>
        </a:p>
      </dgm:t>
    </dgm:pt>
    <dgm:pt modelId="{CA1EEA21-EE15-496E-A1AB-3E2EB2944C9A}" type="parTrans" cxnId="{DBADA1B1-472C-438C-9E40-ED7F5C050B24}">
      <dgm:prSet/>
      <dgm:spPr/>
      <dgm:t>
        <a:bodyPr/>
        <a:lstStyle/>
        <a:p>
          <a:endParaRPr lang="es-ES"/>
        </a:p>
      </dgm:t>
    </dgm:pt>
    <dgm:pt modelId="{ABFB580F-7C27-418E-B335-9C7FE62F4973}" type="sibTrans" cxnId="{DBADA1B1-472C-438C-9E40-ED7F5C050B24}">
      <dgm:prSet/>
      <dgm:spPr/>
      <dgm:t>
        <a:bodyPr/>
        <a:lstStyle/>
        <a:p>
          <a:endParaRPr lang="es-ES"/>
        </a:p>
      </dgm:t>
    </dgm:pt>
    <dgm:pt modelId="{4946D435-5A76-46E7-A396-39D570ABD81C}">
      <dgm:prSet phldrT="[Text]" custT="1"/>
      <dgm:spPr/>
      <dgm:t>
        <a:bodyPr/>
        <a:lstStyle/>
        <a:p>
          <a:r>
            <a:rPr lang="en-US" sz="2000" b="0" i="0" dirty="0"/>
            <a:t>References data in external files</a:t>
          </a:r>
          <a:endParaRPr lang="es-ES" sz="2000" dirty="0"/>
        </a:p>
      </dgm:t>
    </dgm:pt>
    <dgm:pt modelId="{7024D34B-E14E-49E3-B167-4B9D056B7E39}" type="parTrans" cxnId="{D19439D9-89CE-43DD-A7BD-57AB6C2BA350}">
      <dgm:prSet/>
      <dgm:spPr/>
      <dgm:t>
        <a:bodyPr/>
        <a:lstStyle/>
        <a:p>
          <a:endParaRPr lang="es-ES"/>
        </a:p>
      </dgm:t>
    </dgm:pt>
    <dgm:pt modelId="{4B0FFF95-0F3C-4E2B-9C9D-4F2A7ACCA394}" type="sibTrans" cxnId="{D19439D9-89CE-43DD-A7BD-57AB6C2BA350}">
      <dgm:prSet/>
      <dgm:spPr/>
      <dgm:t>
        <a:bodyPr/>
        <a:lstStyle/>
        <a:p>
          <a:endParaRPr lang="es-ES"/>
        </a:p>
      </dgm:t>
    </dgm:pt>
    <dgm:pt modelId="{E836D0A1-E46A-4893-BA55-B8F6563E651D}">
      <dgm:prSet phldrT="[Text]" custT="1"/>
      <dgm:spPr/>
      <dgm:t>
        <a:bodyPr/>
        <a:lstStyle/>
        <a:p>
          <a:r>
            <a:rPr lang="en-US" sz="2000" noProof="0" dirty="0"/>
            <a:t>Archival / Cold data </a:t>
          </a:r>
        </a:p>
      </dgm:t>
    </dgm:pt>
    <dgm:pt modelId="{F8329BF9-51EB-4E69-8898-7AD6C2AE6454}" type="parTrans" cxnId="{2DA2E5FC-41E6-41E8-8C5F-D9755D5C8023}">
      <dgm:prSet/>
      <dgm:spPr/>
      <dgm:t>
        <a:bodyPr/>
        <a:lstStyle/>
        <a:p>
          <a:endParaRPr lang="es-ES"/>
        </a:p>
      </dgm:t>
    </dgm:pt>
    <dgm:pt modelId="{57237E47-525D-42C7-A025-926D26869DE6}" type="sibTrans" cxnId="{2DA2E5FC-41E6-41E8-8C5F-D9755D5C8023}">
      <dgm:prSet/>
      <dgm:spPr/>
      <dgm:t>
        <a:bodyPr/>
        <a:lstStyle/>
        <a:p>
          <a:endParaRPr lang="es-ES"/>
        </a:p>
      </dgm:t>
    </dgm:pt>
    <dgm:pt modelId="{E89C75A7-B62E-47B1-A510-3032FD223564}">
      <dgm:prSet phldrT="[Text]" custT="1"/>
      <dgm:spPr/>
      <dgm:t>
        <a:bodyPr/>
        <a:lstStyle/>
        <a:p>
          <a:r>
            <a:rPr lang="en-US" sz="2000" b="0" i="0" dirty="0"/>
            <a:t>Persistence is controlled by external processes</a:t>
          </a:r>
          <a:endParaRPr lang="es-ES" sz="2000" dirty="0"/>
        </a:p>
      </dgm:t>
    </dgm:pt>
    <dgm:pt modelId="{BECCFBE0-B012-4197-A732-B6DD0BA5A126}" type="parTrans" cxnId="{8F296E7E-174C-4067-BB19-98C51B53CD0E}">
      <dgm:prSet/>
      <dgm:spPr/>
      <dgm:t>
        <a:bodyPr/>
        <a:lstStyle/>
        <a:p>
          <a:endParaRPr lang="es-ES"/>
        </a:p>
      </dgm:t>
    </dgm:pt>
    <dgm:pt modelId="{5FD5D3B7-056E-43EB-ACE8-CD3EF168F9E7}" type="sibTrans" cxnId="{8F296E7E-174C-4067-BB19-98C51B53CD0E}">
      <dgm:prSet/>
      <dgm:spPr/>
      <dgm:t>
        <a:bodyPr/>
        <a:lstStyle/>
        <a:p>
          <a:endParaRPr lang="es-ES"/>
        </a:p>
      </dgm:t>
    </dgm:pt>
    <dgm:pt modelId="{298CF145-A375-44D9-9F17-10F3B0A4F831}" type="pres">
      <dgm:prSet presAssocID="{76799905-9977-4B68-B2C4-6C5DE5361CFD}" presName="diagram" presStyleCnt="0">
        <dgm:presLayoutVars>
          <dgm:chPref val="1"/>
          <dgm:dir/>
          <dgm:animOne val="branch"/>
          <dgm:animLvl val="lvl"/>
          <dgm:resizeHandles/>
        </dgm:presLayoutVars>
      </dgm:prSet>
      <dgm:spPr/>
    </dgm:pt>
    <dgm:pt modelId="{200CFFD8-EFA6-49B8-8937-ACC6DA651559}" type="pres">
      <dgm:prSet presAssocID="{AA40D0C3-A3D5-45E1-9774-6EF7EEB9BEF2}" presName="root" presStyleCnt="0"/>
      <dgm:spPr/>
    </dgm:pt>
    <dgm:pt modelId="{6953CE25-241D-4C6B-AED5-0423DBF3F8DE}" type="pres">
      <dgm:prSet presAssocID="{AA40D0C3-A3D5-45E1-9774-6EF7EEB9BEF2}" presName="rootComposite" presStyleCnt="0"/>
      <dgm:spPr/>
    </dgm:pt>
    <dgm:pt modelId="{8A654C68-5099-44E2-BD02-B0AE625E356C}" type="pres">
      <dgm:prSet presAssocID="{AA40D0C3-A3D5-45E1-9774-6EF7EEB9BEF2}" presName="rootText" presStyleLbl="node1" presStyleIdx="0" presStyleCnt="3" custScaleX="202430"/>
      <dgm:spPr/>
    </dgm:pt>
    <dgm:pt modelId="{BC75CA86-1DF8-4B30-A470-DC1AFE24492E}" type="pres">
      <dgm:prSet presAssocID="{AA40D0C3-A3D5-45E1-9774-6EF7EEB9BEF2}" presName="rootConnector" presStyleLbl="node1" presStyleIdx="0" presStyleCnt="3"/>
      <dgm:spPr/>
    </dgm:pt>
    <dgm:pt modelId="{E8C59F9E-DD90-4A09-AF26-896DEE467753}" type="pres">
      <dgm:prSet presAssocID="{AA40D0C3-A3D5-45E1-9774-6EF7EEB9BEF2}" presName="childShape" presStyleCnt="0"/>
      <dgm:spPr/>
    </dgm:pt>
    <dgm:pt modelId="{40148002-4173-4B65-8486-8D99B20F452B}" type="pres">
      <dgm:prSet presAssocID="{4F28E50A-DBFD-47B5-92A9-19B311C0118A}" presName="Name13" presStyleLbl="parChTrans1D2" presStyleIdx="0" presStyleCnt="7"/>
      <dgm:spPr/>
    </dgm:pt>
    <dgm:pt modelId="{C287AC9D-AF88-4688-9791-19C5B64A177C}" type="pres">
      <dgm:prSet presAssocID="{ED000457-D0E5-4BE6-912F-95E36E7433EC}" presName="childText" presStyleLbl="bgAcc1" presStyleIdx="0" presStyleCnt="7" custScaleX="216991" custScaleY="173694">
        <dgm:presLayoutVars>
          <dgm:bulletEnabled val="1"/>
        </dgm:presLayoutVars>
      </dgm:prSet>
      <dgm:spPr/>
    </dgm:pt>
    <dgm:pt modelId="{34202962-BB46-49E1-BB87-E0644603F589}" type="pres">
      <dgm:prSet presAssocID="{A0C75548-3B81-451F-9750-B9DF07AA6185}" presName="Name13" presStyleLbl="parChTrans1D2" presStyleIdx="1" presStyleCnt="7"/>
      <dgm:spPr/>
    </dgm:pt>
    <dgm:pt modelId="{20B5D612-88AF-42E1-A1D0-541825523E0C}" type="pres">
      <dgm:prSet presAssocID="{87D51BB9-6AFA-4562-8C9B-73555517BD41}" presName="childText" presStyleLbl="bgAcc1" presStyleIdx="1" presStyleCnt="7" custScaleX="216991" custScaleY="173694">
        <dgm:presLayoutVars>
          <dgm:bulletEnabled val="1"/>
        </dgm:presLayoutVars>
      </dgm:prSet>
      <dgm:spPr/>
    </dgm:pt>
    <dgm:pt modelId="{75814DE9-4333-4460-BEA2-2BC4D0D84AE4}" type="pres">
      <dgm:prSet presAssocID="{F897691F-9C14-4A01-9155-417CE6E06A8C}" presName="root" presStyleCnt="0"/>
      <dgm:spPr/>
    </dgm:pt>
    <dgm:pt modelId="{89B847DD-60AF-4ABB-B405-844B7E51DB17}" type="pres">
      <dgm:prSet presAssocID="{F897691F-9C14-4A01-9155-417CE6E06A8C}" presName="rootComposite" presStyleCnt="0"/>
      <dgm:spPr/>
    </dgm:pt>
    <dgm:pt modelId="{977580EA-2EB0-4312-9723-6FC21C527AA5}" type="pres">
      <dgm:prSet presAssocID="{F897691F-9C14-4A01-9155-417CE6E06A8C}" presName="rootText" presStyleLbl="node1" presStyleIdx="1" presStyleCnt="3" custScaleX="202430"/>
      <dgm:spPr/>
    </dgm:pt>
    <dgm:pt modelId="{7F8DADDC-251F-4496-8468-7ED4FBD37A42}" type="pres">
      <dgm:prSet presAssocID="{F897691F-9C14-4A01-9155-417CE6E06A8C}" presName="rootConnector" presStyleLbl="node1" presStyleIdx="1" presStyleCnt="3"/>
      <dgm:spPr/>
    </dgm:pt>
    <dgm:pt modelId="{A998F81A-3AF5-4F1F-929C-D1C1452CDF80}" type="pres">
      <dgm:prSet presAssocID="{F897691F-9C14-4A01-9155-417CE6E06A8C}" presName="childShape" presStyleCnt="0"/>
      <dgm:spPr/>
    </dgm:pt>
    <dgm:pt modelId="{EF56F297-C60E-4B83-B22F-DDDBC89DD64A}" type="pres">
      <dgm:prSet presAssocID="{CA1EEA21-EE15-496E-A1AB-3E2EB2944C9A}" presName="Name13" presStyleLbl="parChTrans1D2" presStyleIdx="2" presStyleCnt="7"/>
      <dgm:spPr/>
    </dgm:pt>
    <dgm:pt modelId="{917265FB-1B40-4F66-B066-841A9355ED7C}" type="pres">
      <dgm:prSet presAssocID="{1E5F42A0-2B42-4679-AB30-6C21FA5AC5FE}" presName="childText" presStyleLbl="bgAcc1" presStyleIdx="2" presStyleCnt="7" custScaleX="216991" custScaleY="173694">
        <dgm:presLayoutVars>
          <dgm:bulletEnabled val="1"/>
        </dgm:presLayoutVars>
      </dgm:prSet>
      <dgm:spPr/>
    </dgm:pt>
    <dgm:pt modelId="{88FEEBF5-0738-45B1-BC6F-EDF04751048A}" type="pres">
      <dgm:prSet presAssocID="{16BFA6DF-1282-45C0-8404-9D7D2915C8DA}" presName="Name13" presStyleLbl="parChTrans1D2" presStyleIdx="3" presStyleCnt="7"/>
      <dgm:spPr/>
    </dgm:pt>
    <dgm:pt modelId="{3E4147FB-5FB1-400E-83B8-E14351CA50DB}" type="pres">
      <dgm:prSet presAssocID="{1FA8F8E1-90F2-44C7-9647-41B274E9464D}" presName="childText" presStyleLbl="bgAcc1" presStyleIdx="3" presStyleCnt="7" custScaleX="216991" custScaleY="173694">
        <dgm:presLayoutVars>
          <dgm:bulletEnabled val="1"/>
        </dgm:presLayoutVars>
      </dgm:prSet>
      <dgm:spPr/>
    </dgm:pt>
    <dgm:pt modelId="{69A286D9-09C4-4BD4-8D54-876114052013}" type="pres">
      <dgm:prSet presAssocID="{8D5B83EC-12C2-46A0-9B04-59CA1640F4B2}" presName="root" presStyleCnt="0"/>
      <dgm:spPr/>
    </dgm:pt>
    <dgm:pt modelId="{2B2492D9-D261-44C4-8C6F-0392170790D2}" type="pres">
      <dgm:prSet presAssocID="{8D5B83EC-12C2-46A0-9B04-59CA1640F4B2}" presName="rootComposite" presStyleCnt="0"/>
      <dgm:spPr/>
    </dgm:pt>
    <dgm:pt modelId="{D767CE5B-DA7E-49A6-9B80-EAEFC99C471D}" type="pres">
      <dgm:prSet presAssocID="{8D5B83EC-12C2-46A0-9B04-59CA1640F4B2}" presName="rootText" presStyleLbl="node1" presStyleIdx="2" presStyleCnt="3" custScaleX="202430"/>
      <dgm:spPr/>
    </dgm:pt>
    <dgm:pt modelId="{9577F202-300C-4D7B-954E-49405C3F0872}" type="pres">
      <dgm:prSet presAssocID="{8D5B83EC-12C2-46A0-9B04-59CA1640F4B2}" presName="rootConnector" presStyleLbl="node1" presStyleIdx="2" presStyleCnt="3"/>
      <dgm:spPr/>
    </dgm:pt>
    <dgm:pt modelId="{5C499E30-8575-4BEB-B9EE-05C69AA64974}" type="pres">
      <dgm:prSet presAssocID="{8D5B83EC-12C2-46A0-9B04-59CA1640F4B2}" presName="childShape" presStyleCnt="0"/>
      <dgm:spPr/>
    </dgm:pt>
    <dgm:pt modelId="{DAFFBD0C-1021-4285-9212-8357E66A9E72}" type="pres">
      <dgm:prSet presAssocID="{7024D34B-E14E-49E3-B167-4B9D056B7E39}" presName="Name13" presStyleLbl="parChTrans1D2" presStyleIdx="4" presStyleCnt="7"/>
      <dgm:spPr/>
    </dgm:pt>
    <dgm:pt modelId="{9C709311-9493-4838-AE16-8343D4787DBD}" type="pres">
      <dgm:prSet presAssocID="{4946D435-5A76-46E7-A396-39D570ABD81C}" presName="childText" presStyleLbl="bgAcc1" presStyleIdx="4" presStyleCnt="7" custScaleX="216991" custScaleY="173694">
        <dgm:presLayoutVars>
          <dgm:bulletEnabled val="1"/>
        </dgm:presLayoutVars>
      </dgm:prSet>
      <dgm:spPr/>
    </dgm:pt>
    <dgm:pt modelId="{CDEE10CD-8005-41A6-8847-4E2C26A5152C}" type="pres">
      <dgm:prSet presAssocID="{BECCFBE0-B012-4197-A732-B6DD0BA5A126}" presName="Name13" presStyleLbl="parChTrans1D2" presStyleIdx="5" presStyleCnt="7"/>
      <dgm:spPr/>
    </dgm:pt>
    <dgm:pt modelId="{7FDDE452-A3DC-49EE-BA77-FEB2A814FEAA}" type="pres">
      <dgm:prSet presAssocID="{E89C75A7-B62E-47B1-A510-3032FD223564}" presName="childText" presStyleLbl="bgAcc1" presStyleIdx="5" presStyleCnt="7" custScaleX="216991" custScaleY="173694">
        <dgm:presLayoutVars>
          <dgm:bulletEnabled val="1"/>
        </dgm:presLayoutVars>
      </dgm:prSet>
      <dgm:spPr/>
    </dgm:pt>
    <dgm:pt modelId="{E9D069D1-11AB-426E-9EE6-220B3D631DB7}" type="pres">
      <dgm:prSet presAssocID="{F8329BF9-51EB-4E69-8898-7AD6C2AE6454}" presName="Name13" presStyleLbl="parChTrans1D2" presStyleIdx="6" presStyleCnt="7"/>
      <dgm:spPr/>
    </dgm:pt>
    <dgm:pt modelId="{76BA32CC-E265-4730-A5F7-304921AC5A78}" type="pres">
      <dgm:prSet presAssocID="{E836D0A1-E46A-4893-BA55-B8F6563E651D}" presName="childText" presStyleLbl="bgAcc1" presStyleIdx="6" presStyleCnt="7" custScaleX="216991" custScaleY="173694">
        <dgm:presLayoutVars>
          <dgm:bulletEnabled val="1"/>
        </dgm:presLayoutVars>
      </dgm:prSet>
      <dgm:spPr/>
    </dgm:pt>
  </dgm:ptLst>
  <dgm:cxnLst>
    <dgm:cxn modelId="{76BBEB00-6723-420D-BB2F-2BC5427E502D}" type="presOf" srcId="{1E5F42A0-2B42-4679-AB30-6C21FA5AC5FE}" destId="{917265FB-1B40-4F66-B066-841A9355ED7C}" srcOrd="0" destOrd="0" presId="urn:microsoft.com/office/officeart/2005/8/layout/hierarchy3"/>
    <dgm:cxn modelId="{AFD1B803-8C33-4E00-A364-50AC78EE5B4B}" type="presOf" srcId="{ED000457-D0E5-4BE6-912F-95E36E7433EC}" destId="{C287AC9D-AF88-4688-9791-19C5B64A177C}" srcOrd="0" destOrd="0" presId="urn:microsoft.com/office/officeart/2005/8/layout/hierarchy3"/>
    <dgm:cxn modelId="{318BD309-5B94-4153-BF8E-F0A359695082}" type="presOf" srcId="{F897691F-9C14-4A01-9155-417CE6E06A8C}" destId="{977580EA-2EB0-4312-9723-6FC21C527AA5}" srcOrd="0" destOrd="0" presId="urn:microsoft.com/office/officeart/2005/8/layout/hierarchy3"/>
    <dgm:cxn modelId="{2395DC0B-5B83-4041-83E5-5C07B535B055}" type="presOf" srcId="{F8329BF9-51EB-4E69-8898-7AD6C2AE6454}" destId="{E9D069D1-11AB-426E-9EE6-220B3D631DB7}" srcOrd="0" destOrd="0" presId="urn:microsoft.com/office/officeart/2005/8/layout/hierarchy3"/>
    <dgm:cxn modelId="{7A62EE1C-BC27-48A4-A1C0-78B691D58FF2}" type="presOf" srcId="{4946D435-5A76-46E7-A396-39D570ABD81C}" destId="{9C709311-9493-4838-AE16-8343D4787DBD}" srcOrd="0" destOrd="0" presId="urn:microsoft.com/office/officeart/2005/8/layout/hierarchy3"/>
    <dgm:cxn modelId="{146AA51D-129D-4175-860C-29D4154EC9F3}" type="presOf" srcId="{1FA8F8E1-90F2-44C7-9647-41B274E9464D}" destId="{3E4147FB-5FB1-400E-83B8-E14351CA50DB}" srcOrd="0" destOrd="0" presId="urn:microsoft.com/office/officeart/2005/8/layout/hierarchy3"/>
    <dgm:cxn modelId="{0870151E-58AF-4852-A8CC-F5B193A82E7F}" srcId="{76799905-9977-4B68-B2C4-6C5DE5361CFD}" destId="{F897691F-9C14-4A01-9155-417CE6E06A8C}" srcOrd="1" destOrd="0" parTransId="{5B841482-086A-4F4A-A763-F6834E28FBE2}" sibTransId="{89EE1DCE-85A7-498C-A70A-B58D331BD74F}"/>
    <dgm:cxn modelId="{6BFDFF2A-43AC-40F0-B2EF-FDCC1E174BE4}" type="presOf" srcId="{7024D34B-E14E-49E3-B167-4B9D056B7E39}" destId="{DAFFBD0C-1021-4285-9212-8357E66A9E72}" srcOrd="0" destOrd="0" presId="urn:microsoft.com/office/officeart/2005/8/layout/hierarchy3"/>
    <dgm:cxn modelId="{B018D036-55F7-4153-A63C-568A6C97FD79}" type="presOf" srcId="{4F28E50A-DBFD-47B5-92A9-19B311C0118A}" destId="{40148002-4173-4B65-8486-8D99B20F452B}" srcOrd="0" destOrd="0" presId="urn:microsoft.com/office/officeart/2005/8/layout/hierarchy3"/>
    <dgm:cxn modelId="{5246F637-F9B1-449E-9F41-89EFDDDDD22B}" srcId="{76799905-9977-4B68-B2C4-6C5DE5361CFD}" destId="{8D5B83EC-12C2-46A0-9B04-59CA1640F4B2}" srcOrd="2" destOrd="0" parTransId="{55C7B682-82F4-4DB9-8DFF-F2B3643A9625}" sibTransId="{2B242E3A-9C35-4F80-81D8-A987A0AC8807}"/>
    <dgm:cxn modelId="{1497CF41-8E86-4E0F-9E5F-2F7280748842}" type="presOf" srcId="{AA40D0C3-A3D5-45E1-9774-6EF7EEB9BEF2}" destId="{8A654C68-5099-44E2-BD02-B0AE625E356C}" srcOrd="0" destOrd="0" presId="urn:microsoft.com/office/officeart/2005/8/layout/hierarchy3"/>
    <dgm:cxn modelId="{CBCAF343-2245-47C3-8528-3ADDFF8713D2}" type="presOf" srcId="{87D51BB9-6AFA-4562-8C9B-73555517BD41}" destId="{20B5D612-88AF-42E1-A1D0-541825523E0C}" srcOrd="0" destOrd="0" presId="urn:microsoft.com/office/officeart/2005/8/layout/hierarchy3"/>
    <dgm:cxn modelId="{A3614D44-3FEF-4DDE-B83B-DCE992FA6879}" type="presOf" srcId="{E836D0A1-E46A-4893-BA55-B8F6563E651D}" destId="{76BA32CC-E265-4730-A5F7-304921AC5A78}" srcOrd="0" destOrd="0" presId="urn:microsoft.com/office/officeart/2005/8/layout/hierarchy3"/>
    <dgm:cxn modelId="{B7AF564B-0744-42A0-88B2-974187522E44}" type="presOf" srcId="{AA40D0C3-A3D5-45E1-9774-6EF7EEB9BEF2}" destId="{BC75CA86-1DF8-4B30-A470-DC1AFE24492E}" srcOrd="1" destOrd="0" presId="urn:microsoft.com/office/officeart/2005/8/layout/hierarchy3"/>
    <dgm:cxn modelId="{9AB1CA7A-2E6D-431D-AECC-4FFBBAEBE431}" type="presOf" srcId="{16BFA6DF-1282-45C0-8404-9D7D2915C8DA}" destId="{88FEEBF5-0738-45B1-BC6F-EDF04751048A}" srcOrd="0" destOrd="0" presId="urn:microsoft.com/office/officeart/2005/8/layout/hierarchy3"/>
    <dgm:cxn modelId="{8F296E7E-174C-4067-BB19-98C51B53CD0E}" srcId="{8D5B83EC-12C2-46A0-9B04-59CA1640F4B2}" destId="{E89C75A7-B62E-47B1-A510-3032FD223564}" srcOrd="1" destOrd="0" parTransId="{BECCFBE0-B012-4197-A732-B6DD0BA5A126}" sibTransId="{5FD5D3B7-056E-43EB-ACE8-CD3EF168F9E7}"/>
    <dgm:cxn modelId="{67DB5990-882D-4AD3-99F9-9C672CEFA7DF}" srcId="{AA40D0C3-A3D5-45E1-9774-6EF7EEB9BEF2}" destId="{87D51BB9-6AFA-4562-8C9B-73555517BD41}" srcOrd="1" destOrd="0" parTransId="{A0C75548-3B81-451F-9750-B9DF07AA6185}" sibTransId="{688020E6-CFF5-47C9-85D9-6C189527664A}"/>
    <dgm:cxn modelId="{3348BA9A-4A0D-4A6F-A1CA-5CCCB62464E6}" type="presOf" srcId="{A0C75548-3B81-451F-9750-B9DF07AA6185}" destId="{34202962-BB46-49E1-BB87-E0644603F589}" srcOrd="0" destOrd="0" presId="urn:microsoft.com/office/officeart/2005/8/layout/hierarchy3"/>
    <dgm:cxn modelId="{AE9418A6-7493-4C81-8068-E0B8E3CFBD7F}" srcId="{76799905-9977-4B68-B2C4-6C5DE5361CFD}" destId="{AA40D0C3-A3D5-45E1-9774-6EF7EEB9BEF2}" srcOrd="0" destOrd="0" parTransId="{B5DB4061-93AF-47BD-ACC3-E7CD75CA81D3}" sibTransId="{A0F101EC-F181-48F1-8F74-781D1FD7E23D}"/>
    <dgm:cxn modelId="{DBADA1B1-472C-438C-9E40-ED7F5C050B24}" srcId="{F897691F-9C14-4A01-9155-417CE6E06A8C}" destId="{1E5F42A0-2B42-4679-AB30-6C21FA5AC5FE}" srcOrd="0" destOrd="0" parTransId="{CA1EEA21-EE15-496E-A1AB-3E2EB2944C9A}" sibTransId="{ABFB580F-7C27-418E-B335-9C7FE62F4973}"/>
    <dgm:cxn modelId="{375F04B6-F65D-4C3A-BD1C-034357F160A6}" type="presOf" srcId="{8D5B83EC-12C2-46A0-9B04-59CA1640F4B2}" destId="{9577F202-300C-4D7B-954E-49405C3F0872}" srcOrd="1" destOrd="0" presId="urn:microsoft.com/office/officeart/2005/8/layout/hierarchy3"/>
    <dgm:cxn modelId="{B96A66B8-D1E9-4BBE-8C73-2BEACF300907}" srcId="{F897691F-9C14-4A01-9155-417CE6E06A8C}" destId="{1FA8F8E1-90F2-44C7-9647-41B274E9464D}" srcOrd="1" destOrd="0" parTransId="{16BFA6DF-1282-45C0-8404-9D7D2915C8DA}" sibTransId="{A60A9A0F-FC17-4287-99C8-2634BBC3C249}"/>
    <dgm:cxn modelId="{7EF26AB8-B145-48AB-94C6-F5F205E5F459}" type="presOf" srcId="{8D5B83EC-12C2-46A0-9B04-59CA1640F4B2}" destId="{D767CE5B-DA7E-49A6-9B80-EAEFC99C471D}" srcOrd="0" destOrd="0" presId="urn:microsoft.com/office/officeart/2005/8/layout/hierarchy3"/>
    <dgm:cxn modelId="{2FCB83D2-E203-46A2-B560-2E9063F38BBB}" type="presOf" srcId="{E89C75A7-B62E-47B1-A510-3032FD223564}" destId="{7FDDE452-A3DC-49EE-BA77-FEB2A814FEAA}" srcOrd="0" destOrd="0" presId="urn:microsoft.com/office/officeart/2005/8/layout/hierarchy3"/>
    <dgm:cxn modelId="{D61295D6-A896-43E5-A8AB-436079E963E4}" srcId="{AA40D0C3-A3D5-45E1-9774-6EF7EEB9BEF2}" destId="{ED000457-D0E5-4BE6-912F-95E36E7433EC}" srcOrd="0" destOrd="0" parTransId="{4F28E50A-DBFD-47B5-92A9-19B311C0118A}" sibTransId="{8F594F02-2793-4DE1-A58E-EDDAE23D68A8}"/>
    <dgm:cxn modelId="{D19439D9-89CE-43DD-A7BD-57AB6C2BA350}" srcId="{8D5B83EC-12C2-46A0-9B04-59CA1640F4B2}" destId="{4946D435-5A76-46E7-A396-39D570ABD81C}" srcOrd="0" destOrd="0" parTransId="{7024D34B-E14E-49E3-B167-4B9D056B7E39}" sibTransId="{4B0FFF95-0F3C-4E2B-9C9D-4F2A7ACCA394}"/>
    <dgm:cxn modelId="{CD5742EC-3635-48EE-835A-5EAEFBF28CF7}" type="presOf" srcId="{76799905-9977-4B68-B2C4-6C5DE5361CFD}" destId="{298CF145-A375-44D9-9F17-10F3B0A4F831}" srcOrd="0" destOrd="0" presId="urn:microsoft.com/office/officeart/2005/8/layout/hierarchy3"/>
    <dgm:cxn modelId="{53E49EF0-6698-4305-BCA9-F4FEF0116544}" type="presOf" srcId="{BECCFBE0-B012-4197-A732-B6DD0BA5A126}" destId="{CDEE10CD-8005-41A6-8847-4E2C26A5152C}" srcOrd="0" destOrd="0" presId="urn:microsoft.com/office/officeart/2005/8/layout/hierarchy3"/>
    <dgm:cxn modelId="{CE477DF1-AD37-40D5-9E98-A82001D585F1}" type="presOf" srcId="{F897691F-9C14-4A01-9155-417CE6E06A8C}" destId="{7F8DADDC-251F-4496-8468-7ED4FBD37A42}" srcOrd="1" destOrd="0" presId="urn:microsoft.com/office/officeart/2005/8/layout/hierarchy3"/>
    <dgm:cxn modelId="{307702FB-30B4-4630-8715-24BCD5ADC0BF}" type="presOf" srcId="{CA1EEA21-EE15-496E-A1AB-3E2EB2944C9A}" destId="{EF56F297-C60E-4B83-B22F-DDDBC89DD64A}" srcOrd="0" destOrd="0" presId="urn:microsoft.com/office/officeart/2005/8/layout/hierarchy3"/>
    <dgm:cxn modelId="{2DA2E5FC-41E6-41E8-8C5F-D9755D5C8023}" srcId="{8D5B83EC-12C2-46A0-9B04-59CA1640F4B2}" destId="{E836D0A1-E46A-4893-BA55-B8F6563E651D}" srcOrd="2" destOrd="0" parTransId="{F8329BF9-51EB-4E69-8898-7AD6C2AE6454}" sibTransId="{57237E47-525D-42C7-A025-926D26869DE6}"/>
    <dgm:cxn modelId="{F79BB913-3BD3-435C-8156-1C34CBAFD67F}" type="presParOf" srcId="{298CF145-A375-44D9-9F17-10F3B0A4F831}" destId="{200CFFD8-EFA6-49B8-8937-ACC6DA651559}" srcOrd="0" destOrd="0" presId="urn:microsoft.com/office/officeart/2005/8/layout/hierarchy3"/>
    <dgm:cxn modelId="{51CE84BD-1741-490F-ACCA-203944FE1756}" type="presParOf" srcId="{200CFFD8-EFA6-49B8-8937-ACC6DA651559}" destId="{6953CE25-241D-4C6B-AED5-0423DBF3F8DE}" srcOrd="0" destOrd="0" presId="urn:microsoft.com/office/officeart/2005/8/layout/hierarchy3"/>
    <dgm:cxn modelId="{D1A35EB8-0597-40AC-9107-17167876ACCD}" type="presParOf" srcId="{6953CE25-241D-4C6B-AED5-0423DBF3F8DE}" destId="{8A654C68-5099-44E2-BD02-B0AE625E356C}" srcOrd="0" destOrd="0" presId="urn:microsoft.com/office/officeart/2005/8/layout/hierarchy3"/>
    <dgm:cxn modelId="{DD88CEA3-4D98-435B-ADC6-ED08717615A7}" type="presParOf" srcId="{6953CE25-241D-4C6B-AED5-0423DBF3F8DE}" destId="{BC75CA86-1DF8-4B30-A470-DC1AFE24492E}" srcOrd="1" destOrd="0" presId="urn:microsoft.com/office/officeart/2005/8/layout/hierarchy3"/>
    <dgm:cxn modelId="{0EF18838-CB2A-449E-A0A4-11CE161CE90B}" type="presParOf" srcId="{200CFFD8-EFA6-49B8-8937-ACC6DA651559}" destId="{E8C59F9E-DD90-4A09-AF26-896DEE467753}" srcOrd="1" destOrd="0" presId="urn:microsoft.com/office/officeart/2005/8/layout/hierarchy3"/>
    <dgm:cxn modelId="{D4F6EC98-BA74-4EF2-816F-B987E2F6826A}" type="presParOf" srcId="{E8C59F9E-DD90-4A09-AF26-896DEE467753}" destId="{40148002-4173-4B65-8486-8D99B20F452B}" srcOrd="0" destOrd="0" presId="urn:microsoft.com/office/officeart/2005/8/layout/hierarchy3"/>
    <dgm:cxn modelId="{E3C298F0-E982-4150-92BB-7BBF6785B785}" type="presParOf" srcId="{E8C59F9E-DD90-4A09-AF26-896DEE467753}" destId="{C287AC9D-AF88-4688-9791-19C5B64A177C}" srcOrd="1" destOrd="0" presId="urn:microsoft.com/office/officeart/2005/8/layout/hierarchy3"/>
    <dgm:cxn modelId="{9705F4BC-BBED-4F5C-A4FB-CDE92F2D8CB7}" type="presParOf" srcId="{E8C59F9E-DD90-4A09-AF26-896DEE467753}" destId="{34202962-BB46-49E1-BB87-E0644603F589}" srcOrd="2" destOrd="0" presId="urn:microsoft.com/office/officeart/2005/8/layout/hierarchy3"/>
    <dgm:cxn modelId="{EEFE640E-7214-44B5-BB35-FE35871727B4}" type="presParOf" srcId="{E8C59F9E-DD90-4A09-AF26-896DEE467753}" destId="{20B5D612-88AF-42E1-A1D0-541825523E0C}" srcOrd="3" destOrd="0" presId="urn:microsoft.com/office/officeart/2005/8/layout/hierarchy3"/>
    <dgm:cxn modelId="{E698D18A-B529-4EDF-B66A-2A2B7FF308D6}" type="presParOf" srcId="{298CF145-A375-44D9-9F17-10F3B0A4F831}" destId="{75814DE9-4333-4460-BEA2-2BC4D0D84AE4}" srcOrd="1" destOrd="0" presId="urn:microsoft.com/office/officeart/2005/8/layout/hierarchy3"/>
    <dgm:cxn modelId="{585631DE-A42B-407D-A820-2C8199559D8A}" type="presParOf" srcId="{75814DE9-4333-4460-BEA2-2BC4D0D84AE4}" destId="{89B847DD-60AF-4ABB-B405-844B7E51DB17}" srcOrd="0" destOrd="0" presId="urn:microsoft.com/office/officeart/2005/8/layout/hierarchy3"/>
    <dgm:cxn modelId="{3A398EBE-57A7-4AB3-885B-93B6CF703D99}" type="presParOf" srcId="{89B847DD-60AF-4ABB-B405-844B7E51DB17}" destId="{977580EA-2EB0-4312-9723-6FC21C527AA5}" srcOrd="0" destOrd="0" presId="urn:microsoft.com/office/officeart/2005/8/layout/hierarchy3"/>
    <dgm:cxn modelId="{845C3A3B-3647-4AB2-9D3D-4F36E4E47A0D}" type="presParOf" srcId="{89B847DD-60AF-4ABB-B405-844B7E51DB17}" destId="{7F8DADDC-251F-4496-8468-7ED4FBD37A42}" srcOrd="1" destOrd="0" presId="urn:microsoft.com/office/officeart/2005/8/layout/hierarchy3"/>
    <dgm:cxn modelId="{ED634A8E-D6A5-4F89-9B31-2D2396CBF637}" type="presParOf" srcId="{75814DE9-4333-4460-BEA2-2BC4D0D84AE4}" destId="{A998F81A-3AF5-4F1F-929C-D1C1452CDF80}" srcOrd="1" destOrd="0" presId="urn:microsoft.com/office/officeart/2005/8/layout/hierarchy3"/>
    <dgm:cxn modelId="{1EA8039B-D2AF-4045-82F3-D058F6BE4EF7}" type="presParOf" srcId="{A998F81A-3AF5-4F1F-929C-D1C1452CDF80}" destId="{EF56F297-C60E-4B83-B22F-DDDBC89DD64A}" srcOrd="0" destOrd="0" presId="urn:microsoft.com/office/officeart/2005/8/layout/hierarchy3"/>
    <dgm:cxn modelId="{80EDE969-B4C7-495C-8500-444ECB1E312F}" type="presParOf" srcId="{A998F81A-3AF5-4F1F-929C-D1C1452CDF80}" destId="{917265FB-1B40-4F66-B066-841A9355ED7C}" srcOrd="1" destOrd="0" presId="urn:microsoft.com/office/officeart/2005/8/layout/hierarchy3"/>
    <dgm:cxn modelId="{926B948F-73BE-4782-9F2A-A415F0C52146}" type="presParOf" srcId="{A998F81A-3AF5-4F1F-929C-D1C1452CDF80}" destId="{88FEEBF5-0738-45B1-BC6F-EDF04751048A}" srcOrd="2" destOrd="0" presId="urn:microsoft.com/office/officeart/2005/8/layout/hierarchy3"/>
    <dgm:cxn modelId="{3F38502D-FA49-448F-BDB0-96C4B3853B28}" type="presParOf" srcId="{A998F81A-3AF5-4F1F-929C-D1C1452CDF80}" destId="{3E4147FB-5FB1-400E-83B8-E14351CA50DB}" srcOrd="3" destOrd="0" presId="urn:microsoft.com/office/officeart/2005/8/layout/hierarchy3"/>
    <dgm:cxn modelId="{E60CD993-A63E-45CA-AB18-BA88E0D5AF0B}" type="presParOf" srcId="{298CF145-A375-44D9-9F17-10F3B0A4F831}" destId="{69A286D9-09C4-4BD4-8D54-876114052013}" srcOrd="2" destOrd="0" presId="urn:microsoft.com/office/officeart/2005/8/layout/hierarchy3"/>
    <dgm:cxn modelId="{DF683956-11C2-416E-AC66-3DC3882C48ED}" type="presParOf" srcId="{69A286D9-09C4-4BD4-8D54-876114052013}" destId="{2B2492D9-D261-44C4-8C6F-0392170790D2}" srcOrd="0" destOrd="0" presId="urn:microsoft.com/office/officeart/2005/8/layout/hierarchy3"/>
    <dgm:cxn modelId="{FE6D13D2-AB0A-43B6-81F8-F8C816B06201}" type="presParOf" srcId="{2B2492D9-D261-44C4-8C6F-0392170790D2}" destId="{D767CE5B-DA7E-49A6-9B80-EAEFC99C471D}" srcOrd="0" destOrd="0" presId="urn:microsoft.com/office/officeart/2005/8/layout/hierarchy3"/>
    <dgm:cxn modelId="{DA7C2E22-68EA-4131-A4E2-2B77F8BB27A7}" type="presParOf" srcId="{2B2492D9-D261-44C4-8C6F-0392170790D2}" destId="{9577F202-300C-4D7B-954E-49405C3F0872}" srcOrd="1" destOrd="0" presId="urn:microsoft.com/office/officeart/2005/8/layout/hierarchy3"/>
    <dgm:cxn modelId="{52F9B66F-4954-46C1-B85F-DE4E7C3398A5}" type="presParOf" srcId="{69A286D9-09C4-4BD4-8D54-876114052013}" destId="{5C499E30-8575-4BEB-B9EE-05C69AA64974}" srcOrd="1" destOrd="0" presId="urn:microsoft.com/office/officeart/2005/8/layout/hierarchy3"/>
    <dgm:cxn modelId="{C3E51C07-4237-49D6-A96A-9E171566B199}" type="presParOf" srcId="{5C499E30-8575-4BEB-B9EE-05C69AA64974}" destId="{DAFFBD0C-1021-4285-9212-8357E66A9E72}" srcOrd="0" destOrd="0" presId="urn:microsoft.com/office/officeart/2005/8/layout/hierarchy3"/>
    <dgm:cxn modelId="{E05E0802-21AB-496D-9EBF-0E86DFB0CE3E}" type="presParOf" srcId="{5C499E30-8575-4BEB-B9EE-05C69AA64974}" destId="{9C709311-9493-4838-AE16-8343D4787DBD}" srcOrd="1" destOrd="0" presId="urn:microsoft.com/office/officeart/2005/8/layout/hierarchy3"/>
    <dgm:cxn modelId="{FAEEA6D3-FE65-446F-8002-9E2B06FB1F4D}" type="presParOf" srcId="{5C499E30-8575-4BEB-B9EE-05C69AA64974}" destId="{CDEE10CD-8005-41A6-8847-4E2C26A5152C}" srcOrd="2" destOrd="0" presId="urn:microsoft.com/office/officeart/2005/8/layout/hierarchy3"/>
    <dgm:cxn modelId="{004C9460-B0D6-468D-9EA4-0AA4EDDA1C07}" type="presParOf" srcId="{5C499E30-8575-4BEB-B9EE-05C69AA64974}" destId="{7FDDE452-A3DC-49EE-BA77-FEB2A814FEAA}" srcOrd="3" destOrd="0" presId="urn:microsoft.com/office/officeart/2005/8/layout/hierarchy3"/>
    <dgm:cxn modelId="{1BC9895B-45B4-4C28-B68E-AC36E335134D}" type="presParOf" srcId="{5C499E30-8575-4BEB-B9EE-05C69AA64974}" destId="{E9D069D1-11AB-426E-9EE6-220B3D631DB7}" srcOrd="4" destOrd="0" presId="urn:microsoft.com/office/officeart/2005/8/layout/hierarchy3"/>
    <dgm:cxn modelId="{9F90F9EC-451A-4815-88BC-A53F31389DE5}" type="presParOf" srcId="{5C499E30-8575-4BEB-B9EE-05C69AA64974}" destId="{76BA32CC-E265-4730-A5F7-304921AC5A78}"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9CC795-6F2B-4C98-AE11-96A46864939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s-ES"/>
        </a:p>
      </dgm:t>
    </dgm:pt>
    <dgm:pt modelId="{F48D093A-B06A-4B2B-B127-40F6AEDCAE91}">
      <dgm:prSet phldrT="[Text]"/>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noProof="0" dirty="0"/>
            <a:t>Round-robin Tables</a:t>
          </a:r>
        </a:p>
      </dgm:t>
    </dgm:pt>
    <dgm:pt modelId="{FBEBCB13-5652-4CA3-8346-F4CF80D1AA4E}" type="parTrans" cxnId="{8E11BC93-869A-4E80-9C68-42F3A81EFA7C}">
      <dgm:prSet/>
      <dgm:spPr/>
      <dgm:t>
        <a:bodyPr/>
        <a:lstStyle/>
        <a:p>
          <a:endParaRPr lang="es-ES"/>
        </a:p>
      </dgm:t>
    </dgm:pt>
    <dgm:pt modelId="{A05BEED8-1491-4F7D-93A8-A3DB192DA41D}" type="sibTrans" cxnId="{8E11BC93-869A-4E80-9C68-42F3A81EFA7C}">
      <dgm:prSet/>
      <dgm:spPr/>
      <dgm:t>
        <a:bodyPr/>
        <a:lstStyle/>
        <a:p>
          <a:endParaRPr lang="es-ES"/>
        </a:p>
      </dgm:t>
    </dgm:pt>
    <dgm:pt modelId="{D990A335-A816-4A47-9876-5473F5BA3D3B}">
      <dgm:prSet phldrT="[Text]" custT="1"/>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sz="2400" b="0" i="0" dirty="0"/>
            <a:t>Distributes rows based on the value in the distribution column</a:t>
          </a:r>
          <a:endParaRPr lang="es-ES" sz="2400" dirty="0"/>
        </a:p>
      </dgm:t>
    </dgm:pt>
    <dgm:pt modelId="{AD2F5FAD-ADFE-44FA-BDCF-56043CF5CE2B}" type="parTrans" cxnId="{A4D6BE06-061A-4E4F-978F-E675D340B525}">
      <dgm:prSet/>
      <dgm:spPr/>
      <dgm:t>
        <a:bodyPr/>
        <a:lstStyle/>
        <a:p>
          <a:endParaRPr lang="es-ES"/>
        </a:p>
      </dgm:t>
    </dgm:pt>
    <dgm:pt modelId="{F0A40B31-878A-4CDE-91A4-AC8B1829876D}" type="sibTrans" cxnId="{A4D6BE06-061A-4E4F-978F-E675D340B525}">
      <dgm:prSet/>
      <dgm:spPr/>
      <dgm:t>
        <a:bodyPr/>
        <a:lstStyle/>
        <a:p>
          <a:endParaRPr lang="es-ES"/>
        </a:p>
      </dgm:t>
    </dgm:pt>
    <dgm:pt modelId="{8A795C24-F684-4EB3-A6B5-EF24DEAB28CE}">
      <dgm:prSet phldrT="[Text]" custT="1"/>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sz="2800" noProof="0" dirty="0"/>
            <a:t>Replicated Tables</a:t>
          </a:r>
          <a:endParaRPr lang="es-ES" sz="2800" dirty="0"/>
        </a:p>
      </dgm:t>
    </dgm:pt>
    <dgm:pt modelId="{353EF37C-DF18-4F68-B9F3-89ECF6AD07C2}" type="parTrans" cxnId="{465F2C30-5617-425B-ABE2-1D6D91B90414}">
      <dgm:prSet/>
      <dgm:spPr/>
      <dgm:t>
        <a:bodyPr/>
        <a:lstStyle/>
        <a:p>
          <a:endParaRPr lang="en-US"/>
        </a:p>
      </dgm:t>
    </dgm:pt>
    <dgm:pt modelId="{6FC070C5-110C-4DCC-A7CE-DE91FF56FF23}" type="sibTrans" cxnId="{465F2C30-5617-425B-ABE2-1D6D91B90414}">
      <dgm:prSet/>
      <dgm:spPr/>
      <dgm:t>
        <a:bodyPr/>
        <a:lstStyle/>
        <a:p>
          <a:endParaRPr lang="en-US"/>
        </a:p>
      </dgm:t>
    </dgm:pt>
    <dgm:pt modelId="{EDF2EEE5-4483-4DB8-81F2-641DE2EB30B2}">
      <dgm:prSet phldrT="[Text]" custT="1"/>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sz="2400" b="0" i="0" dirty="0"/>
            <a:t>A full copy of the table is available on each compute node</a:t>
          </a:r>
          <a:endParaRPr lang="es-ES" sz="2400" dirty="0"/>
        </a:p>
      </dgm:t>
    </dgm:pt>
    <dgm:pt modelId="{AEDFB2EA-438A-44F2-B113-9EAB7A181CB2}" type="parTrans" cxnId="{F926EC34-C57E-42A2-BACE-ECF50F85A59A}">
      <dgm:prSet/>
      <dgm:spPr/>
      <dgm:t>
        <a:bodyPr/>
        <a:lstStyle/>
        <a:p>
          <a:endParaRPr lang="en-US"/>
        </a:p>
      </dgm:t>
    </dgm:pt>
    <dgm:pt modelId="{1042C075-5200-4669-BE3B-F3BA4BD67F67}" type="sibTrans" cxnId="{F926EC34-C57E-42A2-BACE-ECF50F85A59A}">
      <dgm:prSet/>
      <dgm:spPr/>
      <dgm:t>
        <a:bodyPr/>
        <a:lstStyle/>
        <a:p>
          <a:endParaRPr lang="en-US"/>
        </a:p>
      </dgm:t>
    </dgm:pt>
    <dgm:pt modelId="{E6D66AB2-E76D-4B31-B57D-AC929257589F}">
      <dgm:prSet phldrT="[Text]" custT="1"/>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sz="2400" b="0" i="0" kern="1200" dirty="0">
              <a:solidFill>
                <a:srgbClr val="000000">
                  <a:hueOff val="0"/>
                  <a:satOff val="0"/>
                  <a:lumOff val="0"/>
                  <a:alphaOff val="0"/>
                </a:srgbClr>
              </a:solidFill>
              <a:latin typeface="Segoe UI"/>
              <a:ea typeface="+mn-ea"/>
              <a:cs typeface="+mn-cs"/>
            </a:rPr>
            <a:t>Distributes table rows evenly across all distributions. </a:t>
          </a:r>
          <a:endParaRPr lang="es-ES" sz="2400" b="0" i="0" kern="1200" dirty="0">
            <a:solidFill>
              <a:srgbClr val="000000">
                <a:hueOff val="0"/>
                <a:satOff val="0"/>
                <a:lumOff val="0"/>
                <a:alphaOff val="0"/>
              </a:srgbClr>
            </a:solidFill>
            <a:latin typeface="Segoe UI"/>
            <a:ea typeface="+mn-ea"/>
            <a:cs typeface="+mn-cs"/>
          </a:endParaRPr>
        </a:p>
      </dgm:t>
    </dgm:pt>
    <dgm:pt modelId="{EA1146DE-8294-488A-A627-AAE6285DF416}" type="parTrans" cxnId="{9ECDCD3E-B94A-475B-B1A9-0C3AD854D94A}">
      <dgm:prSet/>
      <dgm:spPr/>
      <dgm:t>
        <a:bodyPr/>
        <a:lstStyle/>
        <a:p>
          <a:endParaRPr lang="en-US"/>
        </a:p>
      </dgm:t>
    </dgm:pt>
    <dgm:pt modelId="{7FE60865-51BE-442E-9BC6-E912B19B6912}" type="sibTrans" cxnId="{9ECDCD3E-B94A-475B-B1A9-0C3AD854D94A}">
      <dgm:prSet/>
      <dgm:spPr/>
      <dgm:t>
        <a:bodyPr/>
        <a:lstStyle/>
        <a:p>
          <a:endParaRPr lang="en-US"/>
        </a:p>
      </dgm:t>
    </dgm:pt>
    <dgm:pt modelId="{750A0215-1E97-43F3-8F21-E357B0F310CA}">
      <dgm:prSet phldrT="[Text]" custT="1"/>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sz="2400" b="0" i="0" kern="1200" dirty="0">
              <a:solidFill>
                <a:srgbClr val="000000">
                  <a:hueOff val="0"/>
                  <a:satOff val="0"/>
                  <a:lumOff val="0"/>
                  <a:alphaOff val="0"/>
                </a:srgbClr>
              </a:solidFill>
              <a:latin typeface="Segoe UI"/>
              <a:ea typeface="+mn-ea"/>
              <a:cs typeface="+mn-cs"/>
            </a:rPr>
            <a:t>The rows are distributed randomly</a:t>
          </a:r>
          <a:endParaRPr lang="es-ES" sz="2400" b="0" i="0" kern="1200" dirty="0">
            <a:solidFill>
              <a:srgbClr val="000000">
                <a:hueOff val="0"/>
                <a:satOff val="0"/>
                <a:lumOff val="0"/>
                <a:alphaOff val="0"/>
              </a:srgbClr>
            </a:solidFill>
            <a:latin typeface="Segoe UI"/>
            <a:ea typeface="+mn-ea"/>
            <a:cs typeface="+mn-cs"/>
          </a:endParaRPr>
        </a:p>
      </dgm:t>
    </dgm:pt>
    <dgm:pt modelId="{94C9911A-EE7F-46A8-9FFF-9E638DC17155}" type="parTrans" cxnId="{F0149AA1-0148-4855-BEEB-13F3C4AB784B}">
      <dgm:prSet/>
      <dgm:spPr/>
      <dgm:t>
        <a:bodyPr/>
        <a:lstStyle/>
        <a:p>
          <a:endParaRPr lang="en-US"/>
        </a:p>
      </dgm:t>
    </dgm:pt>
    <dgm:pt modelId="{DB4F06D5-5EAB-48FE-A805-EBC6F448F690}" type="sibTrans" cxnId="{F0149AA1-0148-4855-BEEB-13F3C4AB784B}">
      <dgm:prSet/>
      <dgm:spPr/>
      <dgm:t>
        <a:bodyPr/>
        <a:lstStyle/>
        <a:p>
          <a:endParaRPr lang="en-US"/>
        </a:p>
      </dgm:t>
    </dgm:pt>
    <dgm:pt modelId="{2521DACE-D2C8-4475-A047-0A2700CE6851}">
      <dgm:prSet phldrT="[Text]"/>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noProof="0" dirty="0"/>
            <a:t>Hash-distributed tables</a:t>
          </a:r>
        </a:p>
      </dgm:t>
    </dgm:pt>
    <dgm:pt modelId="{9E703BBC-5397-461B-9B67-13B290860A96}" type="parTrans" cxnId="{ADAE3F65-616C-4113-A86C-8A69656796CA}">
      <dgm:prSet/>
      <dgm:spPr/>
      <dgm:t>
        <a:bodyPr/>
        <a:lstStyle/>
        <a:p>
          <a:endParaRPr lang="en-US"/>
        </a:p>
      </dgm:t>
    </dgm:pt>
    <dgm:pt modelId="{787A8BAC-EAEC-4F0D-82AF-4392BCE15C20}" type="sibTrans" cxnId="{ADAE3F65-616C-4113-A86C-8A69656796CA}">
      <dgm:prSet/>
      <dgm:spPr/>
      <dgm:t>
        <a:bodyPr/>
        <a:lstStyle/>
        <a:p>
          <a:endParaRPr lang="en-US"/>
        </a:p>
      </dgm:t>
    </dgm:pt>
    <dgm:pt modelId="{9993237F-347C-461F-A31C-C845190DB0C0}" type="pres">
      <dgm:prSet presAssocID="{B69CC795-6F2B-4C98-AE11-96A468649396}" presName="Name0" presStyleCnt="0">
        <dgm:presLayoutVars>
          <dgm:dir/>
          <dgm:animLvl val="lvl"/>
          <dgm:resizeHandles val="exact"/>
        </dgm:presLayoutVars>
      </dgm:prSet>
      <dgm:spPr/>
    </dgm:pt>
    <dgm:pt modelId="{3C3DF33A-8805-4888-821B-B59D2F5B4ED6}" type="pres">
      <dgm:prSet presAssocID="{F48D093A-B06A-4B2B-B127-40F6AEDCAE91}" presName="composite" presStyleCnt="0"/>
      <dgm:spPr/>
    </dgm:pt>
    <dgm:pt modelId="{099399DF-23C7-4DFE-9542-30092B216D19}" type="pres">
      <dgm:prSet presAssocID="{F48D093A-B06A-4B2B-B127-40F6AEDCAE91}" presName="parTx" presStyleLbl="alignNode1" presStyleIdx="0" presStyleCnt="3">
        <dgm:presLayoutVars>
          <dgm:chMax val="0"/>
          <dgm:chPref val="0"/>
          <dgm:bulletEnabled val="1"/>
        </dgm:presLayoutVars>
      </dgm:prSet>
      <dgm:spPr/>
    </dgm:pt>
    <dgm:pt modelId="{823BB3E5-FD46-4A2E-A44E-98008B15C4B2}" type="pres">
      <dgm:prSet presAssocID="{F48D093A-B06A-4B2B-B127-40F6AEDCAE91}" presName="desTx" presStyleLbl="alignAccFollowNode1" presStyleIdx="0" presStyleCnt="3">
        <dgm:presLayoutVars>
          <dgm:bulletEnabled val="1"/>
        </dgm:presLayoutVars>
      </dgm:prSet>
      <dgm:spPr/>
    </dgm:pt>
    <dgm:pt modelId="{1E2D1ADE-BF2E-4D51-A366-C6BFA5FC76A7}" type="pres">
      <dgm:prSet presAssocID="{A05BEED8-1491-4F7D-93A8-A3DB192DA41D}" presName="space" presStyleCnt="0"/>
      <dgm:spPr/>
    </dgm:pt>
    <dgm:pt modelId="{03D20E96-E62A-4959-BAF4-EEE49581678F}" type="pres">
      <dgm:prSet presAssocID="{2521DACE-D2C8-4475-A047-0A2700CE6851}" presName="composite" presStyleCnt="0"/>
      <dgm:spPr/>
    </dgm:pt>
    <dgm:pt modelId="{CEF6E40E-9078-4BEC-9B3C-60F64F3BBD3A}" type="pres">
      <dgm:prSet presAssocID="{2521DACE-D2C8-4475-A047-0A2700CE6851}" presName="parTx" presStyleLbl="alignNode1" presStyleIdx="1" presStyleCnt="3">
        <dgm:presLayoutVars>
          <dgm:chMax val="0"/>
          <dgm:chPref val="0"/>
          <dgm:bulletEnabled val="1"/>
        </dgm:presLayoutVars>
      </dgm:prSet>
      <dgm:spPr/>
    </dgm:pt>
    <dgm:pt modelId="{2CE4898E-D4B3-4770-B51A-AA84B598529F}" type="pres">
      <dgm:prSet presAssocID="{2521DACE-D2C8-4475-A047-0A2700CE6851}" presName="desTx" presStyleLbl="alignAccFollowNode1" presStyleIdx="1" presStyleCnt="3">
        <dgm:presLayoutVars>
          <dgm:bulletEnabled val="1"/>
        </dgm:presLayoutVars>
      </dgm:prSet>
      <dgm:spPr/>
    </dgm:pt>
    <dgm:pt modelId="{4F2DB90A-5B02-4A87-A6BA-F7FCA60CFCD5}" type="pres">
      <dgm:prSet presAssocID="{787A8BAC-EAEC-4F0D-82AF-4392BCE15C20}" presName="space" presStyleCnt="0"/>
      <dgm:spPr/>
    </dgm:pt>
    <dgm:pt modelId="{2E312651-0B6F-4FDD-A65A-CCD7CFF0309B}" type="pres">
      <dgm:prSet presAssocID="{8A795C24-F684-4EB3-A6B5-EF24DEAB28CE}" presName="composite" presStyleCnt="0"/>
      <dgm:spPr/>
    </dgm:pt>
    <dgm:pt modelId="{14B2050A-3814-4E64-9E6C-B44AE8B635EC}" type="pres">
      <dgm:prSet presAssocID="{8A795C24-F684-4EB3-A6B5-EF24DEAB28CE}" presName="parTx" presStyleLbl="alignNode1" presStyleIdx="2" presStyleCnt="3">
        <dgm:presLayoutVars>
          <dgm:chMax val="0"/>
          <dgm:chPref val="0"/>
          <dgm:bulletEnabled val="1"/>
        </dgm:presLayoutVars>
      </dgm:prSet>
      <dgm:spPr/>
    </dgm:pt>
    <dgm:pt modelId="{5C8230CB-236B-4BC3-AF11-71C29F28DABA}" type="pres">
      <dgm:prSet presAssocID="{8A795C24-F684-4EB3-A6B5-EF24DEAB28CE}" presName="desTx" presStyleLbl="alignAccFollowNode1" presStyleIdx="2" presStyleCnt="3">
        <dgm:presLayoutVars>
          <dgm:bulletEnabled val="1"/>
        </dgm:presLayoutVars>
      </dgm:prSet>
      <dgm:spPr/>
    </dgm:pt>
  </dgm:ptLst>
  <dgm:cxnLst>
    <dgm:cxn modelId="{AD933C01-CECA-4E95-A53F-0EBC2CEC4D9C}" type="presOf" srcId="{E6D66AB2-E76D-4B31-B57D-AC929257589F}" destId="{823BB3E5-FD46-4A2E-A44E-98008B15C4B2}" srcOrd="0" destOrd="0" presId="urn:microsoft.com/office/officeart/2005/8/layout/hList1"/>
    <dgm:cxn modelId="{A4D6BE06-061A-4E4F-978F-E675D340B525}" srcId="{2521DACE-D2C8-4475-A047-0A2700CE6851}" destId="{D990A335-A816-4A47-9876-5473F5BA3D3B}" srcOrd="0" destOrd="0" parTransId="{AD2F5FAD-ADFE-44FA-BDCF-56043CF5CE2B}" sibTransId="{F0A40B31-878A-4CDE-91A4-AC8B1829876D}"/>
    <dgm:cxn modelId="{465F2C30-5617-425B-ABE2-1D6D91B90414}" srcId="{B69CC795-6F2B-4C98-AE11-96A468649396}" destId="{8A795C24-F684-4EB3-A6B5-EF24DEAB28CE}" srcOrd="2" destOrd="0" parTransId="{353EF37C-DF18-4F68-B9F3-89ECF6AD07C2}" sibTransId="{6FC070C5-110C-4DCC-A7CE-DE91FF56FF23}"/>
    <dgm:cxn modelId="{F926EC34-C57E-42A2-BACE-ECF50F85A59A}" srcId="{8A795C24-F684-4EB3-A6B5-EF24DEAB28CE}" destId="{EDF2EEE5-4483-4DB8-81F2-641DE2EB30B2}" srcOrd="0" destOrd="0" parTransId="{AEDFB2EA-438A-44F2-B113-9EAB7A181CB2}" sibTransId="{1042C075-5200-4669-BE3B-F3BA4BD67F67}"/>
    <dgm:cxn modelId="{EBD36E36-53C0-4059-9666-D1A21AE835AD}" type="presOf" srcId="{F48D093A-B06A-4B2B-B127-40F6AEDCAE91}" destId="{099399DF-23C7-4DFE-9542-30092B216D19}" srcOrd="0" destOrd="0" presId="urn:microsoft.com/office/officeart/2005/8/layout/hList1"/>
    <dgm:cxn modelId="{04AEAA36-ED0C-4746-9CB1-D46AC9155163}" type="presOf" srcId="{D990A335-A816-4A47-9876-5473F5BA3D3B}" destId="{2CE4898E-D4B3-4770-B51A-AA84B598529F}" srcOrd="0" destOrd="0" presId="urn:microsoft.com/office/officeart/2005/8/layout/hList1"/>
    <dgm:cxn modelId="{9ECDCD3E-B94A-475B-B1A9-0C3AD854D94A}" srcId="{F48D093A-B06A-4B2B-B127-40F6AEDCAE91}" destId="{E6D66AB2-E76D-4B31-B57D-AC929257589F}" srcOrd="0" destOrd="0" parTransId="{EA1146DE-8294-488A-A627-AAE6285DF416}" sibTransId="{7FE60865-51BE-442E-9BC6-E912B19B6912}"/>
    <dgm:cxn modelId="{ADAE3F65-616C-4113-A86C-8A69656796CA}" srcId="{B69CC795-6F2B-4C98-AE11-96A468649396}" destId="{2521DACE-D2C8-4475-A047-0A2700CE6851}" srcOrd="1" destOrd="0" parTransId="{9E703BBC-5397-461B-9B67-13B290860A96}" sibTransId="{787A8BAC-EAEC-4F0D-82AF-4392BCE15C20}"/>
    <dgm:cxn modelId="{4BBAC88E-8458-43DD-98D4-52A131BE5541}" type="presOf" srcId="{EDF2EEE5-4483-4DB8-81F2-641DE2EB30B2}" destId="{5C8230CB-236B-4BC3-AF11-71C29F28DABA}" srcOrd="0" destOrd="0" presId="urn:microsoft.com/office/officeart/2005/8/layout/hList1"/>
    <dgm:cxn modelId="{8E11BC93-869A-4E80-9C68-42F3A81EFA7C}" srcId="{B69CC795-6F2B-4C98-AE11-96A468649396}" destId="{F48D093A-B06A-4B2B-B127-40F6AEDCAE91}" srcOrd="0" destOrd="0" parTransId="{FBEBCB13-5652-4CA3-8346-F4CF80D1AA4E}" sibTransId="{A05BEED8-1491-4F7D-93A8-A3DB192DA41D}"/>
    <dgm:cxn modelId="{F0149AA1-0148-4855-BEEB-13F3C4AB784B}" srcId="{F48D093A-B06A-4B2B-B127-40F6AEDCAE91}" destId="{750A0215-1E97-43F3-8F21-E357B0F310CA}" srcOrd="1" destOrd="0" parTransId="{94C9911A-EE7F-46A8-9FFF-9E638DC17155}" sibTransId="{DB4F06D5-5EAB-48FE-A805-EBC6F448F690}"/>
    <dgm:cxn modelId="{ADFFC8AA-8B18-498E-95D5-913CAF028654}" type="presOf" srcId="{8A795C24-F684-4EB3-A6B5-EF24DEAB28CE}" destId="{14B2050A-3814-4E64-9E6C-B44AE8B635EC}" srcOrd="0" destOrd="0" presId="urn:microsoft.com/office/officeart/2005/8/layout/hList1"/>
    <dgm:cxn modelId="{4F876EB6-3CD5-4975-9D3B-85DD88FFC93A}" type="presOf" srcId="{750A0215-1E97-43F3-8F21-E357B0F310CA}" destId="{823BB3E5-FD46-4A2E-A44E-98008B15C4B2}" srcOrd="0" destOrd="1" presId="urn:microsoft.com/office/officeart/2005/8/layout/hList1"/>
    <dgm:cxn modelId="{5DD8A4D1-F490-4AA2-BB2C-4508A6E7ED43}" type="presOf" srcId="{2521DACE-D2C8-4475-A047-0A2700CE6851}" destId="{CEF6E40E-9078-4BEC-9B3C-60F64F3BBD3A}" srcOrd="0" destOrd="0" presId="urn:microsoft.com/office/officeart/2005/8/layout/hList1"/>
    <dgm:cxn modelId="{FD4D25EF-45C1-4624-9B88-6DE36CC7EC70}" type="presOf" srcId="{B69CC795-6F2B-4C98-AE11-96A468649396}" destId="{9993237F-347C-461F-A31C-C845190DB0C0}" srcOrd="0" destOrd="0" presId="urn:microsoft.com/office/officeart/2005/8/layout/hList1"/>
    <dgm:cxn modelId="{B82FF7F8-A0F7-43CC-B7C8-867AD5B6293E}" type="presParOf" srcId="{9993237F-347C-461F-A31C-C845190DB0C0}" destId="{3C3DF33A-8805-4888-821B-B59D2F5B4ED6}" srcOrd="0" destOrd="0" presId="urn:microsoft.com/office/officeart/2005/8/layout/hList1"/>
    <dgm:cxn modelId="{ABC7C351-0986-492B-8ED6-040582142F9B}" type="presParOf" srcId="{3C3DF33A-8805-4888-821B-B59D2F5B4ED6}" destId="{099399DF-23C7-4DFE-9542-30092B216D19}" srcOrd="0" destOrd="0" presId="urn:microsoft.com/office/officeart/2005/8/layout/hList1"/>
    <dgm:cxn modelId="{227AE59D-1BB4-4141-9DD1-E8ED7137D88D}" type="presParOf" srcId="{3C3DF33A-8805-4888-821B-B59D2F5B4ED6}" destId="{823BB3E5-FD46-4A2E-A44E-98008B15C4B2}" srcOrd="1" destOrd="0" presId="urn:microsoft.com/office/officeart/2005/8/layout/hList1"/>
    <dgm:cxn modelId="{2523589D-4512-472E-BDBF-C5F045C47A86}" type="presParOf" srcId="{9993237F-347C-461F-A31C-C845190DB0C0}" destId="{1E2D1ADE-BF2E-4D51-A366-C6BFA5FC76A7}" srcOrd="1" destOrd="0" presId="urn:microsoft.com/office/officeart/2005/8/layout/hList1"/>
    <dgm:cxn modelId="{7572A516-434B-4272-89AE-4BB883FFFC32}" type="presParOf" srcId="{9993237F-347C-461F-A31C-C845190DB0C0}" destId="{03D20E96-E62A-4959-BAF4-EEE49581678F}" srcOrd="2" destOrd="0" presId="urn:microsoft.com/office/officeart/2005/8/layout/hList1"/>
    <dgm:cxn modelId="{4ED7A1BD-86AF-4A2C-A6DA-A4C097C414AA}" type="presParOf" srcId="{03D20E96-E62A-4959-BAF4-EEE49581678F}" destId="{CEF6E40E-9078-4BEC-9B3C-60F64F3BBD3A}" srcOrd="0" destOrd="0" presId="urn:microsoft.com/office/officeart/2005/8/layout/hList1"/>
    <dgm:cxn modelId="{D265A232-EE6E-4CE8-8669-255AC9DF3CFA}" type="presParOf" srcId="{03D20E96-E62A-4959-BAF4-EEE49581678F}" destId="{2CE4898E-D4B3-4770-B51A-AA84B598529F}" srcOrd="1" destOrd="0" presId="urn:microsoft.com/office/officeart/2005/8/layout/hList1"/>
    <dgm:cxn modelId="{CF0AE0B1-F3EA-4737-9316-23CD2B7A2F73}" type="presParOf" srcId="{9993237F-347C-461F-A31C-C845190DB0C0}" destId="{4F2DB90A-5B02-4A87-A6BA-F7FCA60CFCD5}" srcOrd="3" destOrd="0" presId="urn:microsoft.com/office/officeart/2005/8/layout/hList1"/>
    <dgm:cxn modelId="{CC692416-6143-4229-B892-FC6B2AA86772}" type="presParOf" srcId="{9993237F-347C-461F-A31C-C845190DB0C0}" destId="{2E312651-0B6F-4FDD-A65A-CCD7CFF0309B}" srcOrd="4" destOrd="0" presId="urn:microsoft.com/office/officeart/2005/8/layout/hList1"/>
    <dgm:cxn modelId="{F5ABBA4A-6406-4D5D-B891-9F4196C5282A}" type="presParOf" srcId="{2E312651-0B6F-4FDD-A65A-CCD7CFF0309B}" destId="{14B2050A-3814-4E64-9E6C-B44AE8B635EC}" srcOrd="0" destOrd="0" presId="urn:microsoft.com/office/officeart/2005/8/layout/hList1"/>
    <dgm:cxn modelId="{29027DC8-F3ED-4D23-9C83-2A1AC443D252}" type="presParOf" srcId="{2E312651-0B6F-4FDD-A65A-CCD7CFF0309B}" destId="{5C8230CB-236B-4BC3-AF11-71C29F28DABA}"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BBB64ED4-DBC1-4CD3-B69C-EBE5CD70AA71}" type="doc">
      <dgm:prSet loTypeId="urn:microsoft.com/office/officeart/2008/layout/VerticalCurvedList" loCatId="list" qsTypeId="urn:microsoft.com/office/officeart/2005/8/quickstyle/simple1" qsCatId="simple" csTypeId="urn:microsoft.com/office/officeart/2005/8/colors/accent2_3" csCatId="accent2" phldr="1"/>
      <dgm:spPr/>
      <dgm:t>
        <a:bodyPr/>
        <a:lstStyle/>
        <a:p>
          <a:endParaRPr lang="en-US"/>
        </a:p>
      </dgm:t>
    </dgm:pt>
    <dgm:pt modelId="{A0EFCCF0-F36D-4D4C-8651-2A66A876807E}">
      <dgm:prSet/>
      <dgm:spPr/>
      <dgm:t>
        <a:bodyPr/>
        <a:lstStyle/>
        <a:p>
          <a:r>
            <a:rPr lang="en-US" b="0" i="0" dirty="0"/>
            <a:t>Stored in local SSD rather than remote storage, potentially better performance</a:t>
          </a:r>
          <a:endParaRPr lang="en-US" dirty="0"/>
        </a:p>
      </dgm:t>
    </dgm:pt>
    <dgm:pt modelId="{4EAFBD5D-7625-4D45-8C88-5F11994EDA47}" type="parTrans" cxnId="{46DD0886-2E47-45C8-8778-028951DA9479}">
      <dgm:prSet/>
      <dgm:spPr/>
      <dgm:t>
        <a:bodyPr/>
        <a:lstStyle/>
        <a:p>
          <a:endParaRPr lang="en-US"/>
        </a:p>
      </dgm:t>
    </dgm:pt>
    <dgm:pt modelId="{466F4E9F-DBBB-45B8-A897-8D1EE13DAC7B}" type="sibTrans" cxnId="{46DD0886-2E47-45C8-8778-028951DA9479}">
      <dgm:prSet/>
      <dgm:spPr/>
      <dgm:t>
        <a:bodyPr/>
        <a:lstStyle/>
        <a:p>
          <a:endParaRPr lang="en-US"/>
        </a:p>
      </dgm:t>
    </dgm:pt>
    <dgm:pt modelId="{514C7FD3-1865-4788-83EE-103912E2FFF5}">
      <dgm:prSet/>
      <dgm:spPr/>
      <dgm:t>
        <a:bodyPr/>
        <a:lstStyle/>
        <a:p>
          <a:r>
            <a:rPr lang="en-US" b="0" i="0" dirty="0"/>
            <a:t>Scoped to the session in which they were created, dropped when that session ends</a:t>
          </a:r>
          <a:endParaRPr lang="en-US" dirty="0"/>
        </a:p>
      </dgm:t>
    </dgm:pt>
    <dgm:pt modelId="{B70177B9-CA5D-42BD-9339-3A3CE462698D}" type="parTrans" cxnId="{7599FADF-12FB-4C22-938F-D99DC6D4A392}">
      <dgm:prSet/>
      <dgm:spPr/>
      <dgm:t>
        <a:bodyPr/>
        <a:lstStyle/>
        <a:p>
          <a:endParaRPr lang="en-US"/>
        </a:p>
      </dgm:t>
    </dgm:pt>
    <dgm:pt modelId="{3C8A50DA-AF22-404C-812E-B3DCC80CCAEE}" type="sibTrans" cxnId="{7599FADF-12FB-4C22-938F-D99DC6D4A392}">
      <dgm:prSet/>
      <dgm:spPr/>
      <dgm:t>
        <a:bodyPr/>
        <a:lstStyle/>
        <a:p>
          <a:endParaRPr lang="en-US"/>
        </a:p>
      </dgm:t>
    </dgm:pt>
    <dgm:pt modelId="{95FA9273-E0D0-472C-98F4-5478FD427684}">
      <dgm:prSet/>
      <dgm:spPr/>
      <dgm:t>
        <a:bodyPr/>
        <a:lstStyle/>
        <a:p>
          <a:r>
            <a:rPr lang="en-US" b="0" i="0" dirty="0"/>
            <a:t>May be used outside of the procedure that created them. </a:t>
          </a:r>
          <a:endParaRPr lang="en-US" dirty="0"/>
        </a:p>
      </dgm:t>
    </dgm:pt>
    <dgm:pt modelId="{02C63DA1-9AF5-406D-B10A-9E97DA2F73E0}" type="parTrans" cxnId="{B099DE67-1FAD-4C78-A7D3-A4E284A093C4}">
      <dgm:prSet/>
      <dgm:spPr/>
      <dgm:t>
        <a:bodyPr/>
        <a:lstStyle/>
        <a:p>
          <a:endParaRPr lang="en-US"/>
        </a:p>
      </dgm:t>
    </dgm:pt>
    <dgm:pt modelId="{3BED1808-C77A-44FB-866A-321383DA33E8}" type="sibTrans" cxnId="{B099DE67-1FAD-4C78-A7D3-A4E284A093C4}">
      <dgm:prSet/>
      <dgm:spPr/>
      <dgm:t>
        <a:bodyPr/>
        <a:lstStyle/>
        <a:p>
          <a:endParaRPr lang="en-US"/>
        </a:p>
      </dgm:t>
    </dgm:pt>
    <dgm:pt modelId="{2FF91A7F-77B0-4EA4-93CF-07E7CD9929B7}" type="pres">
      <dgm:prSet presAssocID="{BBB64ED4-DBC1-4CD3-B69C-EBE5CD70AA71}" presName="Name0" presStyleCnt="0">
        <dgm:presLayoutVars>
          <dgm:chMax val="7"/>
          <dgm:chPref val="7"/>
          <dgm:dir/>
        </dgm:presLayoutVars>
      </dgm:prSet>
      <dgm:spPr/>
    </dgm:pt>
    <dgm:pt modelId="{448BF5ED-3332-44E8-A39B-57BD386E3C71}" type="pres">
      <dgm:prSet presAssocID="{BBB64ED4-DBC1-4CD3-B69C-EBE5CD70AA71}" presName="Name1" presStyleCnt="0"/>
      <dgm:spPr/>
    </dgm:pt>
    <dgm:pt modelId="{C05D91B1-8150-400F-8CAE-859976F96FDE}" type="pres">
      <dgm:prSet presAssocID="{BBB64ED4-DBC1-4CD3-B69C-EBE5CD70AA71}" presName="cycle" presStyleCnt="0"/>
      <dgm:spPr/>
    </dgm:pt>
    <dgm:pt modelId="{F4E3AD81-7D30-46FD-BADE-39E9977F2467}" type="pres">
      <dgm:prSet presAssocID="{BBB64ED4-DBC1-4CD3-B69C-EBE5CD70AA71}" presName="srcNode" presStyleLbl="node1" presStyleIdx="0" presStyleCnt="3"/>
      <dgm:spPr/>
    </dgm:pt>
    <dgm:pt modelId="{DB3D0A68-F73A-44D3-9C69-83546643E8AA}" type="pres">
      <dgm:prSet presAssocID="{BBB64ED4-DBC1-4CD3-B69C-EBE5CD70AA71}" presName="conn" presStyleLbl="parChTrans1D2" presStyleIdx="0" presStyleCnt="1"/>
      <dgm:spPr/>
    </dgm:pt>
    <dgm:pt modelId="{FAE1DFE9-44FF-4392-99AD-153BB19CEF6C}" type="pres">
      <dgm:prSet presAssocID="{BBB64ED4-DBC1-4CD3-B69C-EBE5CD70AA71}" presName="extraNode" presStyleLbl="node1" presStyleIdx="0" presStyleCnt="3"/>
      <dgm:spPr/>
    </dgm:pt>
    <dgm:pt modelId="{C8D4BEFF-8179-448F-916B-22FE5E8276DA}" type="pres">
      <dgm:prSet presAssocID="{BBB64ED4-DBC1-4CD3-B69C-EBE5CD70AA71}" presName="dstNode" presStyleLbl="node1" presStyleIdx="0" presStyleCnt="3"/>
      <dgm:spPr/>
    </dgm:pt>
    <dgm:pt modelId="{C3E7CD55-81C3-44AD-8968-6D563316A8EB}" type="pres">
      <dgm:prSet presAssocID="{A0EFCCF0-F36D-4D4C-8651-2A66A876807E}" presName="text_1" presStyleLbl="node1" presStyleIdx="0" presStyleCnt="3">
        <dgm:presLayoutVars>
          <dgm:bulletEnabled val="1"/>
        </dgm:presLayoutVars>
      </dgm:prSet>
      <dgm:spPr/>
    </dgm:pt>
    <dgm:pt modelId="{CA1FE618-7C15-4033-BDEF-A5F554509BAD}" type="pres">
      <dgm:prSet presAssocID="{A0EFCCF0-F36D-4D4C-8651-2A66A876807E}" presName="accent_1" presStyleCnt="0"/>
      <dgm:spPr/>
    </dgm:pt>
    <dgm:pt modelId="{67B4405F-9C37-403B-AC4F-2722B0669585}" type="pres">
      <dgm:prSet presAssocID="{A0EFCCF0-F36D-4D4C-8651-2A66A876807E}" presName="accentRepeatNode" presStyleLbl="solidFgAcc1" presStyleIdx="0" presStyleCnt="3"/>
      <dgm:spPr/>
    </dgm:pt>
    <dgm:pt modelId="{5F1573DD-D10D-483F-9575-51D0517218B8}" type="pres">
      <dgm:prSet presAssocID="{514C7FD3-1865-4788-83EE-103912E2FFF5}" presName="text_2" presStyleLbl="node1" presStyleIdx="1" presStyleCnt="3">
        <dgm:presLayoutVars>
          <dgm:bulletEnabled val="1"/>
        </dgm:presLayoutVars>
      </dgm:prSet>
      <dgm:spPr/>
    </dgm:pt>
    <dgm:pt modelId="{9E982D8F-AD48-42BC-B999-6CB0E4BA7DF7}" type="pres">
      <dgm:prSet presAssocID="{514C7FD3-1865-4788-83EE-103912E2FFF5}" presName="accent_2" presStyleCnt="0"/>
      <dgm:spPr/>
    </dgm:pt>
    <dgm:pt modelId="{A3C3655B-4060-427A-83D0-26278DC83493}" type="pres">
      <dgm:prSet presAssocID="{514C7FD3-1865-4788-83EE-103912E2FFF5}" presName="accentRepeatNode" presStyleLbl="solidFgAcc1" presStyleIdx="1" presStyleCnt="3"/>
      <dgm:spPr/>
    </dgm:pt>
    <dgm:pt modelId="{901B8771-0198-456E-845F-D44422DC62EB}" type="pres">
      <dgm:prSet presAssocID="{95FA9273-E0D0-472C-98F4-5478FD427684}" presName="text_3" presStyleLbl="node1" presStyleIdx="2" presStyleCnt="3">
        <dgm:presLayoutVars>
          <dgm:bulletEnabled val="1"/>
        </dgm:presLayoutVars>
      </dgm:prSet>
      <dgm:spPr/>
    </dgm:pt>
    <dgm:pt modelId="{8F1944E7-641B-44F7-846C-2658740BD7ED}" type="pres">
      <dgm:prSet presAssocID="{95FA9273-E0D0-472C-98F4-5478FD427684}" presName="accent_3" presStyleCnt="0"/>
      <dgm:spPr/>
    </dgm:pt>
    <dgm:pt modelId="{B609696B-E2D8-4D55-9B62-58ABD26FF651}" type="pres">
      <dgm:prSet presAssocID="{95FA9273-E0D0-472C-98F4-5478FD427684}" presName="accentRepeatNode" presStyleLbl="solidFgAcc1" presStyleIdx="2" presStyleCnt="3"/>
      <dgm:spPr/>
    </dgm:pt>
  </dgm:ptLst>
  <dgm:cxnLst>
    <dgm:cxn modelId="{2B252321-1A52-4ACC-AA47-0FEF43ED6E95}" type="presOf" srcId="{A0EFCCF0-F36D-4D4C-8651-2A66A876807E}" destId="{C3E7CD55-81C3-44AD-8968-6D563316A8EB}" srcOrd="0" destOrd="0" presId="urn:microsoft.com/office/officeart/2008/layout/VerticalCurvedList"/>
    <dgm:cxn modelId="{AF9B0226-CCDE-4410-B221-8CBABFBBC4CA}" type="presOf" srcId="{466F4E9F-DBBB-45B8-A897-8D1EE13DAC7B}" destId="{DB3D0A68-F73A-44D3-9C69-83546643E8AA}" srcOrd="0" destOrd="0" presId="urn:microsoft.com/office/officeart/2008/layout/VerticalCurvedList"/>
    <dgm:cxn modelId="{EA062F3B-DDCC-40FF-A8A6-4C46FB1D6845}" type="presOf" srcId="{95FA9273-E0D0-472C-98F4-5478FD427684}" destId="{901B8771-0198-456E-845F-D44422DC62EB}" srcOrd="0" destOrd="0" presId="urn:microsoft.com/office/officeart/2008/layout/VerticalCurvedList"/>
    <dgm:cxn modelId="{BCA45D5E-D6C2-4B06-8230-815D06923F9F}" type="presOf" srcId="{514C7FD3-1865-4788-83EE-103912E2FFF5}" destId="{5F1573DD-D10D-483F-9575-51D0517218B8}" srcOrd="0" destOrd="0" presId="urn:microsoft.com/office/officeart/2008/layout/VerticalCurvedList"/>
    <dgm:cxn modelId="{B099DE67-1FAD-4C78-A7D3-A4E284A093C4}" srcId="{BBB64ED4-DBC1-4CD3-B69C-EBE5CD70AA71}" destId="{95FA9273-E0D0-472C-98F4-5478FD427684}" srcOrd="2" destOrd="0" parTransId="{02C63DA1-9AF5-406D-B10A-9E97DA2F73E0}" sibTransId="{3BED1808-C77A-44FB-866A-321383DA33E8}"/>
    <dgm:cxn modelId="{46DD0886-2E47-45C8-8778-028951DA9479}" srcId="{BBB64ED4-DBC1-4CD3-B69C-EBE5CD70AA71}" destId="{A0EFCCF0-F36D-4D4C-8651-2A66A876807E}" srcOrd="0" destOrd="0" parTransId="{4EAFBD5D-7625-4D45-8C88-5F11994EDA47}" sibTransId="{466F4E9F-DBBB-45B8-A897-8D1EE13DAC7B}"/>
    <dgm:cxn modelId="{7599FADF-12FB-4C22-938F-D99DC6D4A392}" srcId="{BBB64ED4-DBC1-4CD3-B69C-EBE5CD70AA71}" destId="{514C7FD3-1865-4788-83EE-103912E2FFF5}" srcOrd="1" destOrd="0" parTransId="{B70177B9-CA5D-42BD-9339-3A3CE462698D}" sibTransId="{3C8A50DA-AF22-404C-812E-B3DCC80CCAEE}"/>
    <dgm:cxn modelId="{DC047DFD-C09B-47ED-918E-B3F7706A1D9E}" type="presOf" srcId="{BBB64ED4-DBC1-4CD3-B69C-EBE5CD70AA71}" destId="{2FF91A7F-77B0-4EA4-93CF-07E7CD9929B7}" srcOrd="0" destOrd="0" presId="urn:microsoft.com/office/officeart/2008/layout/VerticalCurvedList"/>
    <dgm:cxn modelId="{DDE93440-CB7D-491A-BA63-2BCA2FCA52E0}" type="presParOf" srcId="{2FF91A7F-77B0-4EA4-93CF-07E7CD9929B7}" destId="{448BF5ED-3332-44E8-A39B-57BD386E3C71}" srcOrd="0" destOrd="0" presId="urn:microsoft.com/office/officeart/2008/layout/VerticalCurvedList"/>
    <dgm:cxn modelId="{BAB69578-91C9-40B6-85B1-0FE3B8B25213}" type="presParOf" srcId="{448BF5ED-3332-44E8-A39B-57BD386E3C71}" destId="{C05D91B1-8150-400F-8CAE-859976F96FDE}" srcOrd="0" destOrd="0" presId="urn:microsoft.com/office/officeart/2008/layout/VerticalCurvedList"/>
    <dgm:cxn modelId="{D3BD45A9-4B2F-4447-8763-5D11EBC58365}" type="presParOf" srcId="{C05D91B1-8150-400F-8CAE-859976F96FDE}" destId="{F4E3AD81-7D30-46FD-BADE-39E9977F2467}" srcOrd="0" destOrd="0" presId="urn:microsoft.com/office/officeart/2008/layout/VerticalCurvedList"/>
    <dgm:cxn modelId="{680AB433-6A31-4AFA-AD00-A1449A866FF0}" type="presParOf" srcId="{C05D91B1-8150-400F-8CAE-859976F96FDE}" destId="{DB3D0A68-F73A-44D3-9C69-83546643E8AA}" srcOrd="1" destOrd="0" presId="urn:microsoft.com/office/officeart/2008/layout/VerticalCurvedList"/>
    <dgm:cxn modelId="{32A4ECD8-A675-46C4-A9F5-0C731D1A2A96}" type="presParOf" srcId="{C05D91B1-8150-400F-8CAE-859976F96FDE}" destId="{FAE1DFE9-44FF-4392-99AD-153BB19CEF6C}" srcOrd="2" destOrd="0" presId="urn:microsoft.com/office/officeart/2008/layout/VerticalCurvedList"/>
    <dgm:cxn modelId="{C11EC27F-6E6F-4870-AB2C-1A1A02A0163E}" type="presParOf" srcId="{C05D91B1-8150-400F-8CAE-859976F96FDE}" destId="{C8D4BEFF-8179-448F-916B-22FE5E8276DA}" srcOrd="3" destOrd="0" presId="urn:microsoft.com/office/officeart/2008/layout/VerticalCurvedList"/>
    <dgm:cxn modelId="{5CD46879-D17B-4968-AE4B-31A5973DED5B}" type="presParOf" srcId="{448BF5ED-3332-44E8-A39B-57BD386E3C71}" destId="{C3E7CD55-81C3-44AD-8968-6D563316A8EB}" srcOrd="1" destOrd="0" presId="urn:microsoft.com/office/officeart/2008/layout/VerticalCurvedList"/>
    <dgm:cxn modelId="{42BAF45C-9912-4530-8057-CB2475CE0F78}" type="presParOf" srcId="{448BF5ED-3332-44E8-A39B-57BD386E3C71}" destId="{CA1FE618-7C15-4033-BDEF-A5F554509BAD}" srcOrd="2" destOrd="0" presId="urn:microsoft.com/office/officeart/2008/layout/VerticalCurvedList"/>
    <dgm:cxn modelId="{B7B6C6D9-79AB-4806-A437-C6E0B38C3940}" type="presParOf" srcId="{CA1FE618-7C15-4033-BDEF-A5F554509BAD}" destId="{67B4405F-9C37-403B-AC4F-2722B0669585}" srcOrd="0" destOrd="0" presId="urn:microsoft.com/office/officeart/2008/layout/VerticalCurvedList"/>
    <dgm:cxn modelId="{03572798-662C-4A7D-8B0C-D96D063A506E}" type="presParOf" srcId="{448BF5ED-3332-44E8-A39B-57BD386E3C71}" destId="{5F1573DD-D10D-483F-9575-51D0517218B8}" srcOrd="3" destOrd="0" presId="urn:microsoft.com/office/officeart/2008/layout/VerticalCurvedList"/>
    <dgm:cxn modelId="{1B4F658E-B549-4A72-B867-4DC8229F03E7}" type="presParOf" srcId="{448BF5ED-3332-44E8-A39B-57BD386E3C71}" destId="{9E982D8F-AD48-42BC-B999-6CB0E4BA7DF7}" srcOrd="4" destOrd="0" presId="urn:microsoft.com/office/officeart/2008/layout/VerticalCurvedList"/>
    <dgm:cxn modelId="{D9EFD9FF-CCC9-4736-9912-6123F7521368}" type="presParOf" srcId="{9E982D8F-AD48-42BC-B999-6CB0E4BA7DF7}" destId="{A3C3655B-4060-427A-83D0-26278DC83493}" srcOrd="0" destOrd="0" presId="urn:microsoft.com/office/officeart/2008/layout/VerticalCurvedList"/>
    <dgm:cxn modelId="{5B895A2D-3B49-44AF-9ED6-F96F5505C387}" type="presParOf" srcId="{448BF5ED-3332-44E8-A39B-57BD386E3C71}" destId="{901B8771-0198-456E-845F-D44422DC62EB}" srcOrd="5" destOrd="0" presId="urn:microsoft.com/office/officeart/2008/layout/VerticalCurvedList"/>
    <dgm:cxn modelId="{DAC6A69B-4CA1-464B-B7E2-10F27B186209}" type="presParOf" srcId="{448BF5ED-3332-44E8-A39B-57BD386E3C71}" destId="{8F1944E7-641B-44F7-846C-2658740BD7ED}" srcOrd="6" destOrd="0" presId="urn:microsoft.com/office/officeart/2008/layout/VerticalCurvedList"/>
    <dgm:cxn modelId="{20D594E1-9D35-4901-8E8F-BA172FF86DE1}" type="presParOf" srcId="{8F1944E7-641B-44F7-846C-2658740BD7ED}" destId="{B609696B-E2D8-4D55-9B62-58ABD26FF651}"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53FF6D59-EB7B-44AB-BBE7-33C952C62E56}" type="doc">
      <dgm:prSet loTypeId="urn:microsoft.com/office/officeart/2005/8/layout/vList3" loCatId="list" qsTypeId="urn:microsoft.com/office/officeart/2005/8/quickstyle/simple1" qsCatId="simple" csTypeId="urn:microsoft.com/office/officeart/2005/8/colors/accent2_3" csCatId="accent2" phldr="1"/>
      <dgm:spPr/>
      <dgm:t>
        <a:bodyPr/>
        <a:lstStyle/>
        <a:p>
          <a:endParaRPr lang="es-ES"/>
        </a:p>
      </dgm:t>
    </dgm:pt>
    <dgm:pt modelId="{034777AF-CCF0-4552-9782-33A27723A0D9}">
      <dgm:prSet custT="1"/>
      <dgm:spPr/>
      <dgm:t>
        <a:bodyPr/>
        <a:lstStyle/>
        <a:p>
          <a:r>
            <a:rPr lang="en-US" sz="2800" dirty="0"/>
            <a:t>Consider / test performance of statistics on Temp tables</a:t>
          </a:r>
        </a:p>
      </dgm:t>
    </dgm:pt>
    <dgm:pt modelId="{E20AE598-154A-4D80-B27F-DD69374172C4}" type="parTrans" cxnId="{38D5053E-6C8D-46D5-959B-D01E7AB06017}">
      <dgm:prSet/>
      <dgm:spPr/>
      <dgm:t>
        <a:bodyPr/>
        <a:lstStyle/>
        <a:p>
          <a:endParaRPr lang="en-US" sz="3200"/>
        </a:p>
      </dgm:t>
    </dgm:pt>
    <dgm:pt modelId="{40A377D7-E10D-477A-8CAD-F03BFA78DCC7}" type="sibTrans" cxnId="{38D5053E-6C8D-46D5-959B-D01E7AB06017}">
      <dgm:prSet/>
      <dgm:spPr/>
      <dgm:t>
        <a:bodyPr/>
        <a:lstStyle/>
        <a:p>
          <a:endParaRPr lang="en-US" sz="3200"/>
        </a:p>
      </dgm:t>
    </dgm:pt>
    <dgm:pt modelId="{7FCFB68C-C849-492F-8659-544EA6764B10}">
      <dgm:prSet custT="1"/>
      <dgm:spPr/>
      <dgm:t>
        <a:bodyPr/>
        <a:lstStyle/>
        <a:p>
          <a:r>
            <a:rPr lang="en-US" sz="2800" dirty="0"/>
            <a:t>Overhead of stats creation may be outweighed by performance gains</a:t>
          </a:r>
        </a:p>
      </dgm:t>
    </dgm:pt>
    <dgm:pt modelId="{FF2D11CA-71D0-4720-86D5-A8740335D3C5}" type="parTrans" cxnId="{4C86444B-A1CE-4EC3-91B5-4BA2C573C396}">
      <dgm:prSet/>
      <dgm:spPr/>
      <dgm:t>
        <a:bodyPr/>
        <a:lstStyle/>
        <a:p>
          <a:endParaRPr lang="en-US" sz="3200"/>
        </a:p>
      </dgm:t>
    </dgm:pt>
    <dgm:pt modelId="{EE714316-5600-4FB1-8F8E-1B5B150A73CD}" type="sibTrans" cxnId="{4C86444B-A1CE-4EC3-91B5-4BA2C573C396}">
      <dgm:prSet/>
      <dgm:spPr/>
      <dgm:t>
        <a:bodyPr/>
        <a:lstStyle/>
        <a:p>
          <a:endParaRPr lang="en-US" sz="3200"/>
        </a:p>
      </dgm:t>
    </dgm:pt>
    <dgm:pt modelId="{D4D39046-59F5-4DCB-A3B1-D7FA5016EC5A}">
      <dgm:prSet custT="1"/>
      <dgm:spPr/>
      <dgm:t>
        <a:bodyPr/>
        <a:lstStyle/>
        <a:p>
          <a:r>
            <a:rPr lang="en-US" sz="2800" dirty="0"/>
            <a:t>Statistics Auto-create does not include Temp tables</a:t>
          </a:r>
        </a:p>
      </dgm:t>
    </dgm:pt>
    <dgm:pt modelId="{92DD5B25-77FC-4DA2-9AC3-F7F44EFC62D7}" type="parTrans" cxnId="{88783533-9307-4DBC-9E3B-A6B584678672}">
      <dgm:prSet/>
      <dgm:spPr/>
      <dgm:t>
        <a:bodyPr/>
        <a:lstStyle/>
        <a:p>
          <a:endParaRPr lang="en-US" sz="3200"/>
        </a:p>
      </dgm:t>
    </dgm:pt>
    <dgm:pt modelId="{28A98181-9909-4A41-AF83-B465A281C2F3}" type="sibTrans" cxnId="{88783533-9307-4DBC-9E3B-A6B584678672}">
      <dgm:prSet/>
      <dgm:spPr/>
      <dgm:t>
        <a:bodyPr/>
        <a:lstStyle/>
        <a:p>
          <a:endParaRPr lang="en-US" sz="3200"/>
        </a:p>
      </dgm:t>
    </dgm:pt>
    <dgm:pt modelId="{7D996F18-86FC-4A84-83DF-D00CA10E7015}" type="pres">
      <dgm:prSet presAssocID="{53FF6D59-EB7B-44AB-BBE7-33C952C62E56}" presName="linearFlow" presStyleCnt="0">
        <dgm:presLayoutVars>
          <dgm:dir/>
          <dgm:resizeHandles val="exact"/>
        </dgm:presLayoutVars>
      </dgm:prSet>
      <dgm:spPr/>
    </dgm:pt>
    <dgm:pt modelId="{37696326-8106-4144-9FEE-275404D47372}" type="pres">
      <dgm:prSet presAssocID="{034777AF-CCF0-4552-9782-33A27723A0D9}" presName="composite" presStyleCnt="0"/>
      <dgm:spPr/>
    </dgm:pt>
    <dgm:pt modelId="{84BFE3BC-B229-4D15-AC42-4F533056DAB9}" type="pres">
      <dgm:prSet presAssocID="{034777AF-CCF0-4552-9782-33A27723A0D9}"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Test Dummy with solid fill"/>
        </a:ext>
      </dgm:extLst>
    </dgm:pt>
    <dgm:pt modelId="{84E1925B-1E8A-4A4C-BED8-3A1950283B93}" type="pres">
      <dgm:prSet presAssocID="{034777AF-CCF0-4552-9782-33A27723A0D9}" presName="txShp" presStyleLbl="node1" presStyleIdx="0" presStyleCnt="3">
        <dgm:presLayoutVars>
          <dgm:bulletEnabled val="1"/>
        </dgm:presLayoutVars>
      </dgm:prSet>
      <dgm:spPr/>
    </dgm:pt>
    <dgm:pt modelId="{95AB3ED8-1E5A-4001-9D3A-810755B8878C}" type="pres">
      <dgm:prSet presAssocID="{40A377D7-E10D-477A-8CAD-F03BFA78DCC7}" presName="spacing" presStyleCnt="0"/>
      <dgm:spPr/>
    </dgm:pt>
    <dgm:pt modelId="{B177A722-315A-4488-AE5B-9BE2A4157A97}" type="pres">
      <dgm:prSet presAssocID="{7FCFB68C-C849-492F-8659-544EA6764B10}" presName="composite" presStyleCnt="0"/>
      <dgm:spPr/>
    </dgm:pt>
    <dgm:pt modelId="{6C28621C-6B0B-467E-BACA-885FEF1D1089}" type="pres">
      <dgm:prSet presAssocID="{7FCFB68C-C849-492F-8659-544EA6764B10}" presName="imgShp"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pt>
    <dgm:pt modelId="{F80B6F42-4A44-4CD2-A306-DC8616EEDE89}" type="pres">
      <dgm:prSet presAssocID="{7FCFB68C-C849-492F-8659-544EA6764B10}" presName="txShp" presStyleLbl="node1" presStyleIdx="1" presStyleCnt="3">
        <dgm:presLayoutVars>
          <dgm:bulletEnabled val="1"/>
        </dgm:presLayoutVars>
      </dgm:prSet>
      <dgm:spPr/>
    </dgm:pt>
    <dgm:pt modelId="{59D24CA1-127A-4ED4-9B21-C6DD96DF510D}" type="pres">
      <dgm:prSet presAssocID="{EE714316-5600-4FB1-8F8E-1B5B150A73CD}" presName="spacing" presStyleCnt="0"/>
      <dgm:spPr/>
    </dgm:pt>
    <dgm:pt modelId="{03780199-207B-4FD3-80E9-5CB29B77C526}" type="pres">
      <dgm:prSet presAssocID="{D4D39046-59F5-4DCB-A3B1-D7FA5016EC5A}" presName="composite" presStyleCnt="0"/>
      <dgm:spPr/>
    </dgm:pt>
    <dgm:pt modelId="{DA8D3A24-0599-4287-83FE-52DDC74A57E6}" type="pres">
      <dgm:prSet presAssocID="{D4D39046-59F5-4DCB-A3B1-D7FA5016EC5A}" presName="imgShp"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Artist female with solid fill"/>
        </a:ext>
      </dgm:extLst>
    </dgm:pt>
    <dgm:pt modelId="{0900965B-08E9-4B07-A124-28F1E8441EEA}" type="pres">
      <dgm:prSet presAssocID="{D4D39046-59F5-4DCB-A3B1-D7FA5016EC5A}" presName="txShp" presStyleLbl="node1" presStyleIdx="2" presStyleCnt="3">
        <dgm:presLayoutVars>
          <dgm:bulletEnabled val="1"/>
        </dgm:presLayoutVars>
      </dgm:prSet>
      <dgm:spPr/>
    </dgm:pt>
  </dgm:ptLst>
  <dgm:cxnLst>
    <dgm:cxn modelId="{90BD5B06-2AD1-49A5-95DB-3975FEF0280C}" type="presOf" srcId="{034777AF-CCF0-4552-9782-33A27723A0D9}" destId="{84E1925B-1E8A-4A4C-BED8-3A1950283B93}" srcOrd="0" destOrd="0" presId="urn:microsoft.com/office/officeart/2005/8/layout/vList3"/>
    <dgm:cxn modelId="{FFA6F326-302A-4220-A5B3-5F42D0DE9433}" type="presOf" srcId="{D4D39046-59F5-4DCB-A3B1-D7FA5016EC5A}" destId="{0900965B-08E9-4B07-A124-28F1E8441EEA}" srcOrd="0" destOrd="0" presId="urn:microsoft.com/office/officeart/2005/8/layout/vList3"/>
    <dgm:cxn modelId="{88783533-9307-4DBC-9E3B-A6B584678672}" srcId="{53FF6D59-EB7B-44AB-BBE7-33C952C62E56}" destId="{D4D39046-59F5-4DCB-A3B1-D7FA5016EC5A}" srcOrd="2" destOrd="0" parTransId="{92DD5B25-77FC-4DA2-9AC3-F7F44EFC62D7}" sibTransId="{28A98181-9909-4A41-AF83-B465A281C2F3}"/>
    <dgm:cxn modelId="{38D5053E-6C8D-46D5-959B-D01E7AB06017}" srcId="{53FF6D59-EB7B-44AB-BBE7-33C952C62E56}" destId="{034777AF-CCF0-4552-9782-33A27723A0D9}" srcOrd="0" destOrd="0" parTransId="{E20AE598-154A-4D80-B27F-DD69374172C4}" sibTransId="{40A377D7-E10D-477A-8CAD-F03BFA78DCC7}"/>
    <dgm:cxn modelId="{9FF38A60-F34D-4EAE-9B74-783E7640BA7D}" type="presOf" srcId="{53FF6D59-EB7B-44AB-BBE7-33C952C62E56}" destId="{7D996F18-86FC-4A84-83DF-D00CA10E7015}" srcOrd="0" destOrd="0" presId="urn:microsoft.com/office/officeart/2005/8/layout/vList3"/>
    <dgm:cxn modelId="{4C86444B-A1CE-4EC3-91B5-4BA2C573C396}" srcId="{53FF6D59-EB7B-44AB-BBE7-33C952C62E56}" destId="{7FCFB68C-C849-492F-8659-544EA6764B10}" srcOrd="1" destOrd="0" parTransId="{FF2D11CA-71D0-4720-86D5-A8740335D3C5}" sibTransId="{EE714316-5600-4FB1-8F8E-1B5B150A73CD}"/>
    <dgm:cxn modelId="{1449309D-FEA6-4F0A-81B7-5C754B48F114}" type="presOf" srcId="{7FCFB68C-C849-492F-8659-544EA6764B10}" destId="{F80B6F42-4A44-4CD2-A306-DC8616EEDE89}" srcOrd="0" destOrd="0" presId="urn:microsoft.com/office/officeart/2005/8/layout/vList3"/>
    <dgm:cxn modelId="{E1AE5731-A42C-440E-9E97-4377D82E34BA}" type="presParOf" srcId="{7D996F18-86FC-4A84-83DF-D00CA10E7015}" destId="{37696326-8106-4144-9FEE-275404D47372}" srcOrd="0" destOrd="0" presId="urn:microsoft.com/office/officeart/2005/8/layout/vList3"/>
    <dgm:cxn modelId="{69BAF9CF-AB47-4F99-844E-32F450CA3832}" type="presParOf" srcId="{37696326-8106-4144-9FEE-275404D47372}" destId="{84BFE3BC-B229-4D15-AC42-4F533056DAB9}" srcOrd="0" destOrd="0" presId="urn:microsoft.com/office/officeart/2005/8/layout/vList3"/>
    <dgm:cxn modelId="{4C34F749-F990-42AC-8192-1A564993F220}" type="presParOf" srcId="{37696326-8106-4144-9FEE-275404D47372}" destId="{84E1925B-1E8A-4A4C-BED8-3A1950283B93}" srcOrd="1" destOrd="0" presId="urn:microsoft.com/office/officeart/2005/8/layout/vList3"/>
    <dgm:cxn modelId="{C54B9529-FF22-432E-B327-7EAAD3822D50}" type="presParOf" srcId="{7D996F18-86FC-4A84-83DF-D00CA10E7015}" destId="{95AB3ED8-1E5A-4001-9D3A-810755B8878C}" srcOrd="1" destOrd="0" presId="urn:microsoft.com/office/officeart/2005/8/layout/vList3"/>
    <dgm:cxn modelId="{FB145FD9-A230-47AA-AE2B-F67F64675A7C}" type="presParOf" srcId="{7D996F18-86FC-4A84-83DF-D00CA10E7015}" destId="{B177A722-315A-4488-AE5B-9BE2A4157A97}" srcOrd="2" destOrd="0" presId="urn:microsoft.com/office/officeart/2005/8/layout/vList3"/>
    <dgm:cxn modelId="{FCD32CCD-C7BE-4C8F-9F2D-CDD088BCB2FA}" type="presParOf" srcId="{B177A722-315A-4488-AE5B-9BE2A4157A97}" destId="{6C28621C-6B0B-467E-BACA-885FEF1D1089}" srcOrd="0" destOrd="0" presId="urn:microsoft.com/office/officeart/2005/8/layout/vList3"/>
    <dgm:cxn modelId="{E0BFB202-019C-48F4-B420-5B7D85DC19A6}" type="presParOf" srcId="{B177A722-315A-4488-AE5B-9BE2A4157A97}" destId="{F80B6F42-4A44-4CD2-A306-DC8616EEDE89}" srcOrd="1" destOrd="0" presId="urn:microsoft.com/office/officeart/2005/8/layout/vList3"/>
    <dgm:cxn modelId="{A6DA5881-0990-4067-9534-C0B17A1353A4}" type="presParOf" srcId="{7D996F18-86FC-4A84-83DF-D00CA10E7015}" destId="{59D24CA1-127A-4ED4-9B21-C6DD96DF510D}" srcOrd="3" destOrd="0" presId="urn:microsoft.com/office/officeart/2005/8/layout/vList3"/>
    <dgm:cxn modelId="{56F44931-3470-412F-8469-6B9DB3341FE5}" type="presParOf" srcId="{7D996F18-86FC-4A84-83DF-D00CA10E7015}" destId="{03780199-207B-4FD3-80E9-5CB29B77C526}" srcOrd="4" destOrd="0" presId="urn:microsoft.com/office/officeart/2005/8/layout/vList3"/>
    <dgm:cxn modelId="{D217263D-20E6-4513-9FFE-9A87E00246EA}" type="presParOf" srcId="{03780199-207B-4FD3-80E9-5CB29B77C526}" destId="{DA8D3A24-0599-4287-83FE-52DDC74A57E6}" srcOrd="0" destOrd="0" presId="urn:microsoft.com/office/officeart/2005/8/layout/vList3"/>
    <dgm:cxn modelId="{D644FDCC-4B4E-45A4-B881-22750EE01B4C}" type="presParOf" srcId="{03780199-207B-4FD3-80E9-5CB29B77C526}" destId="{0900965B-08E9-4B07-A124-28F1E8441EEA}"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6345712E-8C12-4AED-9907-6BBC379682D0}"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51E5378C-EC18-40F8-882C-48AD576B373C}">
      <dgm:prSet/>
      <dgm:spPr>
        <a:scene3d>
          <a:camera prst="orthographicFront"/>
          <a:lightRig rig="threePt" dir="t"/>
        </a:scene3d>
        <a:sp3d>
          <a:bevelT prst="angle"/>
        </a:sp3d>
      </dgm:spPr>
      <dgm:t>
        <a:bodyPr/>
        <a:lstStyle/>
        <a:p>
          <a:r>
            <a:rPr lang="en-US" dirty="0"/>
            <a:t>Can be used to load data into SQL Pool</a:t>
          </a:r>
        </a:p>
      </dgm:t>
    </dgm:pt>
    <dgm:pt modelId="{6EC2C1C3-5168-47F2-B68D-712ECC9FE755}" type="parTrans" cxnId="{C35C506C-C0A5-400A-ABFC-4A7515129EB4}">
      <dgm:prSet/>
      <dgm:spPr/>
      <dgm:t>
        <a:bodyPr/>
        <a:lstStyle/>
        <a:p>
          <a:endParaRPr lang="en-US"/>
        </a:p>
      </dgm:t>
    </dgm:pt>
    <dgm:pt modelId="{FA4F9E26-53B7-4656-B9A0-FAC1E54142F0}" type="sibTrans" cxnId="{C35C506C-C0A5-400A-ABFC-4A7515129EB4}">
      <dgm:prSet/>
      <dgm:spPr/>
      <dgm:t>
        <a:bodyPr/>
        <a:lstStyle/>
        <a:p>
          <a:endParaRPr lang="en-US"/>
        </a:p>
      </dgm:t>
    </dgm:pt>
    <dgm:pt modelId="{85E5D7F3-1174-4E46-A0D7-4E31CEB177C0}">
      <dgm:prSet/>
      <dgm:spPr>
        <a:scene3d>
          <a:camera prst="orthographicFront"/>
          <a:lightRig rig="threePt" dir="t"/>
        </a:scene3d>
        <a:sp3d>
          <a:bevelT prst="angle"/>
        </a:sp3d>
      </dgm:spPr>
      <dgm:t>
        <a:bodyPr/>
        <a:lstStyle/>
        <a:p>
          <a:r>
            <a:rPr lang="en-US" dirty="0"/>
            <a:t>External Tables are references to the data in external storage</a:t>
          </a:r>
        </a:p>
      </dgm:t>
    </dgm:pt>
    <dgm:pt modelId="{7F73B99A-D293-44EE-A3DE-8A52FF32F8FD}" type="parTrans" cxnId="{55B75433-0F3C-4956-817A-57A9AD1CC780}">
      <dgm:prSet/>
      <dgm:spPr/>
      <dgm:t>
        <a:bodyPr/>
        <a:lstStyle/>
        <a:p>
          <a:endParaRPr lang="en-US"/>
        </a:p>
      </dgm:t>
    </dgm:pt>
    <dgm:pt modelId="{4BFF121E-E177-4B33-8443-09EFFC8928E0}" type="sibTrans" cxnId="{55B75433-0F3C-4956-817A-57A9AD1CC780}">
      <dgm:prSet/>
      <dgm:spPr/>
      <dgm:t>
        <a:bodyPr/>
        <a:lstStyle/>
        <a:p>
          <a:endParaRPr lang="en-US"/>
        </a:p>
      </dgm:t>
    </dgm:pt>
    <dgm:pt modelId="{8FA2ABCE-D16B-42BA-822E-32C029A087A7}">
      <dgm:prSet/>
      <dgm:spPr>
        <a:scene3d>
          <a:camera prst="orthographicFront"/>
          <a:lightRig rig="threePt" dir="t"/>
        </a:scene3d>
        <a:sp3d>
          <a:bevelT prst="angle"/>
        </a:sp3d>
      </dgm:spPr>
      <dgm:t>
        <a:bodyPr/>
        <a:lstStyle/>
        <a:p>
          <a:r>
            <a:rPr lang="en-US" dirty="0"/>
            <a:t>Defining External tables includes:</a:t>
          </a:r>
        </a:p>
      </dgm:t>
    </dgm:pt>
    <dgm:pt modelId="{6324725B-CAE4-4FDD-A417-E27BED908F7E}" type="parTrans" cxnId="{5C8B6BB4-2F21-4142-B2A1-4C417F2EEB1B}">
      <dgm:prSet/>
      <dgm:spPr/>
      <dgm:t>
        <a:bodyPr/>
        <a:lstStyle/>
        <a:p>
          <a:endParaRPr lang="en-US"/>
        </a:p>
      </dgm:t>
    </dgm:pt>
    <dgm:pt modelId="{0299F2E3-DBB3-4FCA-9AA1-E9EEDA549A1D}" type="sibTrans" cxnId="{5C8B6BB4-2F21-4142-B2A1-4C417F2EEB1B}">
      <dgm:prSet/>
      <dgm:spPr/>
      <dgm:t>
        <a:bodyPr/>
        <a:lstStyle/>
        <a:p>
          <a:endParaRPr lang="en-US"/>
        </a:p>
      </dgm:t>
    </dgm:pt>
    <dgm:pt modelId="{C55409A4-9B48-4646-A8EA-B26F65388ACF}">
      <dgm:prSet/>
      <dgm:spPr/>
      <dgm:t>
        <a:bodyPr/>
        <a:lstStyle/>
        <a:p>
          <a:r>
            <a:rPr lang="en-US" noProof="0" dirty="0"/>
            <a:t>Specifying the format of the files</a:t>
          </a:r>
        </a:p>
      </dgm:t>
    </dgm:pt>
    <dgm:pt modelId="{5FB53D7D-4990-4C87-ABCE-8CA23D8825A4}" type="parTrans" cxnId="{0BB992D9-6DBD-4464-B67B-AF261AC2C1F8}">
      <dgm:prSet/>
      <dgm:spPr/>
      <dgm:t>
        <a:bodyPr/>
        <a:lstStyle/>
        <a:p>
          <a:endParaRPr lang="en-US"/>
        </a:p>
      </dgm:t>
    </dgm:pt>
    <dgm:pt modelId="{34FB3251-3872-4CDF-90B9-256137F5ACA0}" type="sibTrans" cxnId="{0BB992D9-6DBD-4464-B67B-AF261AC2C1F8}">
      <dgm:prSet/>
      <dgm:spPr/>
      <dgm:t>
        <a:bodyPr/>
        <a:lstStyle/>
        <a:p>
          <a:endParaRPr lang="en-US"/>
        </a:p>
      </dgm:t>
    </dgm:pt>
    <dgm:pt modelId="{D4E00A3F-245F-48E7-950B-9E636FC051C1}">
      <dgm:prSet/>
      <dgm:spPr/>
      <dgm:t>
        <a:bodyPr/>
        <a:lstStyle/>
        <a:p>
          <a:r>
            <a:rPr lang="en-US" noProof="0" dirty="0"/>
            <a:t>Specifying the table definition</a:t>
          </a:r>
        </a:p>
      </dgm:t>
    </dgm:pt>
    <dgm:pt modelId="{441BE995-BD85-44A4-9BD1-9ADB4658F14A}" type="parTrans" cxnId="{C57D47D8-77D2-4FB8-AA21-F3F1AD2CAA25}">
      <dgm:prSet/>
      <dgm:spPr/>
      <dgm:t>
        <a:bodyPr/>
        <a:lstStyle/>
        <a:p>
          <a:endParaRPr lang="en-US"/>
        </a:p>
      </dgm:t>
    </dgm:pt>
    <dgm:pt modelId="{B5A43BBB-C4E0-4989-A617-6CFD487DE836}" type="sibTrans" cxnId="{C57D47D8-77D2-4FB8-AA21-F3F1AD2CAA25}">
      <dgm:prSet/>
      <dgm:spPr/>
      <dgm:t>
        <a:bodyPr/>
        <a:lstStyle/>
        <a:p>
          <a:endParaRPr lang="en-US"/>
        </a:p>
      </dgm:t>
    </dgm:pt>
    <dgm:pt modelId="{ABFF2131-853F-46AA-AFE8-A373D2C48B7E}">
      <dgm:prSet/>
      <dgm:spPr/>
      <dgm:t>
        <a:bodyPr/>
        <a:lstStyle/>
        <a:p>
          <a:r>
            <a:rPr lang="en-US" noProof="0"/>
            <a:t>Specifying the data source</a:t>
          </a:r>
          <a:endParaRPr lang="en-US" dirty="0"/>
        </a:p>
      </dgm:t>
    </dgm:pt>
    <dgm:pt modelId="{56CCD890-E2B8-477A-B0CE-261704AABA2C}" type="parTrans" cxnId="{545AACD2-911A-4AEA-A722-AF8C98A5437A}">
      <dgm:prSet/>
      <dgm:spPr/>
      <dgm:t>
        <a:bodyPr/>
        <a:lstStyle/>
        <a:p>
          <a:endParaRPr lang="en-US"/>
        </a:p>
      </dgm:t>
    </dgm:pt>
    <dgm:pt modelId="{B946B8E4-26B5-4C10-B0DC-92C2A6A9A49E}" type="sibTrans" cxnId="{545AACD2-911A-4AEA-A722-AF8C98A5437A}">
      <dgm:prSet/>
      <dgm:spPr/>
      <dgm:t>
        <a:bodyPr/>
        <a:lstStyle/>
        <a:p>
          <a:endParaRPr lang="en-US"/>
        </a:p>
      </dgm:t>
    </dgm:pt>
    <dgm:pt modelId="{51537735-AE17-40D7-896B-C77833727E44}" type="pres">
      <dgm:prSet presAssocID="{6345712E-8C12-4AED-9907-6BBC379682D0}" presName="linear" presStyleCnt="0">
        <dgm:presLayoutVars>
          <dgm:animLvl val="lvl"/>
          <dgm:resizeHandles val="exact"/>
        </dgm:presLayoutVars>
      </dgm:prSet>
      <dgm:spPr/>
    </dgm:pt>
    <dgm:pt modelId="{D278DE9C-2690-47AC-9E64-4DCEA9714A61}" type="pres">
      <dgm:prSet presAssocID="{51E5378C-EC18-40F8-882C-48AD576B373C}" presName="parentText" presStyleLbl="node1" presStyleIdx="0" presStyleCnt="3">
        <dgm:presLayoutVars>
          <dgm:chMax val="0"/>
          <dgm:bulletEnabled val="1"/>
        </dgm:presLayoutVars>
      </dgm:prSet>
      <dgm:spPr/>
    </dgm:pt>
    <dgm:pt modelId="{0ADAFB2C-ECF8-447B-94D2-6C0EC0394E0A}" type="pres">
      <dgm:prSet presAssocID="{FA4F9E26-53B7-4656-B9A0-FAC1E54142F0}" presName="spacer" presStyleCnt="0"/>
      <dgm:spPr/>
    </dgm:pt>
    <dgm:pt modelId="{6C501E96-417C-43EE-A157-B88F116BF800}" type="pres">
      <dgm:prSet presAssocID="{85E5D7F3-1174-4E46-A0D7-4E31CEB177C0}" presName="parentText" presStyleLbl="node1" presStyleIdx="1" presStyleCnt="3">
        <dgm:presLayoutVars>
          <dgm:chMax val="0"/>
          <dgm:bulletEnabled val="1"/>
        </dgm:presLayoutVars>
      </dgm:prSet>
      <dgm:spPr/>
    </dgm:pt>
    <dgm:pt modelId="{DE2A229C-B9FF-4803-A26F-403896A5CB8A}" type="pres">
      <dgm:prSet presAssocID="{4BFF121E-E177-4B33-8443-09EFFC8928E0}" presName="spacer" presStyleCnt="0"/>
      <dgm:spPr/>
    </dgm:pt>
    <dgm:pt modelId="{2E8D5F13-C174-4702-A8BC-D9769480C70F}" type="pres">
      <dgm:prSet presAssocID="{8FA2ABCE-D16B-42BA-822E-32C029A087A7}" presName="parentText" presStyleLbl="node1" presStyleIdx="2" presStyleCnt="3">
        <dgm:presLayoutVars>
          <dgm:chMax val="0"/>
          <dgm:bulletEnabled val="1"/>
        </dgm:presLayoutVars>
      </dgm:prSet>
      <dgm:spPr/>
    </dgm:pt>
    <dgm:pt modelId="{3953DB35-A2EC-4D57-A6D5-7A658ECBFC38}" type="pres">
      <dgm:prSet presAssocID="{8FA2ABCE-D16B-42BA-822E-32C029A087A7}" presName="childText" presStyleLbl="revTx" presStyleIdx="0" presStyleCnt="1">
        <dgm:presLayoutVars>
          <dgm:bulletEnabled val="1"/>
        </dgm:presLayoutVars>
      </dgm:prSet>
      <dgm:spPr/>
    </dgm:pt>
  </dgm:ptLst>
  <dgm:cxnLst>
    <dgm:cxn modelId="{55B75433-0F3C-4956-817A-57A9AD1CC780}" srcId="{6345712E-8C12-4AED-9907-6BBC379682D0}" destId="{85E5D7F3-1174-4E46-A0D7-4E31CEB177C0}" srcOrd="1" destOrd="0" parTransId="{7F73B99A-D293-44EE-A3DE-8A52FF32F8FD}" sibTransId="{4BFF121E-E177-4B33-8443-09EFFC8928E0}"/>
    <dgm:cxn modelId="{B4149338-BE32-4B41-92EA-FE70BD990B00}" type="presOf" srcId="{51E5378C-EC18-40F8-882C-48AD576B373C}" destId="{D278DE9C-2690-47AC-9E64-4DCEA9714A61}" srcOrd="0" destOrd="0" presId="urn:microsoft.com/office/officeart/2005/8/layout/vList2"/>
    <dgm:cxn modelId="{2878D869-53E1-4F6F-9895-79B59FA96A97}" type="presOf" srcId="{ABFF2131-853F-46AA-AFE8-A373D2C48B7E}" destId="{3953DB35-A2EC-4D57-A6D5-7A658ECBFC38}" srcOrd="0" destOrd="0" presId="urn:microsoft.com/office/officeart/2005/8/layout/vList2"/>
    <dgm:cxn modelId="{C35C506C-C0A5-400A-ABFC-4A7515129EB4}" srcId="{6345712E-8C12-4AED-9907-6BBC379682D0}" destId="{51E5378C-EC18-40F8-882C-48AD576B373C}" srcOrd="0" destOrd="0" parTransId="{6EC2C1C3-5168-47F2-B68D-712ECC9FE755}" sibTransId="{FA4F9E26-53B7-4656-B9A0-FAC1E54142F0}"/>
    <dgm:cxn modelId="{35106374-7335-4AEC-A5F0-A0C34035F179}" type="presOf" srcId="{8FA2ABCE-D16B-42BA-822E-32C029A087A7}" destId="{2E8D5F13-C174-4702-A8BC-D9769480C70F}" srcOrd="0" destOrd="0" presId="urn:microsoft.com/office/officeart/2005/8/layout/vList2"/>
    <dgm:cxn modelId="{4D05AD59-0D99-4D5D-ABEA-A2D3C94FAD95}" type="presOf" srcId="{85E5D7F3-1174-4E46-A0D7-4E31CEB177C0}" destId="{6C501E96-417C-43EE-A157-B88F116BF800}" srcOrd="0" destOrd="0" presId="urn:microsoft.com/office/officeart/2005/8/layout/vList2"/>
    <dgm:cxn modelId="{FCD3CF84-CCCD-4870-865B-1E6403BB02D8}" type="presOf" srcId="{C55409A4-9B48-4646-A8EA-B26F65388ACF}" destId="{3953DB35-A2EC-4D57-A6D5-7A658ECBFC38}" srcOrd="0" destOrd="1" presId="urn:microsoft.com/office/officeart/2005/8/layout/vList2"/>
    <dgm:cxn modelId="{5C8B6BB4-2F21-4142-B2A1-4C417F2EEB1B}" srcId="{6345712E-8C12-4AED-9907-6BBC379682D0}" destId="{8FA2ABCE-D16B-42BA-822E-32C029A087A7}" srcOrd="2" destOrd="0" parTransId="{6324725B-CAE4-4FDD-A417-E27BED908F7E}" sibTransId="{0299F2E3-DBB3-4FCA-9AA1-E9EEDA549A1D}"/>
    <dgm:cxn modelId="{071027B7-B149-42A4-B5BA-59DEDD1CF264}" type="presOf" srcId="{6345712E-8C12-4AED-9907-6BBC379682D0}" destId="{51537735-AE17-40D7-896B-C77833727E44}" srcOrd="0" destOrd="0" presId="urn:microsoft.com/office/officeart/2005/8/layout/vList2"/>
    <dgm:cxn modelId="{545AACD2-911A-4AEA-A722-AF8C98A5437A}" srcId="{8FA2ABCE-D16B-42BA-822E-32C029A087A7}" destId="{ABFF2131-853F-46AA-AFE8-A373D2C48B7E}" srcOrd="0" destOrd="0" parTransId="{56CCD890-E2B8-477A-B0CE-261704AABA2C}" sibTransId="{B946B8E4-26B5-4C10-B0DC-92C2A6A9A49E}"/>
    <dgm:cxn modelId="{C57D47D8-77D2-4FB8-AA21-F3F1AD2CAA25}" srcId="{8FA2ABCE-D16B-42BA-822E-32C029A087A7}" destId="{D4E00A3F-245F-48E7-950B-9E636FC051C1}" srcOrd="2" destOrd="0" parTransId="{441BE995-BD85-44A4-9BD1-9ADB4658F14A}" sibTransId="{B5A43BBB-C4E0-4989-A617-6CFD487DE836}"/>
    <dgm:cxn modelId="{0BB992D9-6DBD-4464-B67B-AF261AC2C1F8}" srcId="{8FA2ABCE-D16B-42BA-822E-32C029A087A7}" destId="{C55409A4-9B48-4646-A8EA-B26F65388ACF}" srcOrd="1" destOrd="0" parTransId="{5FB53D7D-4990-4C87-ABCE-8CA23D8825A4}" sibTransId="{34FB3251-3872-4CDF-90B9-256137F5ACA0}"/>
    <dgm:cxn modelId="{E5B7E5F0-B6F4-4FDD-9D97-733FFC2ED8D2}" type="presOf" srcId="{D4E00A3F-245F-48E7-950B-9E636FC051C1}" destId="{3953DB35-A2EC-4D57-A6D5-7A658ECBFC38}" srcOrd="0" destOrd="2" presId="urn:microsoft.com/office/officeart/2005/8/layout/vList2"/>
    <dgm:cxn modelId="{6C4AD1DF-D1E4-4167-87F5-553751FCFBCD}" type="presParOf" srcId="{51537735-AE17-40D7-896B-C77833727E44}" destId="{D278DE9C-2690-47AC-9E64-4DCEA9714A61}" srcOrd="0" destOrd="0" presId="urn:microsoft.com/office/officeart/2005/8/layout/vList2"/>
    <dgm:cxn modelId="{A85A3255-4C7B-408E-B716-5E159A01C981}" type="presParOf" srcId="{51537735-AE17-40D7-896B-C77833727E44}" destId="{0ADAFB2C-ECF8-447B-94D2-6C0EC0394E0A}" srcOrd="1" destOrd="0" presId="urn:microsoft.com/office/officeart/2005/8/layout/vList2"/>
    <dgm:cxn modelId="{684E976E-8FCA-426C-83BF-8247707527F2}" type="presParOf" srcId="{51537735-AE17-40D7-896B-C77833727E44}" destId="{6C501E96-417C-43EE-A157-B88F116BF800}" srcOrd="2" destOrd="0" presId="urn:microsoft.com/office/officeart/2005/8/layout/vList2"/>
    <dgm:cxn modelId="{2139FA23-68BE-47EA-8530-BCA0E62F9816}" type="presParOf" srcId="{51537735-AE17-40D7-896B-C77833727E44}" destId="{DE2A229C-B9FF-4803-A26F-403896A5CB8A}" srcOrd="3" destOrd="0" presId="urn:microsoft.com/office/officeart/2005/8/layout/vList2"/>
    <dgm:cxn modelId="{A580E0F7-872F-4CD7-84F2-13586C8EAB22}" type="presParOf" srcId="{51537735-AE17-40D7-896B-C77833727E44}" destId="{2E8D5F13-C174-4702-A8BC-D9769480C70F}" srcOrd="4" destOrd="0" presId="urn:microsoft.com/office/officeart/2005/8/layout/vList2"/>
    <dgm:cxn modelId="{FC21D140-D752-4D32-BC6C-4051A3E8A8BD}" type="presParOf" srcId="{51537735-AE17-40D7-896B-C77833727E44}" destId="{3953DB35-A2EC-4D57-A6D5-7A658ECBFC38}"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custT="1"/>
      <dgm:spPr>
        <a:scene3d>
          <a:camera prst="orthographicFront"/>
          <a:lightRig rig="threePt" dir="t"/>
        </a:scene3d>
        <a:sp3d>
          <a:bevelT prst="angle"/>
        </a:sp3d>
      </dgm:spPr>
      <dgm:t>
        <a:bodyPr/>
        <a:lstStyle/>
        <a:p>
          <a:r>
            <a:rPr lang="en-US" sz="2000" baseline="0" dirty="0"/>
            <a:t>Where are stored temporary tables?</a:t>
          </a:r>
          <a:endParaRPr lang="en-US" sz="2000"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custT="1"/>
      <dgm:spPr>
        <a:scene3d>
          <a:camera prst="orthographicFront"/>
          <a:lightRig rig="threePt" dir="t"/>
        </a:scene3d>
        <a:sp3d>
          <a:bevelT prst="angle"/>
        </a:sp3d>
      </dgm:spPr>
      <dgm:t>
        <a:bodyPr/>
        <a:lstStyle/>
        <a:p>
          <a:r>
            <a:rPr lang="en-US" sz="1800" baseline="0" dirty="0"/>
            <a:t>If </a:t>
          </a:r>
          <a:r>
            <a:rPr lang="en-US" sz="1800" baseline="0" dirty="0" err="1"/>
            <a:t>auto_create_statistics</a:t>
          </a:r>
          <a:r>
            <a:rPr lang="en-US" sz="1800" baseline="0" dirty="0"/>
            <a:t> is On, statistics are created automatically on temporary or external tables?</a:t>
          </a:r>
          <a:endParaRPr lang="en-US" sz="1800"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a:scene3d>
          <a:camera prst="orthographicFront"/>
          <a:lightRig rig="threePt" dir="t"/>
        </a:scene3d>
        <a:sp3d>
          <a:bevelT prst="angle"/>
        </a:sp3d>
      </dgm:spPr>
      <dgm:t>
        <a:bodyPr/>
        <a:lstStyle/>
        <a:p>
          <a:r>
            <a:rPr lang="en-US" dirty="0"/>
            <a:t>Is the storage and persistence of external tables controlled by the SQL Pool?</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FCED5D26-3554-425C-8F5E-9FC892FA1F7B}" type="doc">
      <dgm:prSet loTypeId="urn:diagrams.loki3.com/BracketList" loCatId="list" qsTypeId="urn:microsoft.com/office/officeart/2005/8/quickstyle/simple2" qsCatId="simple" csTypeId="urn:microsoft.com/office/officeart/2005/8/colors/accent2_5" csCatId="accent2" phldr="1"/>
      <dgm:spPr/>
      <dgm:t>
        <a:bodyPr/>
        <a:lstStyle/>
        <a:p>
          <a:endParaRPr lang="es-ES"/>
        </a:p>
      </dgm:t>
    </dgm:pt>
    <dgm:pt modelId="{459E9C3A-3957-403C-89AA-44EAE4613F35}">
      <dgm:prSet phldrT="[Text]"/>
      <dgm:spPr/>
      <dgm:t>
        <a:bodyPr/>
        <a:lstStyle/>
        <a:p>
          <a:pPr>
            <a:buNone/>
          </a:pPr>
          <a:r>
            <a:rPr lang="en-US" dirty="0"/>
            <a:t>SQL Server Views</a:t>
          </a:r>
          <a:endParaRPr lang="es-ES" dirty="0"/>
        </a:p>
      </dgm:t>
    </dgm:pt>
    <dgm:pt modelId="{46DD97EA-0D5E-46F9-BD42-B0887795C15B}" type="parTrans" cxnId="{3206AE57-F4AA-4D25-86BA-5C79588B244C}">
      <dgm:prSet/>
      <dgm:spPr/>
      <dgm:t>
        <a:bodyPr/>
        <a:lstStyle/>
        <a:p>
          <a:endParaRPr lang="es-ES"/>
        </a:p>
      </dgm:t>
    </dgm:pt>
    <dgm:pt modelId="{8E322175-DC60-455C-B2E9-3A4E86EA031D}" type="sibTrans" cxnId="{3206AE57-F4AA-4D25-86BA-5C79588B244C}">
      <dgm:prSet/>
      <dgm:spPr/>
      <dgm:t>
        <a:bodyPr/>
        <a:lstStyle/>
        <a:p>
          <a:endParaRPr lang="es-ES"/>
        </a:p>
      </dgm:t>
    </dgm:pt>
    <dgm:pt modelId="{06886862-D269-4931-95ED-E3D05DB81364}">
      <dgm:prSet/>
      <dgm:spPr/>
      <dgm:t>
        <a:bodyPr/>
        <a:lstStyle/>
        <a:p>
          <a:r>
            <a:rPr lang="en-US" dirty="0">
              <a:latin typeface="+mn-lt"/>
            </a:rPr>
            <a:t>Tied to the referenced tables / views</a:t>
          </a:r>
        </a:p>
      </dgm:t>
    </dgm:pt>
    <dgm:pt modelId="{2EDA8362-0F0F-4180-A629-A1CC7EBFB8BC}" type="parTrans" cxnId="{27E8A211-C32C-443A-8707-57E717684E43}">
      <dgm:prSet/>
      <dgm:spPr/>
      <dgm:t>
        <a:bodyPr/>
        <a:lstStyle/>
        <a:p>
          <a:endParaRPr lang="es-ES"/>
        </a:p>
      </dgm:t>
    </dgm:pt>
    <dgm:pt modelId="{60C73B58-9401-45CE-B0A8-86DBA44AEADD}" type="sibTrans" cxnId="{27E8A211-C32C-443A-8707-57E717684E43}">
      <dgm:prSet/>
      <dgm:spPr/>
      <dgm:t>
        <a:bodyPr/>
        <a:lstStyle/>
        <a:p>
          <a:endParaRPr lang="es-ES"/>
        </a:p>
      </dgm:t>
    </dgm:pt>
    <dgm:pt modelId="{64A979BF-074C-4FFD-9CBD-9591488A7439}">
      <dgm:prSet/>
      <dgm:spPr/>
      <dgm:t>
        <a:bodyPr/>
        <a:lstStyle/>
        <a:p>
          <a:r>
            <a:rPr lang="en-US" dirty="0"/>
            <a:t>SQL Pool Standard Views</a:t>
          </a:r>
        </a:p>
      </dgm:t>
    </dgm:pt>
    <dgm:pt modelId="{B9440BB0-E5CE-4FF6-A2BB-0856CCE34655}" type="parTrans" cxnId="{F7239914-70BA-4BE0-A091-72B3913A0C82}">
      <dgm:prSet/>
      <dgm:spPr/>
      <dgm:t>
        <a:bodyPr/>
        <a:lstStyle/>
        <a:p>
          <a:endParaRPr lang="es-ES"/>
        </a:p>
      </dgm:t>
    </dgm:pt>
    <dgm:pt modelId="{7C794CA8-B901-4FF1-8134-DB2E1467691C}" type="sibTrans" cxnId="{F7239914-70BA-4BE0-A091-72B3913A0C82}">
      <dgm:prSet/>
      <dgm:spPr/>
      <dgm:t>
        <a:bodyPr/>
        <a:lstStyle/>
        <a:p>
          <a:endParaRPr lang="es-ES"/>
        </a:p>
      </dgm:t>
    </dgm:pt>
    <dgm:pt modelId="{F46DFC4E-041B-4FB3-809E-0823E5F73C13}">
      <dgm:prSet/>
      <dgm:spPr/>
      <dgm:t>
        <a:bodyPr/>
        <a:lstStyle/>
        <a:p>
          <a:r>
            <a:rPr lang="en-US" dirty="0">
              <a:latin typeface="+mn-lt"/>
            </a:rPr>
            <a:t>SQL Pool Views are fully expanded by the MPP Query optimizer when creating the distributed query plan</a:t>
          </a:r>
        </a:p>
      </dgm:t>
    </dgm:pt>
    <dgm:pt modelId="{DE810468-16E4-48F3-87D6-21D2AD23AF7E}" type="parTrans" cxnId="{F6704BF6-08A9-479D-9A29-49F688A98287}">
      <dgm:prSet/>
      <dgm:spPr/>
      <dgm:t>
        <a:bodyPr/>
        <a:lstStyle/>
        <a:p>
          <a:endParaRPr lang="es-ES"/>
        </a:p>
      </dgm:t>
    </dgm:pt>
    <dgm:pt modelId="{9726BD20-62A6-4667-A36A-F7A3E517E221}" type="sibTrans" cxnId="{F6704BF6-08A9-479D-9A29-49F688A98287}">
      <dgm:prSet/>
      <dgm:spPr/>
      <dgm:t>
        <a:bodyPr/>
        <a:lstStyle/>
        <a:p>
          <a:endParaRPr lang="es-ES"/>
        </a:p>
      </dgm:t>
    </dgm:pt>
    <dgm:pt modelId="{C880DCE2-B356-4236-8E9D-ED515216CBC5}">
      <dgm:prSet phldrT="[Text]"/>
      <dgm:spPr/>
      <dgm:t>
        <a:bodyPr/>
        <a:lstStyle/>
        <a:p>
          <a:pPr>
            <a:buNone/>
          </a:pPr>
          <a:r>
            <a:rPr lang="en-US" dirty="0">
              <a:latin typeface="+mn-lt"/>
            </a:rPr>
            <a:t>Are ‘compiled’ objects</a:t>
          </a:r>
          <a:endParaRPr lang="es-ES" dirty="0">
            <a:latin typeface="+mn-lt"/>
          </a:endParaRPr>
        </a:p>
      </dgm:t>
    </dgm:pt>
    <dgm:pt modelId="{7499573E-5E6B-4C21-94D7-F239EFEE7BF7}" type="parTrans" cxnId="{71E99233-5E8B-4657-B097-0229DED2F06C}">
      <dgm:prSet/>
      <dgm:spPr/>
      <dgm:t>
        <a:bodyPr/>
        <a:lstStyle/>
        <a:p>
          <a:endParaRPr lang="es-ES"/>
        </a:p>
      </dgm:t>
    </dgm:pt>
    <dgm:pt modelId="{040450D0-D882-4358-86F5-30D4F0457E9C}" type="sibTrans" cxnId="{71E99233-5E8B-4657-B097-0229DED2F06C}">
      <dgm:prSet/>
      <dgm:spPr/>
      <dgm:t>
        <a:bodyPr/>
        <a:lstStyle/>
        <a:p>
          <a:endParaRPr lang="es-ES"/>
        </a:p>
      </dgm:t>
    </dgm:pt>
    <dgm:pt modelId="{04DE150A-8463-42A7-B9E5-156936DF6ACF}">
      <dgm:prSet/>
      <dgm:spPr/>
      <dgm:t>
        <a:bodyPr/>
        <a:lstStyle/>
        <a:p>
          <a:r>
            <a:rPr lang="en-US" dirty="0">
              <a:latin typeface="+mn-lt"/>
            </a:rPr>
            <a:t>Are conceptualized as defined subqueries</a:t>
          </a:r>
        </a:p>
      </dgm:t>
    </dgm:pt>
    <dgm:pt modelId="{CEAE0A8F-4903-462E-98C1-F95FB8E30F15}" type="parTrans" cxnId="{C87DBF19-6D5A-4BA8-97EA-8DE5CFBEFBC1}">
      <dgm:prSet/>
      <dgm:spPr/>
      <dgm:t>
        <a:bodyPr/>
        <a:lstStyle/>
        <a:p>
          <a:endParaRPr lang="es-ES"/>
        </a:p>
      </dgm:t>
    </dgm:pt>
    <dgm:pt modelId="{89680166-B218-4492-8A2C-F9CA53DB9903}" type="sibTrans" cxnId="{C87DBF19-6D5A-4BA8-97EA-8DE5CFBEFBC1}">
      <dgm:prSet/>
      <dgm:spPr/>
      <dgm:t>
        <a:bodyPr/>
        <a:lstStyle/>
        <a:p>
          <a:endParaRPr lang="es-ES"/>
        </a:p>
      </dgm:t>
    </dgm:pt>
    <dgm:pt modelId="{754C4BB6-5CE6-4847-8309-F0AF24FE3E11}">
      <dgm:prSet/>
      <dgm:spPr/>
      <dgm:t>
        <a:bodyPr/>
        <a:lstStyle/>
        <a:p>
          <a:r>
            <a:rPr lang="en-US" dirty="0">
              <a:latin typeface="+mn-lt"/>
            </a:rPr>
            <a:t>Are not compiled and tied to the referenced tables / views</a:t>
          </a:r>
        </a:p>
      </dgm:t>
    </dgm:pt>
    <dgm:pt modelId="{E52E6DCB-1488-4D9B-8AD7-75DB18192928}" type="parTrans" cxnId="{59389BFE-C58E-4D33-8767-709E69A4FCDC}">
      <dgm:prSet/>
      <dgm:spPr/>
      <dgm:t>
        <a:bodyPr/>
        <a:lstStyle/>
        <a:p>
          <a:endParaRPr lang="en-US"/>
        </a:p>
      </dgm:t>
    </dgm:pt>
    <dgm:pt modelId="{FF15EFBA-FE01-45F7-A91A-103F5535B9E4}" type="sibTrans" cxnId="{59389BFE-C58E-4D33-8767-709E69A4FCDC}">
      <dgm:prSet/>
      <dgm:spPr/>
      <dgm:t>
        <a:bodyPr/>
        <a:lstStyle/>
        <a:p>
          <a:endParaRPr lang="en-US"/>
        </a:p>
      </dgm:t>
    </dgm:pt>
    <dgm:pt modelId="{69C70F43-9437-4DBD-8F14-108593CFB2E0}" type="pres">
      <dgm:prSet presAssocID="{FCED5D26-3554-425C-8F5E-9FC892FA1F7B}" presName="Name0" presStyleCnt="0">
        <dgm:presLayoutVars>
          <dgm:dir/>
          <dgm:animLvl val="lvl"/>
          <dgm:resizeHandles val="exact"/>
        </dgm:presLayoutVars>
      </dgm:prSet>
      <dgm:spPr/>
    </dgm:pt>
    <dgm:pt modelId="{9B6E0D63-B7A0-4E72-8CBA-07D22756ACD0}" type="pres">
      <dgm:prSet presAssocID="{459E9C3A-3957-403C-89AA-44EAE4613F35}" presName="linNode" presStyleCnt="0"/>
      <dgm:spPr/>
    </dgm:pt>
    <dgm:pt modelId="{FD351B19-08F0-4C2C-8F63-989223C386D2}" type="pres">
      <dgm:prSet presAssocID="{459E9C3A-3957-403C-89AA-44EAE4613F35}" presName="parTx" presStyleLbl="revTx" presStyleIdx="0" presStyleCnt="2">
        <dgm:presLayoutVars>
          <dgm:chMax val="1"/>
          <dgm:bulletEnabled val="1"/>
        </dgm:presLayoutVars>
      </dgm:prSet>
      <dgm:spPr/>
    </dgm:pt>
    <dgm:pt modelId="{7762F982-9F6D-4E5B-BE3C-F544ABAA2BEC}" type="pres">
      <dgm:prSet presAssocID="{459E9C3A-3957-403C-89AA-44EAE4613F35}" presName="bracket" presStyleLbl="parChTrans1D1" presStyleIdx="0" presStyleCnt="2"/>
      <dgm:spPr/>
    </dgm:pt>
    <dgm:pt modelId="{3BCEAF02-B4EE-4C69-985E-3AD34C63502B}" type="pres">
      <dgm:prSet presAssocID="{459E9C3A-3957-403C-89AA-44EAE4613F35}" presName="spH" presStyleCnt="0"/>
      <dgm:spPr/>
    </dgm:pt>
    <dgm:pt modelId="{17B5C5A0-4510-4DA4-9067-F2D67665D8B2}" type="pres">
      <dgm:prSet presAssocID="{459E9C3A-3957-403C-89AA-44EAE4613F35}" presName="desTx" presStyleLbl="node1" presStyleIdx="0" presStyleCnt="2">
        <dgm:presLayoutVars>
          <dgm:bulletEnabled val="1"/>
        </dgm:presLayoutVars>
      </dgm:prSet>
      <dgm:spPr/>
    </dgm:pt>
    <dgm:pt modelId="{157D92F7-4750-4106-B336-2F9E67C7A754}" type="pres">
      <dgm:prSet presAssocID="{8E322175-DC60-455C-B2E9-3A4E86EA031D}" presName="spV" presStyleCnt="0"/>
      <dgm:spPr/>
    </dgm:pt>
    <dgm:pt modelId="{E7BF2CC9-0371-41BC-B1FC-AD403E9E1E10}" type="pres">
      <dgm:prSet presAssocID="{64A979BF-074C-4FFD-9CBD-9591488A7439}" presName="linNode" presStyleCnt="0"/>
      <dgm:spPr/>
    </dgm:pt>
    <dgm:pt modelId="{A459BC2A-8F98-4BCA-905D-41EB4D1B6C1E}" type="pres">
      <dgm:prSet presAssocID="{64A979BF-074C-4FFD-9CBD-9591488A7439}" presName="parTx" presStyleLbl="revTx" presStyleIdx="1" presStyleCnt="2">
        <dgm:presLayoutVars>
          <dgm:chMax val="1"/>
          <dgm:bulletEnabled val="1"/>
        </dgm:presLayoutVars>
      </dgm:prSet>
      <dgm:spPr/>
    </dgm:pt>
    <dgm:pt modelId="{675219C7-64B9-4A3B-9DB4-49E5E68F3DE9}" type="pres">
      <dgm:prSet presAssocID="{64A979BF-074C-4FFD-9CBD-9591488A7439}" presName="bracket" presStyleLbl="parChTrans1D1" presStyleIdx="1" presStyleCnt="2"/>
      <dgm:spPr/>
    </dgm:pt>
    <dgm:pt modelId="{60456D23-12D5-4A4A-A1AD-8CCF82363151}" type="pres">
      <dgm:prSet presAssocID="{64A979BF-074C-4FFD-9CBD-9591488A7439}" presName="spH" presStyleCnt="0"/>
      <dgm:spPr/>
    </dgm:pt>
    <dgm:pt modelId="{12A41E63-2623-4D9F-B6E1-66BD9A6325EE}" type="pres">
      <dgm:prSet presAssocID="{64A979BF-074C-4FFD-9CBD-9591488A7439}" presName="desTx" presStyleLbl="node1" presStyleIdx="1" presStyleCnt="2">
        <dgm:presLayoutVars>
          <dgm:bulletEnabled val="1"/>
        </dgm:presLayoutVars>
      </dgm:prSet>
      <dgm:spPr/>
    </dgm:pt>
  </dgm:ptLst>
  <dgm:cxnLst>
    <dgm:cxn modelId="{27E8A211-C32C-443A-8707-57E717684E43}" srcId="{459E9C3A-3957-403C-89AA-44EAE4613F35}" destId="{06886862-D269-4931-95ED-E3D05DB81364}" srcOrd="1" destOrd="0" parTransId="{2EDA8362-0F0F-4180-A629-A1CC7EBFB8BC}" sibTransId="{60C73B58-9401-45CE-B0A8-86DBA44AEADD}"/>
    <dgm:cxn modelId="{9B279612-E268-4FD4-9637-AD47DAA35968}" type="presOf" srcId="{06886862-D269-4931-95ED-E3D05DB81364}" destId="{17B5C5A0-4510-4DA4-9067-F2D67665D8B2}" srcOrd="0" destOrd="1" presId="urn:diagrams.loki3.com/BracketList"/>
    <dgm:cxn modelId="{F7239914-70BA-4BE0-A091-72B3913A0C82}" srcId="{FCED5D26-3554-425C-8F5E-9FC892FA1F7B}" destId="{64A979BF-074C-4FFD-9CBD-9591488A7439}" srcOrd="1" destOrd="0" parTransId="{B9440BB0-E5CE-4FF6-A2BB-0856CCE34655}" sibTransId="{7C794CA8-B901-4FF1-8134-DB2E1467691C}"/>
    <dgm:cxn modelId="{C87DBF19-6D5A-4BA8-97EA-8DE5CFBEFBC1}" srcId="{64A979BF-074C-4FFD-9CBD-9591488A7439}" destId="{04DE150A-8463-42A7-B9E5-156936DF6ACF}" srcOrd="0" destOrd="0" parTransId="{CEAE0A8F-4903-462E-98C1-F95FB8E30F15}" sibTransId="{89680166-B218-4492-8A2C-F9CA53DB9903}"/>
    <dgm:cxn modelId="{94920D2E-5A05-409A-BC0F-920DABEA3910}" type="presOf" srcId="{459E9C3A-3957-403C-89AA-44EAE4613F35}" destId="{FD351B19-08F0-4C2C-8F63-989223C386D2}" srcOrd="0" destOrd="0" presId="urn:diagrams.loki3.com/BracketList"/>
    <dgm:cxn modelId="{71E99233-5E8B-4657-B097-0229DED2F06C}" srcId="{459E9C3A-3957-403C-89AA-44EAE4613F35}" destId="{C880DCE2-B356-4236-8E9D-ED515216CBC5}" srcOrd="0" destOrd="0" parTransId="{7499573E-5E6B-4C21-94D7-F239EFEE7BF7}" sibTransId="{040450D0-D882-4358-86F5-30D4F0457E9C}"/>
    <dgm:cxn modelId="{08D23745-F20E-4F12-A929-722C0488C33D}" type="presOf" srcId="{04DE150A-8463-42A7-B9E5-156936DF6ACF}" destId="{12A41E63-2623-4D9F-B6E1-66BD9A6325EE}" srcOrd="0" destOrd="0" presId="urn:diagrams.loki3.com/BracketList"/>
    <dgm:cxn modelId="{01E65766-8229-4C7B-912B-4E0F9DEF660C}" type="presOf" srcId="{FCED5D26-3554-425C-8F5E-9FC892FA1F7B}" destId="{69C70F43-9437-4DBD-8F14-108593CFB2E0}" srcOrd="0" destOrd="0" presId="urn:diagrams.loki3.com/BracketList"/>
    <dgm:cxn modelId="{D4F9B36E-BA31-4241-B352-3D1E1160391A}" type="presOf" srcId="{64A979BF-074C-4FFD-9CBD-9591488A7439}" destId="{A459BC2A-8F98-4BCA-905D-41EB4D1B6C1E}" srcOrd="0" destOrd="0" presId="urn:diagrams.loki3.com/BracketList"/>
    <dgm:cxn modelId="{3206AE57-F4AA-4D25-86BA-5C79588B244C}" srcId="{FCED5D26-3554-425C-8F5E-9FC892FA1F7B}" destId="{459E9C3A-3957-403C-89AA-44EAE4613F35}" srcOrd="0" destOrd="0" parTransId="{46DD97EA-0D5E-46F9-BD42-B0887795C15B}" sibTransId="{8E322175-DC60-455C-B2E9-3A4E86EA031D}"/>
    <dgm:cxn modelId="{DF665BAC-E264-466A-8B55-FFBEE7F19A77}" type="presOf" srcId="{F46DFC4E-041B-4FB3-809E-0823E5F73C13}" destId="{12A41E63-2623-4D9F-B6E1-66BD9A6325EE}" srcOrd="0" destOrd="2" presId="urn:diagrams.loki3.com/BracketList"/>
    <dgm:cxn modelId="{29E4C7E1-63F1-43D9-A893-ACAC5FD671C9}" type="presOf" srcId="{C880DCE2-B356-4236-8E9D-ED515216CBC5}" destId="{17B5C5A0-4510-4DA4-9067-F2D67665D8B2}" srcOrd="0" destOrd="0" presId="urn:diagrams.loki3.com/BracketList"/>
    <dgm:cxn modelId="{2F7D13F3-EBED-43F1-85BB-BAEAB7EA6D59}" type="presOf" srcId="{754C4BB6-5CE6-4847-8309-F0AF24FE3E11}" destId="{12A41E63-2623-4D9F-B6E1-66BD9A6325EE}" srcOrd="0" destOrd="1" presId="urn:diagrams.loki3.com/BracketList"/>
    <dgm:cxn modelId="{F6704BF6-08A9-479D-9A29-49F688A98287}" srcId="{64A979BF-074C-4FFD-9CBD-9591488A7439}" destId="{F46DFC4E-041B-4FB3-809E-0823E5F73C13}" srcOrd="2" destOrd="0" parTransId="{DE810468-16E4-48F3-87D6-21D2AD23AF7E}" sibTransId="{9726BD20-62A6-4667-A36A-F7A3E517E221}"/>
    <dgm:cxn modelId="{59389BFE-C58E-4D33-8767-709E69A4FCDC}" srcId="{64A979BF-074C-4FFD-9CBD-9591488A7439}" destId="{754C4BB6-5CE6-4847-8309-F0AF24FE3E11}" srcOrd="1" destOrd="0" parTransId="{E52E6DCB-1488-4D9B-8AD7-75DB18192928}" sibTransId="{FF15EFBA-FE01-45F7-A91A-103F5535B9E4}"/>
    <dgm:cxn modelId="{946FED88-F7ED-41FC-9EE8-0E2AA8277EEA}" type="presParOf" srcId="{69C70F43-9437-4DBD-8F14-108593CFB2E0}" destId="{9B6E0D63-B7A0-4E72-8CBA-07D22756ACD0}" srcOrd="0" destOrd="0" presId="urn:diagrams.loki3.com/BracketList"/>
    <dgm:cxn modelId="{D2EE690D-43DF-47C1-8C5C-6C194227DA68}" type="presParOf" srcId="{9B6E0D63-B7A0-4E72-8CBA-07D22756ACD0}" destId="{FD351B19-08F0-4C2C-8F63-989223C386D2}" srcOrd="0" destOrd="0" presId="urn:diagrams.loki3.com/BracketList"/>
    <dgm:cxn modelId="{7F99F2E5-CDCE-48B3-961F-3CE4C19DDBAF}" type="presParOf" srcId="{9B6E0D63-B7A0-4E72-8CBA-07D22756ACD0}" destId="{7762F982-9F6D-4E5B-BE3C-F544ABAA2BEC}" srcOrd="1" destOrd="0" presId="urn:diagrams.loki3.com/BracketList"/>
    <dgm:cxn modelId="{0A0CD2A0-78B5-450B-9119-62894F20E71C}" type="presParOf" srcId="{9B6E0D63-B7A0-4E72-8CBA-07D22756ACD0}" destId="{3BCEAF02-B4EE-4C69-985E-3AD34C63502B}" srcOrd="2" destOrd="0" presId="urn:diagrams.loki3.com/BracketList"/>
    <dgm:cxn modelId="{89D0D3A6-A4D0-4D59-B63C-6BB976C6951E}" type="presParOf" srcId="{9B6E0D63-B7A0-4E72-8CBA-07D22756ACD0}" destId="{17B5C5A0-4510-4DA4-9067-F2D67665D8B2}" srcOrd="3" destOrd="0" presId="urn:diagrams.loki3.com/BracketList"/>
    <dgm:cxn modelId="{2D78E6C3-E6CF-4E4B-A3BF-A8C768CE6F50}" type="presParOf" srcId="{69C70F43-9437-4DBD-8F14-108593CFB2E0}" destId="{157D92F7-4750-4106-B336-2F9E67C7A754}" srcOrd="1" destOrd="0" presId="urn:diagrams.loki3.com/BracketList"/>
    <dgm:cxn modelId="{8BBAF161-E8EA-409C-BA57-A7BC72D33847}" type="presParOf" srcId="{69C70F43-9437-4DBD-8F14-108593CFB2E0}" destId="{E7BF2CC9-0371-41BC-B1FC-AD403E9E1E10}" srcOrd="2" destOrd="0" presId="urn:diagrams.loki3.com/BracketList"/>
    <dgm:cxn modelId="{76709FC3-636E-4CA2-8ABD-4340F1D61364}" type="presParOf" srcId="{E7BF2CC9-0371-41BC-B1FC-AD403E9E1E10}" destId="{A459BC2A-8F98-4BCA-905D-41EB4D1B6C1E}" srcOrd="0" destOrd="0" presId="urn:diagrams.loki3.com/BracketList"/>
    <dgm:cxn modelId="{464FA19B-BA3A-4369-BA0F-56D6D079077A}" type="presParOf" srcId="{E7BF2CC9-0371-41BC-B1FC-AD403E9E1E10}" destId="{675219C7-64B9-4A3B-9DB4-49E5E68F3DE9}" srcOrd="1" destOrd="0" presId="urn:diagrams.loki3.com/BracketList"/>
    <dgm:cxn modelId="{0197EBBB-7F61-4628-B24E-8AC08939CB8E}" type="presParOf" srcId="{E7BF2CC9-0371-41BC-B1FC-AD403E9E1E10}" destId="{60456D23-12D5-4A4A-A1AD-8CCF82363151}" srcOrd="2" destOrd="0" presId="urn:diagrams.loki3.com/BracketList"/>
    <dgm:cxn modelId="{6B7D04F0-18AB-4E48-A007-4571518FC3B5}" type="presParOf" srcId="{E7BF2CC9-0371-41BC-B1FC-AD403E9E1E10}" destId="{12A41E63-2623-4D9F-B6E1-66BD9A6325EE}"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A79FF6A-E0C1-4C5E-ACB5-53E6D5BC8FC5}"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998F201A-9522-48A6-AA8D-3DA5D59F47F1}">
      <dgm:prSet phldrT="[Text]"/>
      <dgm:spPr>
        <a:scene3d>
          <a:camera prst="orthographicFront"/>
          <a:lightRig rig="threePt" dir="t"/>
        </a:scene3d>
        <a:sp3d>
          <a:bevelT prst="angle"/>
        </a:sp3d>
      </dgm:spPr>
      <dgm:t>
        <a:bodyPr/>
        <a:lstStyle/>
        <a:p>
          <a:pPr>
            <a:buNone/>
          </a:pPr>
          <a:r>
            <a:rPr lang="en-US" dirty="0"/>
            <a:t>Reusability requires avoiding business logic duplication</a:t>
          </a:r>
          <a:endParaRPr lang="es-ES" dirty="0"/>
        </a:p>
      </dgm:t>
    </dgm:pt>
    <dgm:pt modelId="{C5DB5A11-23C1-441C-964B-AFB3D851B1A8}" type="parTrans" cxnId="{8455EA53-8ADB-48F1-A2D8-CD429AA6F5E8}">
      <dgm:prSet/>
      <dgm:spPr/>
      <dgm:t>
        <a:bodyPr/>
        <a:lstStyle/>
        <a:p>
          <a:endParaRPr lang="es-ES"/>
        </a:p>
      </dgm:t>
    </dgm:pt>
    <dgm:pt modelId="{19E84FC9-B2FA-4E54-8F9D-61CCB1C5B35F}" type="sibTrans" cxnId="{8455EA53-8ADB-48F1-A2D8-CD429AA6F5E8}">
      <dgm:prSet/>
      <dgm:spPr/>
      <dgm:t>
        <a:bodyPr/>
        <a:lstStyle/>
        <a:p>
          <a:endParaRPr lang="es-ES"/>
        </a:p>
      </dgm:t>
    </dgm:pt>
    <dgm:pt modelId="{7170989F-259D-4231-8059-D1E7D4410D87}">
      <dgm:prSet/>
      <dgm:spPr/>
      <dgm:t>
        <a:bodyPr/>
        <a:lstStyle/>
        <a:p>
          <a:r>
            <a:rPr lang="en-US" dirty="0"/>
            <a:t>Avoid combining all variations of business logic into single view</a:t>
          </a:r>
        </a:p>
      </dgm:t>
    </dgm:pt>
    <dgm:pt modelId="{92F8ADC1-F7DE-4B06-9212-03D5299AA82C}" type="parTrans" cxnId="{CAF1B1CC-E3E9-41C4-9B08-A4DE2014CF23}">
      <dgm:prSet/>
      <dgm:spPr/>
      <dgm:t>
        <a:bodyPr/>
        <a:lstStyle/>
        <a:p>
          <a:endParaRPr lang="es-ES"/>
        </a:p>
      </dgm:t>
    </dgm:pt>
    <dgm:pt modelId="{4C22A766-82D3-4A2E-9C8C-DE46C4B4E38A}" type="sibTrans" cxnId="{CAF1B1CC-E3E9-41C4-9B08-A4DE2014CF23}">
      <dgm:prSet/>
      <dgm:spPr/>
      <dgm:t>
        <a:bodyPr/>
        <a:lstStyle/>
        <a:p>
          <a:endParaRPr lang="es-ES"/>
        </a:p>
      </dgm:t>
    </dgm:pt>
    <dgm:pt modelId="{36CB39DF-2E3F-488F-A86F-4CB8579679FA}">
      <dgm:prSet/>
      <dgm:spPr/>
      <dgm:t>
        <a:bodyPr/>
        <a:lstStyle/>
        <a:p>
          <a:r>
            <a:rPr lang="en-US" dirty="0"/>
            <a:t>Avoid creating create a complex view, with large number of columns ( ‘Omnibus’ View)</a:t>
          </a:r>
        </a:p>
      </dgm:t>
    </dgm:pt>
    <dgm:pt modelId="{FCE69910-2BE3-4226-BF22-9BE14F0FE106}" type="parTrans" cxnId="{B6104772-47AF-48CA-9082-FFD53FC658BA}">
      <dgm:prSet/>
      <dgm:spPr/>
      <dgm:t>
        <a:bodyPr/>
        <a:lstStyle/>
        <a:p>
          <a:endParaRPr lang="es-ES"/>
        </a:p>
      </dgm:t>
    </dgm:pt>
    <dgm:pt modelId="{1C2EF196-6A9E-4E67-9C27-DDB0BB9613CF}" type="sibTrans" cxnId="{B6104772-47AF-48CA-9082-FFD53FC658BA}">
      <dgm:prSet/>
      <dgm:spPr/>
      <dgm:t>
        <a:bodyPr/>
        <a:lstStyle/>
        <a:p>
          <a:endParaRPr lang="es-ES"/>
        </a:p>
      </dgm:t>
    </dgm:pt>
    <dgm:pt modelId="{B3E29800-480D-4738-BAE9-BFB438F991BA}">
      <dgm:prSet/>
      <dgm:spPr>
        <a:scene3d>
          <a:camera prst="orthographicFront"/>
          <a:lightRig rig="threePt" dir="t"/>
        </a:scene3d>
        <a:sp3d>
          <a:bevelT prst="angle"/>
        </a:sp3d>
      </dgm:spPr>
      <dgm:t>
        <a:bodyPr/>
        <a:lstStyle/>
        <a:p>
          <a:r>
            <a:rPr lang="en-US" dirty="0"/>
            <a:t>Omnibus Views can cause excessive Data Movement</a:t>
          </a:r>
        </a:p>
      </dgm:t>
    </dgm:pt>
    <dgm:pt modelId="{0FC6CE36-4D15-43F0-BBA7-CF03E2CE923A}" type="parTrans" cxnId="{5864DA80-AF81-4C17-9602-46F6E4E2047D}">
      <dgm:prSet/>
      <dgm:spPr/>
      <dgm:t>
        <a:bodyPr/>
        <a:lstStyle/>
        <a:p>
          <a:endParaRPr lang="es-ES"/>
        </a:p>
      </dgm:t>
    </dgm:pt>
    <dgm:pt modelId="{A94FA8A8-EB6B-489C-A8BB-8A5C11DB9177}" type="sibTrans" cxnId="{5864DA80-AF81-4C17-9602-46F6E4E2047D}">
      <dgm:prSet/>
      <dgm:spPr/>
      <dgm:t>
        <a:bodyPr/>
        <a:lstStyle/>
        <a:p>
          <a:endParaRPr lang="es-ES"/>
        </a:p>
      </dgm:t>
    </dgm:pt>
    <dgm:pt modelId="{9F84F6C4-C704-4D46-B890-B081283E9923}">
      <dgm:prSet/>
      <dgm:spPr/>
      <dgm:t>
        <a:bodyPr/>
        <a:lstStyle/>
        <a:p>
          <a:r>
            <a:rPr lang="en-US" dirty="0">
              <a:latin typeface="+mn-lt"/>
            </a:rPr>
            <a:t>MPP Query optimizer may move all view columns, even if only a small subset is needed</a:t>
          </a:r>
        </a:p>
      </dgm:t>
    </dgm:pt>
    <dgm:pt modelId="{ADF53E31-9209-448B-AF74-10D23C594A4E}" type="parTrans" cxnId="{053A15F8-0839-4FE2-A477-AB57950EA707}">
      <dgm:prSet/>
      <dgm:spPr/>
      <dgm:t>
        <a:bodyPr/>
        <a:lstStyle/>
        <a:p>
          <a:endParaRPr lang="es-ES"/>
        </a:p>
      </dgm:t>
    </dgm:pt>
    <dgm:pt modelId="{047D0903-3619-4786-87B1-70D463D6CC33}" type="sibTrans" cxnId="{053A15F8-0839-4FE2-A477-AB57950EA707}">
      <dgm:prSet/>
      <dgm:spPr/>
      <dgm:t>
        <a:bodyPr/>
        <a:lstStyle/>
        <a:p>
          <a:endParaRPr lang="es-ES"/>
        </a:p>
      </dgm:t>
    </dgm:pt>
    <dgm:pt modelId="{2CF69CB2-2C68-4CEE-8813-6015E9A74F8E}" type="pres">
      <dgm:prSet presAssocID="{2A79FF6A-E0C1-4C5E-ACB5-53E6D5BC8FC5}" presName="linear" presStyleCnt="0">
        <dgm:presLayoutVars>
          <dgm:animLvl val="lvl"/>
          <dgm:resizeHandles val="exact"/>
        </dgm:presLayoutVars>
      </dgm:prSet>
      <dgm:spPr/>
    </dgm:pt>
    <dgm:pt modelId="{E59BB23B-F526-4CC5-A793-70B42E7A7579}" type="pres">
      <dgm:prSet presAssocID="{998F201A-9522-48A6-AA8D-3DA5D59F47F1}" presName="parentText" presStyleLbl="node1" presStyleIdx="0" presStyleCnt="2">
        <dgm:presLayoutVars>
          <dgm:chMax val="0"/>
          <dgm:bulletEnabled val="1"/>
        </dgm:presLayoutVars>
      </dgm:prSet>
      <dgm:spPr/>
    </dgm:pt>
    <dgm:pt modelId="{A38D388C-190E-4E96-97B1-611B962DAED3}" type="pres">
      <dgm:prSet presAssocID="{998F201A-9522-48A6-AA8D-3DA5D59F47F1}" presName="childText" presStyleLbl="revTx" presStyleIdx="0" presStyleCnt="2">
        <dgm:presLayoutVars>
          <dgm:bulletEnabled val="1"/>
        </dgm:presLayoutVars>
      </dgm:prSet>
      <dgm:spPr/>
    </dgm:pt>
    <dgm:pt modelId="{528195A0-CDFC-44ED-8C55-150349881DF4}" type="pres">
      <dgm:prSet presAssocID="{B3E29800-480D-4738-BAE9-BFB438F991BA}" presName="parentText" presStyleLbl="node1" presStyleIdx="1" presStyleCnt="2">
        <dgm:presLayoutVars>
          <dgm:chMax val="0"/>
          <dgm:bulletEnabled val="1"/>
        </dgm:presLayoutVars>
      </dgm:prSet>
      <dgm:spPr/>
    </dgm:pt>
    <dgm:pt modelId="{037B6061-F788-4E0C-ABE1-D539B532FF40}" type="pres">
      <dgm:prSet presAssocID="{B3E29800-480D-4738-BAE9-BFB438F991BA}" presName="childText" presStyleLbl="revTx" presStyleIdx="1" presStyleCnt="2">
        <dgm:presLayoutVars>
          <dgm:bulletEnabled val="1"/>
        </dgm:presLayoutVars>
      </dgm:prSet>
      <dgm:spPr/>
    </dgm:pt>
  </dgm:ptLst>
  <dgm:cxnLst>
    <dgm:cxn modelId="{692F5814-5E6F-4783-BD65-5BE166D1657B}" type="presOf" srcId="{2A79FF6A-E0C1-4C5E-ACB5-53E6D5BC8FC5}" destId="{2CF69CB2-2C68-4CEE-8813-6015E9A74F8E}" srcOrd="0" destOrd="0" presId="urn:microsoft.com/office/officeart/2005/8/layout/vList2"/>
    <dgm:cxn modelId="{A814B22C-1272-4472-BA75-3850DEDB7F63}" type="presOf" srcId="{998F201A-9522-48A6-AA8D-3DA5D59F47F1}" destId="{E59BB23B-F526-4CC5-A793-70B42E7A7579}" srcOrd="0" destOrd="0" presId="urn:microsoft.com/office/officeart/2005/8/layout/vList2"/>
    <dgm:cxn modelId="{69629C62-AE9E-4214-A727-B014E2EF7A62}" type="presOf" srcId="{9F84F6C4-C704-4D46-B890-B081283E9923}" destId="{037B6061-F788-4E0C-ABE1-D539B532FF40}" srcOrd="0" destOrd="0" presId="urn:microsoft.com/office/officeart/2005/8/layout/vList2"/>
    <dgm:cxn modelId="{E977D26C-793D-4D25-A28B-E0AB38BE9F20}" type="presOf" srcId="{7170989F-259D-4231-8059-D1E7D4410D87}" destId="{A38D388C-190E-4E96-97B1-611B962DAED3}" srcOrd="0" destOrd="0" presId="urn:microsoft.com/office/officeart/2005/8/layout/vList2"/>
    <dgm:cxn modelId="{B6104772-47AF-48CA-9082-FFD53FC658BA}" srcId="{998F201A-9522-48A6-AA8D-3DA5D59F47F1}" destId="{36CB39DF-2E3F-488F-A86F-4CB8579679FA}" srcOrd="1" destOrd="0" parTransId="{FCE69910-2BE3-4226-BF22-9BE14F0FE106}" sibTransId="{1C2EF196-6A9E-4E67-9C27-DDB0BB9613CF}"/>
    <dgm:cxn modelId="{8455EA53-8ADB-48F1-A2D8-CD429AA6F5E8}" srcId="{2A79FF6A-E0C1-4C5E-ACB5-53E6D5BC8FC5}" destId="{998F201A-9522-48A6-AA8D-3DA5D59F47F1}" srcOrd="0" destOrd="0" parTransId="{C5DB5A11-23C1-441C-964B-AFB3D851B1A8}" sibTransId="{19E84FC9-B2FA-4E54-8F9D-61CCB1C5B35F}"/>
    <dgm:cxn modelId="{5864DA80-AF81-4C17-9602-46F6E4E2047D}" srcId="{2A79FF6A-E0C1-4C5E-ACB5-53E6D5BC8FC5}" destId="{B3E29800-480D-4738-BAE9-BFB438F991BA}" srcOrd="1" destOrd="0" parTransId="{0FC6CE36-4D15-43F0-BBA7-CF03E2CE923A}" sibTransId="{A94FA8A8-EB6B-489C-A8BB-8A5C11DB9177}"/>
    <dgm:cxn modelId="{9DE5D5A5-DCFF-40C7-91FF-0323FB97A2A0}" type="presOf" srcId="{B3E29800-480D-4738-BAE9-BFB438F991BA}" destId="{528195A0-CDFC-44ED-8C55-150349881DF4}" srcOrd="0" destOrd="0" presId="urn:microsoft.com/office/officeart/2005/8/layout/vList2"/>
    <dgm:cxn modelId="{6BD7AAA7-1360-4262-8E32-1CE7D9CADC6D}" type="presOf" srcId="{36CB39DF-2E3F-488F-A86F-4CB8579679FA}" destId="{A38D388C-190E-4E96-97B1-611B962DAED3}" srcOrd="0" destOrd="1" presId="urn:microsoft.com/office/officeart/2005/8/layout/vList2"/>
    <dgm:cxn modelId="{CAF1B1CC-E3E9-41C4-9B08-A4DE2014CF23}" srcId="{998F201A-9522-48A6-AA8D-3DA5D59F47F1}" destId="{7170989F-259D-4231-8059-D1E7D4410D87}" srcOrd="0" destOrd="0" parTransId="{92F8ADC1-F7DE-4B06-9212-03D5299AA82C}" sibTransId="{4C22A766-82D3-4A2E-9C8C-DE46C4B4E38A}"/>
    <dgm:cxn modelId="{053A15F8-0839-4FE2-A477-AB57950EA707}" srcId="{B3E29800-480D-4738-BAE9-BFB438F991BA}" destId="{9F84F6C4-C704-4D46-B890-B081283E9923}" srcOrd="0" destOrd="0" parTransId="{ADF53E31-9209-448B-AF74-10D23C594A4E}" sibTransId="{047D0903-3619-4786-87B1-70D463D6CC33}"/>
    <dgm:cxn modelId="{4CC0AAA8-782A-4035-BF03-D0B2B354FDEB}" type="presParOf" srcId="{2CF69CB2-2C68-4CEE-8813-6015E9A74F8E}" destId="{E59BB23B-F526-4CC5-A793-70B42E7A7579}" srcOrd="0" destOrd="0" presId="urn:microsoft.com/office/officeart/2005/8/layout/vList2"/>
    <dgm:cxn modelId="{E444DBB3-4A83-4882-9E55-1765755ACA64}" type="presParOf" srcId="{2CF69CB2-2C68-4CEE-8813-6015E9A74F8E}" destId="{A38D388C-190E-4E96-97B1-611B962DAED3}" srcOrd="1" destOrd="0" presId="urn:microsoft.com/office/officeart/2005/8/layout/vList2"/>
    <dgm:cxn modelId="{B74D7B4A-811A-4D0F-B337-59982815C52E}" type="presParOf" srcId="{2CF69CB2-2C68-4CEE-8813-6015E9A74F8E}" destId="{528195A0-CDFC-44ED-8C55-150349881DF4}" srcOrd="2" destOrd="0" presId="urn:microsoft.com/office/officeart/2005/8/layout/vList2"/>
    <dgm:cxn modelId="{8F83A25B-9F03-4960-80A3-D62187BDD948}" type="presParOf" srcId="{2CF69CB2-2C68-4CEE-8813-6015E9A74F8E}" destId="{037B6061-F788-4E0C-ABE1-D539B532FF4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5635DAA5-3B87-4060-AE21-5A2916902567}"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755FE124-ED66-4074-AA5F-00BFC35CA2DC}">
      <dgm:prSet phldrT="[Text]"/>
      <dgm:spPr>
        <a:scene3d>
          <a:camera prst="orthographicFront"/>
          <a:lightRig rig="threePt" dir="t"/>
        </a:scene3d>
        <a:sp3d>
          <a:bevelT prst="angle"/>
        </a:sp3d>
      </dgm:spPr>
      <dgm:t>
        <a:bodyPr/>
        <a:lstStyle/>
        <a:p>
          <a:pPr>
            <a:buNone/>
          </a:pPr>
          <a:r>
            <a:rPr lang="en-US" dirty="0"/>
            <a:t>Avoid the creation of Omnibus Views, if possible.</a:t>
          </a:r>
          <a:endParaRPr lang="es-ES" dirty="0"/>
        </a:p>
      </dgm:t>
    </dgm:pt>
    <dgm:pt modelId="{21AC5B1A-16BF-45F1-98FA-8508B358B8F8}" type="parTrans" cxnId="{34D8DA92-1928-48AE-889E-AFCC3F2FD6FD}">
      <dgm:prSet/>
      <dgm:spPr/>
      <dgm:t>
        <a:bodyPr/>
        <a:lstStyle/>
        <a:p>
          <a:endParaRPr lang="es-ES"/>
        </a:p>
      </dgm:t>
    </dgm:pt>
    <dgm:pt modelId="{0E9BE51E-4B69-4143-BB0B-42A762137B41}" type="sibTrans" cxnId="{34D8DA92-1928-48AE-889E-AFCC3F2FD6FD}">
      <dgm:prSet/>
      <dgm:spPr/>
      <dgm:t>
        <a:bodyPr/>
        <a:lstStyle/>
        <a:p>
          <a:endParaRPr lang="es-ES"/>
        </a:p>
      </dgm:t>
    </dgm:pt>
    <dgm:pt modelId="{393B2352-56C3-484D-B06E-57FA9F7D5F6A}">
      <dgm:prSet/>
      <dgm:spPr>
        <a:scene3d>
          <a:camera prst="orthographicFront"/>
          <a:lightRig rig="threePt" dir="t"/>
        </a:scene3d>
        <a:sp3d>
          <a:bevelT prst="angle"/>
        </a:sp3d>
      </dgm:spPr>
      <dgm:t>
        <a:bodyPr/>
        <a:lstStyle/>
        <a:p>
          <a:r>
            <a:rPr lang="en-US" dirty="0"/>
            <a:t>Create focused views with fewer columns</a:t>
          </a:r>
        </a:p>
      </dgm:t>
    </dgm:pt>
    <dgm:pt modelId="{A594AA6B-7F87-44E7-ACBD-B6F38A18B76F}" type="parTrans" cxnId="{308FE14C-3BBD-4A90-A402-5F57BF094A55}">
      <dgm:prSet/>
      <dgm:spPr/>
      <dgm:t>
        <a:bodyPr/>
        <a:lstStyle/>
        <a:p>
          <a:endParaRPr lang="es-ES"/>
        </a:p>
      </dgm:t>
    </dgm:pt>
    <dgm:pt modelId="{F933B0B2-DA94-4034-A7DF-90EA2C754859}" type="sibTrans" cxnId="{308FE14C-3BBD-4A90-A402-5F57BF094A55}">
      <dgm:prSet/>
      <dgm:spPr/>
      <dgm:t>
        <a:bodyPr/>
        <a:lstStyle/>
        <a:p>
          <a:endParaRPr lang="es-ES"/>
        </a:p>
      </dgm:t>
    </dgm:pt>
    <dgm:pt modelId="{AF5C5EA0-C477-4170-9DC6-C877A2FED1D8}">
      <dgm:prSet/>
      <dgm:spPr>
        <a:scene3d>
          <a:camera prst="orthographicFront"/>
          <a:lightRig rig="threePt" dir="t"/>
        </a:scene3d>
        <a:sp3d>
          <a:bevelT prst="angle"/>
        </a:sp3d>
      </dgm:spPr>
      <dgm:t>
        <a:bodyPr/>
        <a:lstStyle/>
        <a:p>
          <a:r>
            <a:rPr lang="en-US" dirty="0"/>
            <a:t>Use views to abstract tables for loading / maintenance</a:t>
          </a:r>
        </a:p>
      </dgm:t>
    </dgm:pt>
    <dgm:pt modelId="{2F6901B9-186C-4EEB-87D1-C04F6FBC0DA7}" type="parTrans" cxnId="{78A16788-DE6D-4811-B39B-A1F8382B4254}">
      <dgm:prSet/>
      <dgm:spPr/>
      <dgm:t>
        <a:bodyPr/>
        <a:lstStyle/>
        <a:p>
          <a:endParaRPr lang="es-ES"/>
        </a:p>
      </dgm:t>
    </dgm:pt>
    <dgm:pt modelId="{1994593A-21B2-41AE-88FB-3F9BB285C8F4}" type="sibTrans" cxnId="{78A16788-DE6D-4811-B39B-A1F8382B4254}">
      <dgm:prSet/>
      <dgm:spPr/>
      <dgm:t>
        <a:bodyPr/>
        <a:lstStyle/>
        <a:p>
          <a:endParaRPr lang="es-ES"/>
        </a:p>
      </dgm:t>
    </dgm:pt>
    <dgm:pt modelId="{520F4059-4896-4ECC-B1A3-5D107015495C}">
      <dgm:prSet/>
      <dgm:spPr/>
      <dgm:t>
        <a:bodyPr/>
        <a:lstStyle/>
        <a:p>
          <a:r>
            <a:rPr lang="en-US" dirty="0"/>
            <a:t>As a ‘defined subquery’ concept, views are not tied to the referenced tables</a:t>
          </a:r>
        </a:p>
      </dgm:t>
    </dgm:pt>
    <dgm:pt modelId="{A7713F97-8071-4EC3-A191-B1DECFEF76DF}" type="parTrans" cxnId="{2FBE664B-DB48-454B-9546-164F0015C028}">
      <dgm:prSet/>
      <dgm:spPr/>
      <dgm:t>
        <a:bodyPr/>
        <a:lstStyle/>
        <a:p>
          <a:endParaRPr lang="es-ES"/>
        </a:p>
      </dgm:t>
    </dgm:pt>
    <dgm:pt modelId="{F86A5894-9E67-4A04-9FAF-A3CC7BD6CAE9}" type="sibTrans" cxnId="{2FBE664B-DB48-454B-9546-164F0015C028}">
      <dgm:prSet/>
      <dgm:spPr/>
      <dgm:t>
        <a:bodyPr/>
        <a:lstStyle/>
        <a:p>
          <a:endParaRPr lang="es-ES"/>
        </a:p>
      </dgm:t>
    </dgm:pt>
    <dgm:pt modelId="{5459A376-1985-456D-B8D4-BCBA971A2993}">
      <dgm:prSet/>
      <dgm:spPr/>
      <dgm:t>
        <a:bodyPr/>
        <a:lstStyle/>
        <a:p>
          <a:r>
            <a:rPr lang="en-US" dirty="0"/>
            <a:t>Referenced tables can be recreated / replaced by maintenance tasks without invalidating the View.</a:t>
          </a:r>
        </a:p>
      </dgm:t>
    </dgm:pt>
    <dgm:pt modelId="{C3E09CFF-191A-4828-A11D-A95C614EEE21}" type="parTrans" cxnId="{51FFF49D-4CAA-437A-A804-0560FF420706}">
      <dgm:prSet/>
      <dgm:spPr/>
      <dgm:t>
        <a:bodyPr/>
        <a:lstStyle/>
        <a:p>
          <a:endParaRPr lang="es-ES"/>
        </a:p>
      </dgm:t>
    </dgm:pt>
    <dgm:pt modelId="{E8B3554A-7BA2-4783-B77E-DD6A1885D629}" type="sibTrans" cxnId="{51FFF49D-4CAA-437A-A804-0560FF420706}">
      <dgm:prSet/>
      <dgm:spPr/>
      <dgm:t>
        <a:bodyPr/>
        <a:lstStyle/>
        <a:p>
          <a:endParaRPr lang="es-ES"/>
        </a:p>
      </dgm:t>
    </dgm:pt>
    <dgm:pt modelId="{DF3C4649-3B84-412D-B4FB-C1585D00A876}" type="pres">
      <dgm:prSet presAssocID="{5635DAA5-3B87-4060-AE21-5A2916902567}" presName="linear" presStyleCnt="0">
        <dgm:presLayoutVars>
          <dgm:animLvl val="lvl"/>
          <dgm:resizeHandles val="exact"/>
        </dgm:presLayoutVars>
      </dgm:prSet>
      <dgm:spPr/>
    </dgm:pt>
    <dgm:pt modelId="{B5E05B11-E180-41D4-8238-1015FF79F296}" type="pres">
      <dgm:prSet presAssocID="{755FE124-ED66-4074-AA5F-00BFC35CA2DC}" presName="parentText" presStyleLbl="node1" presStyleIdx="0" presStyleCnt="3">
        <dgm:presLayoutVars>
          <dgm:chMax val="0"/>
          <dgm:bulletEnabled val="1"/>
        </dgm:presLayoutVars>
      </dgm:prSet>
      <dgm:spPr/>
    </dgm:pt>
    <dgm:pt modelId="{834F0D70-7ABF-49CD-BAC9-8772C62F37F4}" type="pres">
      <dgm:prSet presAssocID="{0E9BE51E-4B69-4143-BB0B-42A762137B41}" presName="spacer" presStyleCnt="0"/>
      <dgm:spPr/>
    </dgm:pt>
    <dgm:pt modelId="{59784C39-C425-4E6F-909C-1B9E18432563}" type="pres">
      <dgm:prSet presAssocID="{393B2352-56C3-484D-B06E-57FA9F7D5F6A}" presName="parentText" presStyleLbl="node1" presStyleIdx="1" presStyleCnt="3">
        <dgm:presLayoutVars>
          <dgm:chMax val="0"/>
          <dgm:bulletEnabled val="1"/>
        </dgm:presLayoutVars>
      </dgm:prSet>
      <dgm:spPr/>
    </dgm:pt>
    <dgm:pt modelId="{FDB77F06-0D01-4D5A-A4F2-0BE72CB26364}" type="pres">
      <dgm:prSet presAssocID="{F933B0B2-DA94-4034-A7DF-90EA2C754859}" presName="spacer" presStyleCnt="0"/>
      <dgm:spPr/>
    </dgm:pt>
    <dgm:pt modelId="{93287258-1A23-4E35-A4B5-8DEFEF0DE40F}" type="pres">
      <dgm:prSet presAssocID="{AF5C5EA0-C477-4170-9DC6-C877A2FED1D8}" presName="parentText" presStyleLbl="node1" presStyleIdx="2" presStyleCnt="3">
        <dgm:presLayoutVars>
          <dgm:chMax val="0"/>
          <dgm:bulletEnabled val="1"/>
        </dgm:presLayoutVars>
      </dgm:prSet>
      <dgm:spPr/>
    </dgm:pt>
    <dgm:pt modelId="{3B8F708E-DD22-41DB-9724-F4C54F1A1771}" type="pres">
      <dgm:prSet presAssocID="{AF5C5EA0-C477-4170-9DC6-C877A2FED1D8}" presName="childText" presStyleLbl="revTx" presStyleIdx="0" presStyleCnt="1">
        <dgm:presLayoutVars>
          <dgm:bulletEnabled val="1"/>
        </dgm:presLayoutVars>
      </dgm:prSet>
      <dgm:spPr/>
    </dgm:pt>
  </dgm:ptLst>
  <dgm:cxnLst>
    <dgm:cxn modelId="{84DFAF05-1B0C-4901-B22E-8F7263F60E12}" type="presOf" srcId="{5635DAA5-3B87-4060-AE21-5A2916902567}" destId="{DF3C4649-3B84-412D-B4FB-C1585D00A876}" srcOrd="0" destOrd="0" presId="urn:microsoft.com/office/officeart/2005/8/layout/vList2"/>
    <dgm:cxn modelId="{CE7DAE0A-6058-48FF-B615-41FB5137605C}" type="presOf" srcId="{755FE124-ED66-4074-AA5F-00BFC35CA2DC}" destId="{B5E05B11-E180-41D4-8238-1015FF79F296}" srcOrd="0" destOrd="0" presId="urn:microsoft.com/office/officeart/2005/8/layout/vList2"/>
    <dgm:cxn modelId="{2FBE664B-DB48-454B-9546-164F0015C028}" srcId="{AF5C5EA0-C477-4170-9DC6-C877A2FED1D8}" destId="{520F4059-4896-4ECC-B1A3-5D107015495C}" srcOrd="0" destOrd="0" parTransId="{A7713F97-8071-4EC3-A191-B1DECFEF76DF}" sibTransId="{F86A5894-9E67-4A04-9FAF-A3CC7BD6CAE9}"/>
    <dgm:cxn modelId="{308FE14C-3BBD-4A90-A402-5F57BF094A55}" srcId="{5635DAA5-3B87-4060-AE21-5A2916902567}" destId="{393B2352-56C3-484D-B06E-57FA9F7D5F6A}" srcOrd="1" destOrd="0" parTransId="{A594AA6B-7F87-44E7-ACBD-B6F38A18B76F}" sibTransId="{F933B0B2-DA94-4034-A7DF-90EA2C754859}"/>
    <dgm:cxn modelId="{E0CD1A6D-89A7-4E18-AFB2-908071C39EAB}" type="presOf" srcId="{AF5C5EA0-C477-4170-9DC6-C877A2FED1D8}" destId="{93287258-1A23-4E35-A4B5-8DEFEF0DE40F}" srcOrd="0" destOrd="0" presId="urn:microsoft.com/office/officeart/2005/8/layout/vList2"/>
    <dgm:cxn modelId="{78A16788-DE6D-4811-B39B-A1F8382B4254}" srcId="{5635DAA5-3B87-4060-AE21-5A2916902567}" destId="{AF5C5EA0-C477-4170-9DC6-C877A2FED1D8}" srcOrd="2" destOrd="0" parTransId="{2F6901B9-186C-4EEB-87D1-C04F6FBC0DA7}" sibTransId="{1994593A-21B2-41AE-88FB-3F9BB285C8F4}"/>
    <dgm:cxn modelId="{34D8DA92-1928-48AE-889E-AFCC3F2FD6FD}" srcId="{5635DAA5-3B87-4060-AE21-5A2916902567}" destId="{755FE124-ED66-4074-AA5F-00BFC35CA2DC}" srcOrd="0" destOrd="0" parTransId="{21AC5B1A-16BF-45F1-98FA-8508B358B8F8}" sibTransId="{0E9BE51E-4B69-4143-BB0B-42A762137B41}"/>
    <dgm:cxn modelId="{51FFF49D-4CAA-437A-A804-0560FF420706}" srcId="{AF5C5EA0-C477-4170-9DC6-C877A2FED1D8}" destId="{5459A376-1985-456D-B8D4-BCBA971A2993}" srcOrd="1" destOrd="0" parTransId="{C3E09CFF-191A-4828-A11D-A95C614EEE21}" sibTransId="{E8B3554A-7BA2-4783-B77E-DD6A1885D629}"/>
    <dgm:cxn modelId="{D2802AA9-D052-4583-ABCB-A937D53FD839}" type="presOf" srcId="{5459A376-1985-456D-B8D4-BCBA971A2993}" destId="{3B8F708E-DD22-41DB-9724-F4C54F1A1771}" srcOrd="0" destOrd="1" presId="urn:microsoft.com/office/officeart/2005/8/layout/vList2"/>
    <dgm:cxn modelId="{5C2917C2-C48F-4350-BCF9-57677DD8B4A1}" type="presOf" srcId="{393B2352-56C3-484D-B06E-57FA9F7D5F6A}" destId="{59784C39-C425-4E6F-909C-1B9E18432563}" srcOrd="0" destOrd="0" presId="urn:microsoft.com/office/officeart/2005/8/layout/vList2"/>
    <dgm:cxn modelId="{2ED729D0-1514-4821-B4A9-B97B0AC2CCB6}" type="presOf" srcId="{520F4059-4896-4ECC-B1A3-5D107015495C}" destId="{3B8F708E-DD22-41DB-9724-F4C54F1A1771}" srcOrd="0" destOrd="0" presId="urn:microsoft.com/office/officeart/2005/8/layout/vList2"/>
    <dgm:cxn modelId="{1B428D6C-610B-4EE4-BE6A-84CD203C8E37}" type="presParOf" srcId="{DF3C4649-3B84-412D-B4FB-C1585D00A876}" destId="{B5E05B11-E180-41D4-8238-1015FF79F296}" srcOrd="0" destOrd="0" presId="urn:microsoft.com/office/officeart/2005/8/layout/vList2"/>
    <dgm:cxn modelId="{D8C17A02-5A61-4A1D-847A-F55F4E11BB9F}" type="presParOf" srcId="{DF3C4649-3B84-412D-B4FB-C1585D00A876}" destId="{834F0D70-7ABF-49CD-BAC9-8772C62F37F4}" srcOrd="1" destOrd="0" presId="urn:microsoft.com/office/officeart/2005/8/layout/vList2"/>
    <dgm:cxn modelId="{335E2897-FA55-4A1C-AE30-41C1ECA42A23}" type="presParOf" srcId="{DF3C4649-3B84-412D-B4FB-C1585D00A876}" destId="{59784C39-C425-4E6F-909C-1B9E18432563}" srcOrd="2" destOrd="0" presId="urn:microsoft.com/office/officeart/2005/8/layout/vList2"/>
    <dgm:cxn modelId="{95CCDCE7-CC75-4D35-8B9E-16F4F17339B4}" type="presParOf" srcId="{DF3C4649-3B84-412D-B4FB-C1585D00A876}" destId="{FDB77F06-0D01-4D5A-A4F2-0BE72CB26364}" srcOrd="3" destOrd="0" presId="urn:microsoft.com/office/officeart/2005/8/layout/vList2"/>
    <dgm:cxn modelId="{5E0FF3A2-A51C-469C-B7B3-5D4DF1DB8C50}" type="presParOf" srcId="{DF3C4649-3B84-412D-B4FB-C1585D00A876}" destId="{93287258-1A23-4E35-A4B5-8DEFEF0DE40F}" srcOrd="4" destOrd="0" presId="urn:microsoft.com/office/officeart/2005/8/layout/vList2"/>
    <dgm:cxn modelId="{4F8D3148-720D-45F2-9B64-7C686588F2B2}" type="presParOf" srcId="{DF3C4649-3B84-412D-B4FB-C1585D00A876}" destId="{3B8F708E-DD22-41DB-9724-F4C54F1A177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F2F25CE4-98AA-4E5C-9535-3C7FA07ACDA4}"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s-ES"/>
        </a:p>
      </dgm:t>
    </dgm:pt>
    <dgm:pt modelId="{3943FC74-B187-41D3-874F-65B6CAFFABB5}">
      <dgm:prSet phldrT="[Text]" custT="1"/>
      <dgm:spPr/>
      <dgm:t>
        <a:bodyPr/>
        <a:lstStyle/>
        <a:p>
          <a:r>
            <a:rPr lang="en-US" sz="2800" noProof="0" dirty="0"/>
            <a:t>Standard Views</a:t>
          </a:r>
        </a:p>
      </dgm:t>
    </dgm:pt>
    <dgm:pt modelId="{F768D442-F995-408F-832C-B8A38C29D1CC}" type="parTrans" cxnId="{60C2712E-3657-43E7-887F-7FC403A29300}">
      <dgm:prSet/>
      <dgm:spPr/>
      <dgm:t>
        <a:bodyPr/>
        <a:lstStyle/>
        <a:p>
          <a:endParaRPr lang="es-ES"/>
        </a:p>
      </dgm:t>
    </dgm:pt>
    <dgm:pt modelId="{CF85E2DD-5C4E-48B0-9A64-B1059DBF132A}" type="sibTrans" cxnId="{60C2712E-3657-43E7-887F-7FC403A29300}">
      <dgm:prSet/>
      <dgm:spPr/>
      <dgm:t>
        <a:bodyPr/>
        <a:lstStyle/>
        <a:p>
          <a:endParaRPr lang="es-ES"/>
        </a:p>
      </dgm:t>
    </dgm:pt>
    <dgm:pt modelId="{B88C642F-8658-491F-97EF-2254A45E269F}">
      <dgm:prSet phldrT="[Text]"/>
      <dgm:spPr/>
      <dgm:t>
        <a:bodyPr/>
        <a:lstStyle/>
        <a:p>
          <a:r>
            <a:rPr lang="en-US" noProof="0" dirty="0"/>
            <a:t>View definition stored in SQL Pool</a:t>
          </a:r>
        </a:p>
      </dgm:t>
    </dgm:pt>
    <dgm:pt modelId="{67716164-DE1F-4665-A6CF-43F89692B296}" type="parTrans" cxnId="{613B0D22-F25D-4B4A-9184-CE054B07A187}">
      <dgm:prSet/>
      <dgm:spPr/>
      <dgm:t>
        <a:bodyPr/>
        <a:lstStyle/>
        <a:p>
          <a:endParaRPr lang="es-ES"/>
        </a:p>
      </dgm:t>
    </dgm:pt>
    <dgm:pt modelId="{DD9DED1C-FDCD-4636-A3D3-363FCC0D15C3}" type="sibTrans" cxnId="{613B0D22-F25D-4B4A-9184-CE054B07A187}">
      <dgm:prSet/>
      <dgm:spPr/>
      <dgm:t>
        <a:bodyPr/>
        <a:lstStyle/>
        <a:p>
          <a:endParaRPr lang="es-ES"/>
        </a:p>
      </dgm:t>
    </dgm:pt>
    <dgm:pt modelId="{D008988E-2C5E-4C08-9B31-E3D6E79F4A08}">
      <dgm:prSet phldrT="[Text]"/>
      <dgm:spPr/>
      <dgm:t>
        <a:bodyPr/>
        <a:lstStyle/>
        <a:p>
          <a:r>
            <a:rPr lang="en-US" noProof="0" dirty="0"/>
            <a:t>View content generated each time the view is used (by executing the associated query)</a:t>
          </a:r>
        </a:p>
      </dgm:t>
    </dgm:pt>
    <dgm:pt modelId="{D783366A-A72A-48D4-8398-1AEA2E2F4D41}" type="parTrans" cxnId="{33A444D3-0C6F-4E22-A3B7-60C70994AD81}">
      <dgm:prSet/>
      <dgm:spPr/>
      <dgm:t>
        <a:bodyPr/>
        <a:lstStyle/>
        <a:p>
          <a:endParaRPr lang="es-ES"/>
        </a:p>
      </dgm:t>
    </dgm:pt>
    <dgm:pt modelId="{7374BBE7-F9B1-42AA-BCE4-4076AAD0DB65}" type="sibTrans" cxnId="{33A444D3-0C6F-4E22-A3B7-60C70994AD81}">
      <dgm:prSet/>
      <dgm:spPr/>
      <dgm:t>
        <a:bodyPr/>
        <a:lstStyle/>
        <a:p>
          <a:endParaRPr lang="es-ES"/>
        </a:p>
      </dgm:t>
    </dgm:pt>
    <dgm:pt modelId="{EC0A039E-B4F7-4888-9E70-A817C19998E0}">
      <dgm:prSet phldrT="[Text]" custT="1"/>
      <dgm:spPr/>
      <dgm:t>
        <a:bodyPr/>
        <a:lstStyle/>
        <a:p>
          <a:r>
            <a:rPr lang="en-US" sz="2800" noProof="0" dirty="0"/>
            <a:t>Materialized Views</a:t>
          </a:r>
        </a:p>
      </dgm:t>
    </dgm:pt>
    <dgm:pt modelId="{BF12633A-020B-4A08-B3A5-C5815236652C}" type="parTrans" cxnId="{ADDBD814-B7D8-4845-8400-4B0036F7CAFC}">
      <dgm:prSet/>
      <dgm:spPr/>
      <dgm:t>
        <a:bodyPr/>
        <a:lstStyle/>
        <a:p>
          <a:endParaRPr lang="es-ES"/>
        </a:p>
      </dgm:t>
    </dgm:pt>
    <dgm:pt modelId="{FE83E34C-D93D-4C8E-B1A0-91300886E235}" type="sibTrans" cxnId="{ADDBD814-B7D8-4845-8400-4B0036F7CAFC}">
      <dgm:prSet/>
      <dgm:spPr/>
      <dgm:t>
        <a:bodyPr/>
        <a:lstStyle/>
        <a:p>
          <a:endParaRPr lang="es-ES"/>
        </a:p>
      </dgm:t>
    </dgm:pt>
    <dgm:pt modelId="{2A5896E9-AAB6-4AB8-B4C0-9B3082DB59DF}">
      <dgm:prSet phldrT="[Text]"/>
      <dgm:spPr/>
      <dgm:t>
        <a:bodyPr/>
        <a:lstStyle/>
        <a:p>
          <a:r>
            <a:rPr lang="en-US" noProof="0" dirty="0"/>
            <a:t>View definition stored in SQL Pool</a:t>
          </a:r>
        </a:p>
      </dgm:t>
    </dgm:pt>
    <dgm:pt modelId="{A89156C6-C477-4E7E-92AB-68784964DA1A}" type="parTrans" cxnId="{3BEAE675-8E9A-4DB4-8D8F-A824D32FF84B}">
      <dgm:prSet/>
      <dgm:spPr/>
      <dgm:t>
        <a:bodyPr/>
        <a:lstStyle/>
        <a:p>
          <a:endParaRPr lang="es-ES"/>
        </a:p>
      </dgm:t>
    </dgm:pt>
    <dgm:pt modelId="{DFD156C2-57F0-425E-8940-682626131BAB}" type="sibTrans" cxnId="{3BEAE675-8E9A-4DB4-8D8F-A824D32FF84B}">
      <dgm:prSet/>
      <dgm:spPr/>
      <dgm:t>
        <a:bodyPr/>
        <a:lstStyle/>
        <a:p>
          <a:endParaRPr lang="es-ES"/>
        </a:p>
      </dgm:t>
    </dgm:pt>
    <dgm:pt modelId="{50671CC7-310F-4568-9EBC-4CFC65EAD37F}">
      <dgm:prSet phldrT="[Text]"/>
      <dgm:spPr/>
      <dgm:t>
        <a:bodyPr/>
        <a:lstStyle/>
        <a:p>
          <a:r>
            <a:rPr lang="en-US" noProof="0" dirty="0"/>
            <a:t>View content is pre-processed and stored in SQL Pool during view creation</a:t>
          </a:r>
        </a:p>
      </dgm:t>
    </dgm:pt>
    <dgm:pt modelId="{1BED3BE6-1AF2-4439-B060-E8B7B9145279}" type="parTrans" cxnId="{41C014CB-08E4-41A3-B5C6-A5CADBFD2B4D}">
      <dgm:prSet/>
      <dgm:spPr/>
      <dgm:t>
        <a:bodyPr/>
        <a:lstStyle/>
        <a:p>
          <a:endParaRPr lang="es-ES"/>
        </a:p>
      </dgm:t>
    </dgm:pt>
    <dgm:pt modelId="{CC1DAE4A-2387-49AC-87F9-8B58DDF7129D}" type="sibTrans" cxnId="{41C014CB-08E4-41A3-B5C6-A5CADBFD2B4D}">
      <dgm:prSet/>
      <dgm:spPr/>
      <dgm:t>
        <a:bodyPr/>
        <a:lstStyle/>
        <a:p>
          <a:endParaRPr lang="es-ES"/>
        </a:p>
      </dgm:t>
    </dgm:pt>
    <dgm:pt modelId="{7B47A2EC-93C6-474B-84A6-1B8F83B57A04}">
      <dgm:prSet phldrT="[Text]"/>
      <dgm:spPr/>
      <dgm:t>
        <a:bodyPr/>
        <a:lstStyle/>
        <a:p>
          <a:r>
            <a:rPr lang="en-US" noProof="0" dirty="0"/>
            <a:t>No performance benefit to retrieve view data from complex queries</a:t>
          </a:r>
        </a:p>
      </dgm:t>
    </dgm:pt>
    <dgm:pt modelId="{D271A592-23F1-403D-96ED-3D2DCBECA03A}" type="parTrans" cxnId="{A4304358-F66A-4211-B6B9-CA164D94AA62}">
      <dgm:prSet/>
      <dgm:spPr/>
      <dgm:t>
        <a:bodyPr/>
        <a:lstStyle/>
        <a:p>
          <a:endParaRPr lang="es-ES"/>
        </a:p>
      </dgm:t>
    </dgm:pt>
    <dgm:pt modelId="{12168FF1-66D6-449A-9587-98841117CE0B}" type="sibTrans" cxnId="{A4304358-F66A-4211-B6B9-CA164D94AA62}">
      <dgm:prSet/>
      <dgm:spPr/>
      <dgm:t>
        <a:bodyPr/>
        <a:lstStyle/>
        <a:p>
          <a:endParaRPr lang="es-ES"/>
        </a:p>
      </dgm:t>
    </dgm:pt>
    <dgm:pt modelId="{79FBA0E0-3B8E-4989-9468-91DB7D078AB4}">
      <dgm:prSet phldrT="[Text]"/>
      <dgm:spPr/>
      <dgm:t>
        <a:bodyPr/>
        <a:lstStyle/>
        <a:p>
          <a:r>
            <a:rPr lang="en-US" noProof="0" dirty="0"/>
            <a:t>View content is updated as data gets modified in the underlying tables</a:t>
          </a:r>
        </a:p>
      </dgm:t>
    </dgm:pt>
    <dgm:pt modelId="{4003A60C-5C19-45F8-9020-285EB4FB726E}" type="parTrans" cxnId="{2C1FC726-7CC0-4B96-8D4D-1293B885D6E7}">
      <dgm:prSet/>
      <dgm:spPr/>
      <dgm:t>
        <a:bodyPr/>
        <a:lstStyle/>
        <a:p>
          <a:endParaRPr lang="es-ES"/>
        </a:p>
      </dgm:t>
    </dgm:pt>
    <dgm:pt modelId="{F573B5E6-4B37-4730-AF98-38F3AB8AD4B9}" type="sibTrans" cxnId="{2C1FC726-7CC0-4B96-8D4D-1293B885D6E7}">
      <dgm:prSet/>
      <dgm:spPr/>
      <dgm:t>
        <a:bodyPr/>
        <a:lstStyle/>
        <a:p>
          <a:endParaRPr lang="es-ES"/>
        </a:p>
      </dgm:t>
    </dgm:pt>
    <dgm:pt modelId="{3162F709-8A10-4D84-8ED1-A1593129CB95}">
      <dgm:prSet phldrT="[Text]"/>
      <dgm:spPr/>
      <dgm:t>
        <a:bodyPr/>
        <a:lstStyle/>
        <a:p>
          <a:r>
            <a:rPr lang="en-US" noProof="0" dirty="0"/>
            <a:t>Fast to retrieve data from complex queries</a:t>
          </a:r>
        </a:p>
      </dgm:t>
    </dgm:pt>
    <dgm:pt modelId="{22C19A69-EDA7-496B-9FF8-FA1D4B5D9B74}" type="parTrans" cxnId="{D961FDD7-1758-4C6D-9E0F-345B2AFC9593}">
      <dgm:prSet/>
      <dgm:spPr/>
      <dgm:t>
        <a:bodyPr/>
        <a:lstStyle/>
        <a:p>
          <a:endParaRPr lang="es-ES"/>
        </a:p>
      </dgm:t>
    </dgm:pt>
    <dgm:pt modelId="{ABCF1B4C-7CAB-4546-8BA7-B38F7E14BEE6}" type="sibTrans" cxnId="{D961FDD7-1758-4C6D-9E0F-345B2AFC9593}">
      <dgm:prSet/>
      <dgm:spPr/>
      <dgm:t>
        <a:bodyPr/>
        <a:lstStyle/>
        <a:p>
          <a:endParaRPr lang="es-ES"/>
        </a:p>
      </dgm:t>
    </dgm:pt>
    <dgm:pt modelId="{89585C85-0C59-4ED6-A7B4-C4EE87AE233F}">
      <dgm:prSet phldrT="[Text]"/>
      <dgm:spPr/>
      <dgm:t>
        <a:bodyPr/>
        <a:lstStyle/>
        <a:p>
          <a:r>
            <a:rPr lang="en-US" noProof="0" dirty="0"/>
            <a:t>Requires extra storage</a:t>
          </a:r>
        </a:p>
      </dgm:t>
    </dgm:pt>
    <dgm:pt modelId="{89C1A396-5929-45ED-BC65-E7891B6752D6}" type="parTrans" cxnId="{7719247C-DAD9-4C43-BA66-9F725AC57A1A}">
      <dgm:prSet/>
      <dgm:spPr/>
      <dgm:t>
        <a:bodyPr/>
        <a:lstStyle/>
        <a:p>
          <a:endParaRPr lang="es-ES"/>
        </a:p>
      </dgm:t>
    </dgm:pt>
    <dgm:pt modelId="{EDD94644-5529-4042-B8C8-DCF0EAB473BB}" type="sibTrans" cxnId="{7719247C-DAD9-4C43-BA66-9F725AC57A1A}">
      <dgm:prSet/>
      <dgm:spPr/>
      <dgm:t>
        <a:bodyPr/>
        <a:lstStyle/>
        <a:p>
          <a:endParaRPr lang="es-ES"/>
        </a:p>
      </dgm:t>
    </dgm:pt>
    <dgm:pt modelId="{AFE0E370-66BE-461D-8053-39D12AA83D46}">
      <dgm:prSet phldrT="[Text]"/>
      <dgm:spPr/>
      <dgm:t>
        <a:bodyPr/>
        <a:lstStyle/>
        <a:p>
          <a:r>
            <a:rPr lang="en-US" noProof="0" dirty="0"/>
            <a:t>Does not require additional storage</a:t>
          </a:r>
        </a:p>
      </dgm:t>
    </dgm:pt>
    <dgm:pt modelId="{1A7F0DB4-950B-4EA8-A7B0-7886573842C0}" type="parTrans" cxnId="{F0B6A671-EFB6-48EC-A8B9-D476E41C17F5}">
      <dgm:prSet/>
      <dgm:spPr/>
      <dgm:t>
        <a:bodyPr/>
        <a:lstStyle/>
        <a:p>
          <a:endParaRPr lang="es-ES"/>
        </a:p>
      </dgm:t>
    </dgm:pt>
    <dgm:pt modelId="{EEA6D815-C1D4-4821-B7E1-8458C507924E}" type="sibTrans" cxnId="{F0B6A671-EFB6-48EC-A8B9-D476E41C17F5}">
      <dgm:prSet/>
      <dgm:spPr/>
      <dgm:t>
        <a:bodyPr/>
        <a:lstStyle/>
        <a:p>
          <a:endParaRPr lang="es-ES"/>
        </a:p>
      </dgm:t>
    </dgm:pt>
    <dgm:pt modelId="{9C15945A-5AC1-4C73-B774-8D1FC31752CA}" type="pres">
      <dgm:prSet presAssocID="{F2F25CE4-98AA-4E5C-9535-3C7FA07ACDA4}" presName="Name0" presStyleCnt="0">
        <dgm:presLayoutVars>
          <dgm:dir/>
          <dgm:animLvl val="lvl"/>
          <dgm:resizeHandles val="exact"/>
        </dgm:presLayoutVars>
      </dgm:prSet>
      <dgm:spPr/>
    </dgm:pt>
    <dgm:pt modelId="{39934BE1-0EBF-4B2D-A874-7D940E5EC280}" type="pres">
      <dgm:prSet presAssocID="{3943FC74-B187-41D3-874F-65B6CAFFABB5}" presName="composite" presStyleCnt="0"/>
      <dgm:spPr/>
    </dgm:pt>
    <dgm:pt modelId="{143FE6E5-C8FC-4E21-9733-98BF0B5146BD}" type="pres">
      <dgm:prSet presAssocID="{3943FC74-B187-41D3-874F-65B6CAFFABB5}" presName="parTx" presStyleLbl="alignNode1" presStyleIdx="0" presStyleCnt="2" custScaleX="110645">
        <dgm:presLayoutVars>
          <dgm:chMax val="0"/>
          <dgm:chPref val="0"/>
          <dgm:bulletEnabled val="1"/>
        </dgm:presLayoutVars>
      </dgm:prSet>
      <dgm:spPr/>
    </dgm:pt>
    <dgm:pt modelId="{62665BD0-4CEA-4104-A566-930822A9879F}" type="pres">
      <dgm:prSet presAssocID="{3943FC74-B187-41D3-874F-65B6CAFFABB5}" presName="desTx" presStyleLbl="alignAccFollowNode1" presStyleIdx="0" presStyleCnt="2" custScaleX="110806">
        <dgm:presLayoutVars>
          <dgm:bulletEnabled val="1"/>
        </dgm:presLayoutVars>
      </dgm:prSet>
      <dgm:spPr/>
    </dgm:pt>
    <dgm:pt modelId="{ADE83B07-4F50-456B-A095-425D4A9614C9}" type="pres">
      <dgm:prSet presAssocID="{CF85E2DD-5C4E-48B0-9A64-B1059DBF132A}" presName="space" presStyleCnt="0"/>
      <dgm:spPr/>
    </dgm:pt>
    <dgm:pt modelId="{25299143-DF3C-405E-8CB9-9E021F1A98C9}" type="pres">
      <dgm:prSet presAssocID="{EC0A039E-B4F7-4888-9E70-A817C19998E0}" presName="composite" presStyleCnt="0"/>
      <dgm:spPr/>
    </dgm:pt>
    <dgm:pt modelId="{369D0B2C-E428-413E-B302-FB583B06092B}" type="pres">
      <dgm:prSet presAssocID="{EC0A039E-B4F7-4888-9E70-A817C19998E0}" presName="parTx" presStyleLbl="alignNode1" presStyleIdx="1" presStyleCnt="2" custScaleX="106713">
        <dgm:presLayoutVars>
          <dgm:chMax val="0"/>
          <dgm:chPref val="0"/>
          <dgm:bulletEnabled val="1"/>
        </dgm:presLayoutVars>
      </dgm:prSet>
      <dgm:spPr/>
    </dgm:pt>
    <dgm:pt modelId="{CEBA7AA9-03FA-44ED-833C-7A263122057E}" type="pres">
      <dgm:prSet presAssocID="{EC0A039E-B4F7-4888-9E70-A817C19998E0}" presName="desTx" presStyleLbl="alignAccFollowNode1" presStyleIdx="1" presStyleCnt="2" custScaleX="106689">
        <dgm:presLayoutVars>
          <dgm:bulletEnabled val="1"/>
        </dgm:presLayoutVars>
      </dgm:prSet>
      <dgm:spPr/>
    </dgm:pt>
  </dgm:ptLst>
  <dgm:cxnLst>
    <dgm:cxn modelId="{D46F5714-5B2B-4F0C-8AA1-FE751674C03F}" type="presOf" srcId="{B88C642F-8658-491F-97EF-2254A45E269F}" destId="{62665BD0-4CEA-4104-A566-930822A9879F}" srcOrd="0" destOrd="0" presId="urn:microsoft.com/office/officeart/2005/8/layout/hList1"/>
    <dgm:cxn modelId="{ADDBD814-B7D8-4845-8400-4B0036F7CAFC}" srcId="{F2F25CE4-98AA-4E5C-9535-3C7FA07ACDA4}" destId="{EC0A039E-B4F7-4888-9E70-A817C19998E0}" srcOrd="1" destOrd="0" parTransId="{BF12633A-020B-4A08-B3A5-C5815236652C}" sibTransId="{FE83E34C-D93D-4C8E-B1A0-91300886E235}"/>
    <dgm:cxn modelId="{613B0D22-F25D-4B4A-9184-CE054B07A187}" srcId="{3943FC74-B187-41D3-874F-65B6CAFFABB5}" destId="{B88C642F-8658-491F-97EF-2254A45E269F}" srcOrd="0" destOrd="0" parTransId="{67716164-DE1F-4665-A6CF-43F89692B296}" sibTransId="{DD9DED1C-FDCD-4636-A3D3-363FCC0D15C3}"/>
    <dgm:cxn modelId="{2C1FC726-7CC0-4B96-8D4D-1293B885D6E7}" srcId="{EC0A039E-B4F7-4888-9E70-A817C19998E0}" destId="{79FBA0E0-3B8E-4989-9468-91DB7D078AB4}" srcOrd="2" destOrd="0" parTransId="{4003A60C-5C19-45F8-9020-285EB4FB726E}" sibTransId="{F573B5E6-4B37-4730-AF98-38F3AB8AD4B9}"/>
    <dgm:cxn modelId="{838E252B-29B3-45A2-94C6-8738CB0EE7E9}" type="presOf" srcId="{AFE0E370-66BE-461D-8053-39D12AA83D46}" destId="{62665BD0-4CEA-4104-A566-930822A9879F}" srcOrd="0" destOrd="3" presId="urn:microsoft.com/office/officeart/2005/8/layout/hList1"/>
    <dgm:cxn modelId="{E2B06B2D-6CC7-402B-89BF-761DF9CFD06C}" type="presOf" srcId="{50671CC7-310F-4568-9EBC-4CFC65EAD37F}" destId="{CEBA7AA9-03FA-44ED-833C-7A263122057E}" srcOrd="0" destOrd="1" presId="urn:microsoft.com/office/officeart/2005/8/layout/hList1"/>
    <dgm:cxn modelId="{60C2712E-3657-43E7-887F-7FC403A29300}" srcId="{F2F25CE4-98AA-4E5C-9535-3C7FA07ACDA4}" destId="{3943FC74-B187-41D3-874F-65B6CAFFABB5}" srcOrd="0" destOrd="0" parTransId="{F768D442-F995-408F-832C-B8A38C29D1CC}" sibTransId="{CF85E2DD-5C4E-48B0-9A64-B1059DBF132A}"/>
    <dgm:cxn modelId="{ADF05841-B2A3-4265-9993-632602A94E96}" type="presOf" srcId="{3162F709-8A10-4D84-8ED1-A1593129CB95}" destId="{CEBA7AA9-03FA-44ED-833C-7A263122057E}" srcOrd="0" destOrd="3" presId="urn:microsoft.com/office/officeart/2005/8/layout/hList1"/>
    <dgm:cxn modelId="{1EC71C67-1BAD-4DED-B34E-B2B072E1A8F7}" type="presOf" srcId="{D008988E-2C5E-4C08-9B31-E3D6E79F4A08}" destId="{62665BD0-4CEA-4104-A566-930822A9879F}" srcOrd="0" destOrd="1" presId="urn:microsoft.com/office/officeart/2005/8/layout/hList1"/>
    <dgm:cxn modelId="{F0B6A671-EFB6-48EC-A8B9-D476E41C17F5}" srcId="{3943FC74-B187-41D3-874F-65B6CAFFABB5}" destId="{AFE0E370-66BE-461D-8053-39D12AA83D46}" srcOrd="3" destOrd="0" parTransId="{1A7F0DB4-950B-4EA8-A7B0-7886573842C0}" sibTransId="{EEA6D815-C1D4-4821-B7E1-8458C507924E}"/>
    <dgm:cxn modelId="{3BEAE675-8E9A-4DB4-8D8F-A824D32FF84B}" srcId="{EC0A039E-B4F7-4888-9E70-A817C19998E0}" destId="{2A5896E9-AAB6-4AB8-B4C0-9B3082DB59DF}" srcOrd="0" destOrd="0" parTransId="{A89156C6-C477-4E7E-92AB-68784964DA1A}" sibTransId="{DFD156C2-57F0-425E-8940-682626131BAB}"/>
    <dgm:cxn modelId="{A4304358-F66A-4211-B6B9-CA164D94AA62}" srcId="{3943FC74-B187-41D3-874F-65B6CAFFABB5}" destId="{7B47A2EC-93C6-474B-84A6-1B8F83B57A04}" srcOrd="2" destOrd="0" parTransId="{D271A592-23F1-403D-96ED-3D2DCBECA03A}" sibTransId="{12168FF1-66D6-449A-9587-98841117CE0B}"/>
    <dgm:cxn modelId="{7719247C-DAD9-4C43-BA66-9F725AC57A1A}" srcId="{EC0A039E-B4F7-4888-9E70-A817C19998E0}" destId="{89585C85-0C59-4ED6-A7B4-C4EE87AE233F}" srcOrd="4" destOrd="0" parTransId="{89C1A396-5929-45ED-BC65-E7891B6752D6}" sibTransId="{EDD94644-5529-4042-B8C8-DCF0EAB473BB}"/>
    <dgm:cxn modelId="{B3069682-1DBD-45EC-A7CE-C83EC12FECB7}" type="presOf" srcId="{EC0A039E-B4F7-4888-9E70-A817C19998E0}" destId="{369D0B2C-E428-413E-B302-FB583B06092B}" srcOrd="0" destOrd="0" presId="urn:microsoft.com/office/officeart/2005/8/layout/hList1"/>
    <dgm:cxn modelId="{030AA488-A604-42C9-B5FE-2A1A7FB9C1FF}" type="presOf" srcId="{79FBA0E0-3B8E-4989-9468-91DB7D078AB4}" destId="{CEBA7AA9-03FA-44ED-833C-7A263122057E}" srcOrd="0" destOrd="2" presId="urn:microsoft.com/office/officeart/2005/8/layout/hList1"/>
    <dgm:cxn modelId="{62FACE8C-BF02-481C-9E47-2F458133DC0E}" type="presOf" srcId="{3943FC74-B187-41D3-874F-65B6CAFFABB5}" destId="{143FE6E5-C8FC-4E21-9733-98BF0B5146BD}" srcOrd="0" destOrd="0" presId="urn:microsoft.com/office/officeart/2005/8/layout/hList1"/>
    <dgm:cxn modelId="{5B48BC92-E453-41AE-9019-5977DEE0607B}" type="presOf" srcId="{7B47A2EC-93C6-474B-84A6-1B8F83B57A04}" destId="{62665BD0-4CEA-4104-A566-930822A9879F}" srcOrd="0" destOrd="2" presId="urn:microsoft.com/office/officeart/2005/8/layout/hList1"/>
    <dgm:cxn modelId="{62C2289A-3249-4937-84AE-8CD5CDC1A303}" type="presOf" srcId="{2A5896E9-AAB6-4AB8-B4C0-9B3082DB59DF}" destId="{CEBA7AA9-03FA-44ED-833C-7A263122057E}" srcOrd="0" destOrd="0" presId="urn:microsoft.com/office/officeart/2005/8/layout/hList1"/>
    <dgm:cxn modelId="{F5270DC9-E86B-4E7B-8AB2-10695E4DDFD9}" type="presOf" srcId="{89585C85-0C59-4ED6-A7B4-C4EE87AE233F}" destId="{CEBA7AA9-03FA-44ED-833C-7A263122057E}" srcOrd="0" destOrd="4" presId="urn:microsoft.com/office/officeart/2005/8/layout/hList1"/>
    <dgm:cxn modelId="{41C014CB-08E4-41A3-B5C6-A5CADBFD2B4D}" srcId="{EC0A039E-B4F7-4888-9E70-A817C19998E0}" destId="{50671CC7-310F-4568-9EBC-4CFC65EAD37F}" srcOrd="1" destOrd="0" parTransId="{1BED3BE6-1AF2-4439-B060-E8B7B9145279}" sibTransId="{CC1DAE4A-2387-49AC-87F9-8B58DDF7129D}"/>
    <dgm:cxn modelId="{33A444D3-0C6F-4E22-A3B7-60C70994AD81}" srcId="{3943FC74-B187-41D3-874F-65B6CAFFABB5}" destId="{D008988E-2C5E-4C08-9B31-E3D6E79F4A08}" srcOrd="1" destOrd="0" parTransId="{D783366A-A72A-48D4-8398-1AEA2E2F4D41}" sibTransId="{7374BBE7-F9B1-42AA-BCE4-4076AAD0DB65}"/>
    <dgm:cxn modelId="{D961FDD7-1758-4C6D-9E0F-345B2AFC9593}" srcId="{EC0A039E-B4F7-4888-9E70-A817C19998E0}" destId="{3162F709-8A10-4D84-8ED1-A1593129CB95}" srcOrd="3" destOrd="0" parTransId="{22C19A69-EDA7-496B-9FF8-FA1D4B5D9B74}" sibTransId="{ABCF1B4C-7CAB-4546-8BA7-B38F7E14BEE6}"/>
    <dgm:cxn modelId="{626A0BF5-0289-45E7-9538-6EAD01AEC424}" type="presOf" srcId="{F2F25CE4-98AA-4E5C-9535-3C7FA07ACDA4}" destId="{9C15945A-5AC1-4C73-B774-8D1FC31752CA}" srcOrd="0" destOrd="0" presId="urn:microsoft.com/office/officeart/2005/8/layout/hList1"/>
    <dgm:cxn modelId="{4015E979-8882-4107-9E87-938AC50A9FA7}" type="presParOf" srcId="{9C15945A-5AC1-4C73-B774-8D1FC31752CA}" destId="{39934BE1-0EBF-4B2D-A874-7D940E5EC280}" srcOrd="0" destOrd="0" presId="urn:microsoft.com/office/officeart/2005/8/layout/hList1"/>
    <dgm:cxn modelId="{1B2D11BC-D88C-4ED9-93EC-A81460B8CF2F}" type="presParOf" srcId="{39934BE1-0EBF-4B2D-A874-7D940E5EC280}" destId="{143FE6E5-C8FC-4E21-9733-98BF0B5146BD}" srcOrd="0" destOrd="0" presId="urn:microsoft.com/office/officeart/2005/8/layout/hList1"/>
    <dgm:cxn modelId="{F80F8F1B-A393-411C-B732-EED89A70820F}" type="presParOf" srcId="{39934BE1-0EBF-4B2D-A874-7D940E5EC280}" destId="{62665BD0-4CEA-4104-A566-930822A9879F}" srcOrd="1" destOrd="0" presId="urn:microsoft.com/office/officeart/2005/8/layout/hList1"/>
    <dgm:cxn modelId="{48D1071B-49EF-4A7E-BCAD-31843B8B38A5}" type="presParOf" srcId="{9C15945A-5AC1-4C73-B774-8D1FC31752CA}" destId="{ADE83B07-4F50-456B-A095-425D4A9614C9}" srcOrd="1" destOrd="0" presId="urn:microsoft.com/office/officeart/2005/8/layout/hList1"/>
    <dgm:cxn modelId="{8B984D40-F008-41A7-ADA9-6E5273EBE3E4}" type="presParOf" srcId="{9C15945A-5AC1-4C73-B774-8D1FC31752CA}" destId="{25299143-DF3C-405E-8CB9-9E021F1A98C9}" srcOrd="2" destOrd="0" presId="urn:microsoft.com/office/officeart/2005/8/layout/hList1"/>
    <dgm:cxn modelId="{7A65B02B-5A52-4255-90A3-4D3A0A720A5A}" type="presParOf" srcId="{25299143-DF3C-405E-8CB9-9E021F1A98C9}" destId="{369D0B2C-E428-413E-B302-FB583B06092B}" srcOrd="0" destOrd="0" presId="urn:microsoft.com/office/officeart/2005/8/layout/hList1"/>
    <dgm:cxn modelId="{668C18D5-2A0C-423A-B7BE-A67E289EA1CA}" type="presParOf" srcId="{25299143-DF3C-405E-8CB9-9E021F1A98C9}" destId="{CEBA7AA9-03FA-44ED-833C-7A263122057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2F107C3-3B00-4577-BD4E-36E1CBF47685}"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B3CEAEBD-A514-4E91-808A-E507306736AF}">
      <dgm:prSet/>
      <dgm:spPr/>
      <dgm:t>
        <a:bodyPr/>
        <a:lstStyle/>
        <a:p>
          <a:r>
            <a:rPr lang="en-US" dirty="0"/>
            <a:t>Hash Function is:</a:t>
          </a:r>
        </a:p>
      </dgm:t>
    </dgm:pt>
    <dgm:pt modelId="{EBC65927-02F5-4AAE-BD31-D4644AD8E57A}" type="parTrans" cxnId="{278CB9E3-3B46-4C36-A780-1226CDA47CED}">
      <dgm:prSet/>
      <dgm:spPr/>
      <dgm:t>
        <a:bodyPr/>
        <a:lstStyle/>
        <a:p>
          <a:endParaRPr lang="en-US"/>
        </a:p>
      </dgm:t>
    </dgm:pt>
    <dgm:pt modelId="{641CBF10-F84A-4BC6-B05A-C8B4F626A592}" type="sibTrans" cxnId="{278CB9E3-3B46-4C36-A780-1226CDA47CED}">
      <dgm:prSet/>
      <dgm:spPr/>
      <dgm:t>
        <a:bodyPr/>
        <a:lstStyle/>
        <a:p>
          <a:endParaRPr lang="en-US"/>
        </a:p>
      </dgm:t>
    </dgm:pt>
    <dgm:pt modelId="{9BD417F1-5AB2-4253-8A57-01B36CB340F6}">
      <dgm:prSet custT="1"/>
      <dgm:spPr/>
      <dgm:t>
        <a:bodyPr/>
        <a:lstStyle/>
        <a:p>
          <a:r>
            <a:rPr lang="en-US" sz="2400" dirty="0"/>
            <a:t>Deterministic </a:t>
          </a:r>
        </a:p>
      </dgm:t>
    </dgm:pt>
    <dgm:pt modelId="{244224B6-17E7-422A-A053-53AD9321DA63}" type="parTrans" cxnId="{8EE88F35-3AAA-4812-9BB1-89BB1391159B}">
      <dgm:prSet/>
      <dgm:spPr/>
      <dgm:t>
        <a:bodyPr/>
        <a:lstStyle/>
        <a:p>
          <a:endParaRPr lang="en-US"/>
        </a:p>
      </dgm:t>
    </dgm:pt>
    <dgm:pt modelId="{1962A8CF-FD68-453D-A5B0-6957B3AEBAE5}" type="sibTrans" cxnId="{8EE88F35-3AAA-4812-9BB1-89BB1391159B}">
      <dgm:prSet/>
      <dgm:spPr/>
      <dgm:t>
        <a:bodyPr/>
        <a:lstStyle/>
        <a:p>
          <a:endParaRPr lang="en-US"/>
        </a:p>
      </dgm:t>
    </dgm:pt>
    <dgm:pt modelId="{4C8D0D3A-EFE1-465A-9472-38615E3CAC5A}">
      <dgm:prSet custT="1"/>
      <dgm:spPr/>
      <dgm:t>
        <a:bodyPr/>
        <a:lstStyle/>
        <a:p>
          <a:r>
            <a:rPr lang="en-US" sz="2400" dirty="0"/>
            <a:t>Consistent across the whole database</a:t>
          </a:r>
        </a:p>
      </dgm:t>
    </dgm:pt>
    <dgm:pt modelId="{DA29955C-6C73-432A-B0A5-4A213F19CCD2}" type="parTrans" cxnId="{08361AE6-551C-4622-B685-9145497AD766}">
      <dgm:prSet/>
      <dgm:spPr/>
      <dgm:t>
        <a:bodyPr/>
        <a:lstStyle/>
        <a:p>
          <a:endParaRPr lang="en-US"/>
        </a:p>
      </dgm:t>
    </dgm:pt>
    <dgm:pt modelId="{4151968D-2C3D-49C8-9FA2-16A89E3D2C3C}" type="sibTrans" cxnId="{08361AE6-551C-4622-B685-9145497AD766}">
      <dgm:prSet/>
      <dgm:spPr/>
      <dgm:t>
        <a:bodyPr/>
        <a:lstStyle/>
        <a:p>
          <a:endParaRPr lang="en-US"/>
        </a:p>
      </dgm:t>
    </dgm:pt>
    <dgm:pt modelId="{8189396E-B9BC-4E10-8E2F-CEE55F5F5D07}" type="pres">
      <dgm:prSet presAssocID="{12F107C3-3B00-4577-BD4E-36E1CBF47685}" presName="Name0" presStyleCnt="0">
        <dgm:presLayoutVars>
          <dgm:dir/>
          <dgm:animLvl val="lvl"/>
          <dgm:resizeHandles val="exact"/>
        </dgm:presLayoutVars>
      </dgm:prSet>
      <dgm:spPr/>
    </dgm:pt>
    <dgm:pt modelId="{8A6ECB5C-9F4C-4A8D-A99A-55E1CEE27CEA}" type="pres">
      <dgm:prSet presAssocID="{B3CEAEBD-A514-4E91-808A-E507306736AF}" presName="linNode" presStyleCnt="0"/>
      <dgm:spPr/>
    </dgm:pt>
    <dgm:pt modelId="{8688B365-703D-4425-B132-39AED29BF5AB}" type="pres">
      <dgm:prSet presAssocID="{B3CEAEBD-A514-4E91-808A-E507306736AF}" presName="parentText" presStyleLbl="node1" presStyleIdx="0" presStyleCnt="1">
        <dgm:presLayoutVars>
          <dgm:chMax val="1"/>
          <dgm:bulletEnabled val="1"/>
        </dgm:presLayoutVars>
      </dgm:prSet>
      <dgm:spPr/>
    </dgm:pt>
    <dgm:pt modelId="{654875E4-C0CC-44D9-8791-3D70B8F8E8E6}" type="pres">
      <dgm:prSet presAssocID="{B3CEAEBD-A514-4E91-808A-E507306736AF}" presName="descendantText" presStyleLbl="alignAccFollowNode1" presStyleIdx="0" presStyleCnt="1" custScaleY="106503">
        <dgm:presLayoutVars>
          <dgm:bulletEnabled val="1"/>
        </dgm:presLayoutVars>
      </dgm:prSet>
      <dgm:spPr/>
    </dgm:pt>
  </dgm:ptLst>
  <dgm:cxnLst>
    <dgm:cxn modelId="{DA8DF122-0BC3-4EDD-90A0-FF83C6F0071A}" type="presOf" srcId="{B3CEAEBD-A514-4E91-808A-E507306736AF}" destId="{8688B365-703D-4425-B132-39AED29BF5AB}" srcOrd="0" destOrd="0" presId="urn:microsoft.com/office/officeart/2005/8/layout/vList5"/>
    <dgm:cxn modelId="{8EE88F35-3AAA-4812-9BB1-89BB1391159B}" srcId="{B3CEAEBD-A514-4E91-808A-E507306736AF}" destId="{9BD417F1-5AB2-4253-8A57-01B36CB340F6}" srcOrd="0" destOrd="0" parTransId="{244224B6-17E7-422A-A053-53AD9321DA63}" sibTransId="{1962A8CF-FD68-453D-A5B0-6957B3AEBAE5}"/>
    <dgm:cxn modelId="{930D656B-8D1C-49C1-873D-818451E0B1F3}" type="presOf" srcId="{12F107C3-3B00-4577-BD4E-36E1CBF47685}" destId="{8189396E-B9BC-4E10-8E2F-CEE55F5F5D07}" srcOrd="0" destOrd="0" presId="urn:microsoft.com/office/officeart/2005/8/layout/vList5"/>
    <dgm:cxn modelId="{D1127480-76CD-4113-8D05-C9D765E41C4A}" type="presOf" srcId="{4C8D0D3A-EFE1-465A-9472-38615E3CAC5A}" destId="{654875E4-C0CC-44D9-8791-3D70B8F8E8E6}" srcOrd="0" destOrd="1" presId="urn:microsoft.com/office/officeart/2005/8/layout/vList5"/>
    <dgm:cxn modelId="{278CB9E3-3B46-4C36-A780-1226CDA47CED}" srcId="{12F107C3-3B00-4577-BD4E-36E1CBF47685}" destId="{B3CEAEBD-A514-4E91-808A-E507306736AF}" srcOrd="0" destOrd="0" parTransId="{EBC65927-02F5-4AAE-BD31-D4644AD8E57A}" sibTransId="{641CBF10-F84A-4BC6-B05A-C8B4F626A592}"/>
    <dgm:cxn modelId="{08361AE6-551C-4622-B685-9145497AD766}" srcId="{B3CEAEBD-A514-4E91-808A-E507306736AF}" destId="{4C8D0D3A-EFE1-465A-9472-38615E3CAC5A}" srcOrd="1" destOrd="0" parTransId="{DA29955C-6C73-432A-B0A5-4A213F19CCD2}" sibTransId="{4151968D-2C3D-49C8-9FA2-16A89E3D2C3C}"/>
    <dgm:cxn modelId="{75C2D2F5-9974-4451-B96D-8419443CD7A2}" type="presOf" srcId="{9BD417F1-5AB2-4253-8A57-01B36CB340F6}" destId="{654875E4-C0CC-44D9-8791-3D70B8F8E8E6}" srcOrd="0" destOrd="0" presId="urn:microsoft.com/office/officeart/2005/8/layout/vList5"/>
    <dgm:cxn modelId="{7267AE50-FB48-4D9E-870D-94ABE0E0790E}" type="presParOf" srcId="{8189396E-B9BC-4E10-8E2F-CEE55F5F5D07}" destId="{8A6ECB5C-9F4C-4A8D-A99A-55E1CEE27CEA}" srcOrd="0" destOrd="0" presId="urn:microsoft.com/office/officeart/2005/8/layout/vList5"/>
    <dgm:cxn modelId="{0067006F-A823-4795-B211-DADE62337B04}" type="presParOf" srcId="{8A6ECB5C-9F4C-4A8D-A99A-55E1CEE27CEA}" destId="{8688B365-703D-4425-B132-39AED29BF5AB}" srcOrd="0" destOrd="0" presId="urn:microsoft.com/office/officeart/2005/8/layout/vList5"/>
    <dgm:cxn modelId="{C47A08CD-5D07-4F43-AF1D-50C29A4ECA44}" type="presParOf" srcId="{8A6ECB5C-9F4C-4A8D-A99A-55E1CEE27CEA}" destId="{654875E4-C0CC-44D9-8791-3D70B8F8E8E6}"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55071773-D78F-465A-9E50-A625EC904D04}"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A4AF4B24-3DF6-4EB1-A700-2F3A4CDA7BA5}">
      <dgm:prSet phldrT="[Text]"/>
      <dgm:spPr>
        <a:scene3d>
          <a:camera prst="orthographicFront"/>
          <a:lightRig rig="threePt" dir="t"/>
        </a:scene3d>
        <a:sp3d>
          <a:bevelT prst="angle"/>
        </a:sp3d>
      </dgm:spPr>
      <dgm:t>
        <a:bodyPr/>
        <a:lstStyle/>
        <a:p>
          <a:pPr>
            <a:buNone/>
          </a:pPr>
          <a:r>
            <a:rPr lang="en-US" dirty="0"/>
            <a:t>Abstract complex and / or expensive aggregation query logic</a:t>
          </a:r>
          <a:endParaRPr lang="es-ES" dirty="0"/>
        </a:p>
      </dgm:t>
    </dgm:pt>
    <dgm:pt modelId="{B9C70A7D-6FED-43F0-A458-0283BCDE960C}" type="parTrans" cxnId="{813E3C0F-D689-4BCB-BFEC-534F43182A03}">
      <dgm:prSet/>
      <dgm:spPr/>
      <dgm:t>
        <a:bodyPr/>
        <a:lstStyle/>
        <a:p>
          <a:endParaRPr lang="es-ES"/>
        </a:p>
      </dgm:t>
    </dgm:pt>
    <dgm:pt modelId="{4BD91C41-47F9-4196-9FFF-F38165F5A23D}" type="sibTrans" cxnId="{813E3C0F-D689-4BCB-BFEC-534F43182A03}">
      <dgm:prSet/>
      <dgm:spPr/>
      <dgm:t>
        <a:bodyPr/>
        <a:lstStyle/>
        <a:p>
          <a:endParaRPr lang="es-ES"/>
        </a:p>
      </dgm:t>
    </dgm:pt>
    <dgm:pt modelId="{57016DCE-11D9-47D8-A476-BA6E1C7A06E4}">
      <dgm:prSet/>
      <dgm:spPr/>
      <dgm:t>
        <a:bodyPr/>
        <a:lstStyle/>
        <a:p>
          <a:r>
            <a:rPr lang="en-US" dirty="0"/>
            <a:t>Eliminate run-time data movement</a:t>
          </a:r>
        </a:p>
      </dgm:t>
    </dgm:pt>
    <dgm:pt modelId="{57C80190-93B4-45B0-BF80-C7BA29709B7A}" type="parTrans" cxnId="{0A3154EB-A91B-4214-89DF-1E7996FD73F6}">
      <dgm:prSet/>
      <dgm:spPr/>
      <dgm:t>
        <a:bodyPr/>
        <a:lstStyle/>
        <a:p>
          <a:endParaRPr lang="es-ES"/>
        </a:p>
      </dgm:t>
    </dgm:pt>
    <dgm:pt modelId="{DBBA5642-D311-4754-90AD-BF10B6382ACF}" type="sibTrans" cxnId="{0A3154EB-A91B-4214-89DF-1E7996FD73F6}">
      <dgm:prSet/>
      <dgm:spPr/>
      <dgm:t>
        <a:bodyPr/>
        <a:lstStyle/>
        <a:p>
          <a:endParaRPr lang="es-ES"/>
        </a:p>
      </dgm:t>
    </dgm:pt>
    <dgm:pt modelId="{2D50E2CE-7067-43F6-98BF-CA7AB39F8C1D}">
      <dgm:prSet/>
      <dgm:spPr/>
      <dgm:t>
        <a:bodyPr/>
        <a:lstStyle/>
        <a:p>
          <a:r>
            <a:rPr lang="en-US" dirty="0"/>
            <a:t>Reduction in run-time execution time</a:t>
          </a:r>
        </a:p>
      </dgm:t>
    </dgm:pt>
    <dgm:pt modelId="{B377EF0F-D070-4598-8C67-00D7D4DA48E6}" type="parTrans" cxnId="{6E696383-E207-4034-89A5-7DE188961BFB}">
      <dgm:prSet/>
      <dgm:spPr/>
      <dgm:t>
        <a:bodyPr/>
        <a:lstStyle/>
        <a:p>
          <a:endParaRPr lang="es-ES"/>
        </a:p>
      </dgm:t>
    </dgm:pt>
    <dgm:pt modelId="{CD80BF1A-85BF-4280-B24F-FFE13A82A626}" type="sibTrans" cxnId="{6E696383-E207-4034-89A5-7DE188961BFB}">
      <dgm:prSet/>
      <dgm:spPr/>
      <dgm:t>
        <a:bodyPr/>
        <a:lstStyle/>
        <a:p>
          <a:endParaRPr lang="es-ES"/>
        </a:p>
      </dgm:t>
    </dgm:pt>
    <dgm:pt modelId="{6D921269-CE19-494F-A6BB-B92477B005E7}">
      <dgm:prSet/>
      <dgm:spPr/>
      <dgm:t>
        <a:bodyPr/>
        <a:lstStyle/>
        <a:p>
          <a:r>
            <a:rPr lang="en-US" dirty="0"/>
            <a:t>Reduction in run-time query cost</a:t>
          </a:r>
        </a:p>
      </dgm:t>
    </dgm:pt>
    <dgm:pt modelId="{1F426C35-DE2B-434C-A9A7-4E0EABA83CF3}" type="parTrans" cxnId="{48DF29A2-C278-4422-88B7-B2AD389B64F9}">
      <dgm:prSet/>
      <dgm:spPr/>
      <dgm:t>
        <a:bodyPr/>
        <a:lstStyle/>
        <a:p>
          <a:endParaRPr lang="es-ES"/>
        </a:p>
      </dgm:t>
    </dgm:pt>
    <dgm:pt modelId="{CAAC8151-CE87-43FA-8387-DFCA244DEFE4}" type="sibTrans" cxnId="{48DF29A2-C278-4422-88B7-B2AD389B64F9}">
      <dgm:prSet/>
      <dgm:spPr/>
      <dgm:t>
        <a:bodyPr/>
        <a:lstStyle/>
        <a:p>
          <a:endParaRPr lang="es-ES"/>
        </a:p>
      </dgm:t>
    </dgm:pt>
    <dgm:pt modelId="{84DB1CF2-F29E-4148-8F4A-467AE6AA567E}">
      <dgm:prSet/>
      <dgm:spPr>
        <a:scene3d>
          <a:camera prst="orthographicFront"/>
          <a:lightRig rig="threePt" dir="t"/>
        </a:scene3d>
        <a:sp3d>
          <a:bevelT prst="angle"/>
        </a:sp3d>
      </dgm:spPr>
      <dgm:t>
        <a:bodyPr/>
        <a:lstStyle/>
        <a:p>
          <a:r>
            <a:rPr lang="en-US" dirty="0"/>
            <a:t>Performance Tuning of existing queries, without refactoring</a:t>
          </a:r>
        </a:p>
      </dgm:t>
    </dgm:pt>
    <dgm:pt modelId="{9C8F8C7D-319D-4A16-96B4-B5AC53448197}" type="parTrans" cxnId="{DFEC8D5E-75A8-4A86-A22A-FA45564F0714}">
      <dgm:prSet/>
      <dgm:spPr/>
      <dgm:t>
        <a:bodyPr/>
        <a:lstStyle/>
        <a:p>
          <a:endParaRPr lang="es-ES"/>
        </a:p>
      </dgm:t>
    </dgm:pt>
    <dgm:pt modelId="{8B4A671D-F5CD-4446-990A-AF4606C7AA80}" type="sibTrans" cxnId="{DFEC8D5E-75A8-4A86-A22A-FA45564F0714}">
      <dgm:prSet/>
      <dgm:spPr/>
      <dgm:t>
        <a:bodyPr/>
        <a:lstStyle/>
        <a:p>
          <a:endParaRPr lang="es-ES"/>
        </a:p>
      </dgm:t>
    </dgm:pt>
    <dgm:pt modelId="{3232472A-D56D-4E9F-9F05-5650BF7E4222}" type="pres">
      <dgm:prSet presAssocID="{55071773-D78F-465A-9E50-A625EC904D04}" presName="linear" presStyleCnt="0">
        <dgm:presLayoutVars>
          <dgm:animLvl val="lvl"/>
          <dgm:resizeHandles val="exact"/>
        </dgm:presLayoutVars>
      </dgm:prSet>
      <dgm:spPr/>
    </dgm:pt>
    <dgm:pt modelId="{28C9ADEF-DAA2-4470-B813-30DA51912AD3}" type="pres">
      <dgm:prSet presAssocID="{A4AF4B24-3DF6-4EB1-A700-2F3A4CDA7BA5}" presName="parentText" presStyleLbl="node1" presStyleIdx="0" presStyleCnt="2">
        <dgm:presLayoutVars>
          <dgm:chMax val="0"/>
          <dgm:bulletEnabled val="1"/>
        </dgm:presLayoutVars>
      </dgm:prSet>
      <dgm:spPr/>
    </dgm:pt>
    <dgm:pt modelId="{B86ED969-65CD-48CF-AA9E-EF0E9D8E0607}" type="pres">
      <dgm:prSet presAssocID="{A4AF4B24-3DF6-4EB1-A700-2F3A4CDA7BA5}" presName="childText" presStyleLbl="revTx" presStyleIdx="0" presStyleCnt="1">
        <dgm:presLayoutVars>
          <dgm:bulletEnabled val="1"/>
        </dgm:presLayoutVars>
      </dgm:prSet>
      <dgm:spPr/>
    </dgm:pt>
    <dgm:pt modelId="{7840B855-7552-408D-AEE7-A7668BDEA598}" type="pres">
      <dgm:prSet presAssocID="{84DB1CF2-F29E-4148-8F4A-467AE6AA567E}" presName="parentText" presStyleLbl="node1" presStyleIdx="1" presStyleCnt="2">
        <dgm:presLayoutVars>
          <dgm:chMax val="0"/>
          <dgm:bulletEnabled val="1"/>
        </dgm:presLayoutVars>
      </dgm:prSet>
      <dgm:spPr/>
    </dgm:pt>
  </dgm:ptLst>
  <dgm:cxnLst>
    <dgm:cxn modelId="{813E3C0F-D689-4BCB-BFEC-534F43182A03}" srcId="{55071773-D78F-465A-9E50-A625EC904D04}" destId="{A4AF4B24-3DF6-4EB1-A700-2F3A4CDA7BA5}" srcOrd="0" destOrd="0" parTransId="{B9C70A7D-6FED-43F0-A458-0283BCDE960C}" sibTransId="{4BD91C41-47F9-4196-9FFF-F38165F5A23D}"/>
    <dgm:cxn modelId="{8DE4D12F-DAC7-4827-88D4-A669FC6C92E8}" type="presOf" srcId="{6D921269-CE19-494F-A6BB-B92477B005E7}" destId="{B86ED969-65CD-48CF-AA9E-EF0E9D8E0607}" srcOrd="0" destOrd="2" presId="urn:microsoft.com/office/officeart/2005/8/layout/vList2"/>
    <dgm:cxn modelId="{DFEC8D5E-75A8-4A86-A22A-FA45564F0714}" srcId="{55071773-D78F-465A-9E50-A625EC904D04}" destId="{84DB1CF2-F29E-4148-8F4A-467AE6AA567E}" srcOrd="1" destOrd="0" parTransId="{9C8F8C7D-319D-4A16-96B4-B5AC53448197}" sibTransId="{8B4A671D-F5CD-4446-990A-AF4606C7AA80}"/>
    <dgm:cxn modelId="{35907675-BD12-4BF8-90D8-DCCA96207A0E}" type="presOf" srcId="{57016DCE-11D9-47D8-A476-BA6E1C7A06E4}" destId="{B86ED969-65CD-48CF-AA9E-EF0E9D8E0607}" srcOrd="0" destOrd="0" presId="urn:microsoft.com/office/officeart/2005/8/layout/vList2"/>
    <dgm:cxn modelId="{6E696383-E207-4034-89A5-7DE188961BFB}" srcId="{A4AF4B24-3DF6-4EB1-A700-2F3A4CDA7BA5}" destId="{2D50E2CE-7067-43F6-98BF-CA7AB39F8C1D}" srcOrd="1" destOrd="0" parTransId="{B377EF0F-D070-4598-8C67-00D7D4DA48E6}" sibTransId="{CD80BF1A-85BF-4280-B24F-FFE13A82A626}"/>
    <dgm:cxn modelId="{1BA10EA1-02DF-4447-BD3C-F7F68FFD9C5E}" type="presOf" srcId="{55071773-D78F-465A-9E50-A625EC904D04}" destId="{3232472A-D56D-4E9F-9F05-5650BF7E4222}" srcOrd="0" destOrd="0" presId="urn:microsoft.com/office/officeart/2005/8/layout/vList2"/>
    <dgm:cxn modelId="{48DF29A2-C278-4422-88B7-B2AD389B64F9}" srcId="{A4AF4B24-3DF6-4EB1-A700-2F3A4CDA7BA5}" destId="{6D921269-CE19-494F-A6BB-B92477B005E7}" srcOrd="2" destOrd="0" parTransId="{1F426C35-DE2B-434C-A9A7-4E0EABA83CF3}" sibTransId="{CAAC8151-CE87-43FA-8387-DFCA244DEFE4}"/>
    <dgm:cxn modelId="{10643AAD-325B-4A89-911D-B08CA97DEDE8}" type="presOf" srcId="{A4AF4B24-3DF6-4EB1-A700-2F3A4CDA7BA5}" destId="{28C9ADEF-DAA2-4470-B813-30DA51912AD3}" srcOrd="0" destOrd="0" presId="urn:microsoft.com/office/officeart/2005/8/layout/vList2"/>
    <dgm:cxn modelId="{878810E8-8076-4061-8617-32D3CD403A05}" type="presOf" srcId="{84DB1CF2-F29E-4148-8F4A-467AE6AA567E}" destId="{7840B855-7552-408D-AEE7-A7668BDEA598}" srcOrd="0" destOrd="0" presId="urn:microsoft.com/office/officeart/2005/8/layout/vList2"/>
    <dgm:cxn modelId="{0A3154EB-A91B-4214-89DF-1E7996FD73F6}" srcId="{A4AF4B24-3DF6-4EB1-A700-2F3A4CDA7BA5}" destId="{57016DCE-11D9-47D8-A476-BA6E1C7A06E4}" srcOrd="0" destOrd="0" parTransId="{57C80190-93B4-45B0-BF80-C7BA29709B7A}" sibTransId="{DBBA5642-D311-4754-90AD-BF10B6382ACF}"/>
    <dgm:cxn modelId="{7A2849FA-B973-4B30-AC89-825681AA3A87}" type="presOf" srcId="{2D50E2CE-7067-43F6-98BF-CA7AB39F8C1D}" destId="{B86ED969-65CD-48CF-AA9E-EF0E9D8E0607}" srcOrd="0" destOrd="1" presId="urn:microsoft.com/office/officeart/2005/8/layout/vList2"/>
    <dgm:cxn modelId="{0CC5A931-B397-4584-B001-4AC539837497}" type="presParOf" srcId="{3232472A-D56D-4E9F-9F05-5650BF7E4222}" destId="{28C9ADEF-DAA2-4470-B813-30DA51912AD3}" srcOrd="0" destOrd="0" presId="urn:microsoft.com/office/officeart/2005/8/layout/vList2"/>
    <dgm:cxn modelId="{55B3E270-2C70-4AA7-B185-05B991AE5C89}" type="presParOf" srcId="{3232472A-D56D-4E9F-9F05-5650BF7E4222}" destId="{B86ED969-65CD-48CF-AA9E-EF0E9D8E0607}" srcOrd="1" destOrd="0" presId="urn:microsoft.com/office/officeart/2005/8/layout/vList2"/>
    <dgm:cxn modelId="{6172AC77-41CE-4608-AACC-A87EB12F7DD8}" type="presParOf" srcId="{3232472A-D56D-4E9F-9F05-5650BF7E4222}" destId="{7840B855-7552-408D-AEE7-A7668BDEA5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37E91C0D-31C1-4FC8-853D-100C4B29FF27}"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6059884F-C6C2-4B16-805C-C1C1CAD6D126}">
      <dgm:prSet phldrT="[Text]"/>
      <dgm:spPr>
        <a:scene3d>
          <a:camera prst="orthographicFront"/>
          <a:lightRig rig="threePt" dir="t"/>
        </a:scene3d>
        <a:sp3d>
          <a:bevelT prst="angle"/>
        </a:sp3d>
      </dgm:spPr>
      <dgm:t>
        <a:bodyPr/>
        <a:lstStyle/>
        <a:p>
          <a:pPr>
            <a:buNone/>
          </a:pPr>
          <a:r>
            <a:rPr lang="en-US" dirty="0"/>
            <a:t>CREATE MATERIALIZED VIEW AS SELECT …  </a:t>
          </a:r>
          <a:endParaRPr lang="es-ES" dirty="0"/>
        </a:p>
      </dgm:t>
    </dgm:pt>
    <dgm:pt modelId="{F2751633-B75E-42B0-B2EE-E7BE0DD6EB09}" type="parTrans" cxnId="{6AFDF314-357A-49F1-9344-39186AAABA22}">
      <dgm:prSet/>
      <dgm:spPr/>
      <dgm:t>
        <a:bodyPr/>
        <a:lstStyle/>
        <a:p>
          <a:endParaRPr lang="es-ES"/>
        </a:p>
      </dgm:t>
    </dgm:pt>
    <dgm:pt modelId="{BCEEE5D5-77D1-468F-975F-CE5CCB3773F8}" type="sibTrans" cxnId="{6AFDF314-357A-49F1-9344-39186AAABA22}">
      <dgm:prSet/>
      <dgm:spPr/>
      <dgm:t>
        <a:bodyPr/>
        <a:lstStyle/>
        <a:p>
          <a:endParaRPr lang="es-ES"/>
        </a:p>
      </dgm:t>
    </dgm:pt>
    <dgm:pt modelId="{C4BDD7D0-E34A-4464-AD06-B715097B3893}">
      <dgm:prSet/>
      <dgm:spPr>
        <a:scene3d>
          <a:camera prst="orthographicFront"/>
          <a:lightRig rig="threePt" dir="t"/>
        </a:scene3d>
        <a:sp3d>
          <a:bevelT prst="angle"/>
        </a:sp3d>
      </dgm:spPr>
      <dgm:t>
        <a:bodyPr/>
        <a:lstStyle/>
        <a:p>
          <a:r>
            <a:rPr lang="en-US" dirty="0"/>
            <a:t>View must be defined as Distributed</a:t>
          </a:r>
        </a:p>
      </dgm:t>
    </dgm:pt>
    <dgm:pt modelId="{5DE6B15D-A302-42D4-A8A5-08F08734F0C1}" type="parTrans" cxnId="{CE92CEF8-BCBA-40A6-91E0-15A7A9F36937}">
      <dgm:prSet/>
      <dgm:spPr/>
      <dgm:t>
        <a:bodyPr/>
        <a:lstStyle/>
        <a:p>
          <a:endParaRPr lang="es-ES"/>
        </a:p>
      </dgm:t>
    </dgm:pt>
    <dgm:pt modelId="{C2284D03-E068-4411-B61D-A9ECCFD0F6E2}" type="sibTrans" cxnId="{CE92CEF8-BCBA-40A6-91E0-15A7A9F36937}">
      <dgm:prSet/>
      <dgm:spPr/>
      <dgm:t>
        <a:bodyPr/>
        <a:lstStyle/>
        <a:p>
          <a:endParaRPr lang="es-ES"/>
        </a:p>
      </dgm:t>
    </dgm:pt>
    <dgm:pt modelId="{9400E483-D720-4C9C-A527-562A83A6E96B}">
      <dgm:prSet/>
      <dgm:spPr/>
      <dgm:t>
        <a:bodyPr/>
        <a:lstStyle/>
        <a:p>
          <a:r>
            <a:rPr lang="en-US" dirty="0"/>
            <a:t>HASH distributed</a:t>
          </a:r>
        </a:p>
      </dgm:t>
    </dgm:pt>
    <dgm:pt modelId="{2CFBB505-4B99-4885-8800-6E6C9CE78AAD}" type="parTrans" cxnId="{37E96538-1BD3-474C-A8EF-CC51726E264E}">
      <dgm:prSet/>
      <dgm:spPr/>
      <dgm:t>
        <a:bodyPr/>
        <a:lstStyle/>
        <a:p>
          <a:endParaRPr lang="es-ES"/>
        </a:p>
      </dgm:t>
    </dgm:pt>
    <dgm:pt modelId="{E38A3598-5520-4377-8A7E-9BCD11DEB8BA}" type="sibTrans" cxnId="{37E96538-1BD3-474C-A8EF-CC51726E264E}">
      <dgm:prSet/>
      <dgm:spPr/>
      <dgm:t>
        <a:bodyPr/>
        <a:lstStyle/>
        <a:p>
          <a:endParaRPr lang="es-ES"/>
        </a:p>
      </dgm:t>
    </dgm:pt>
    <dgm:pt modelId="{CDF1193B-0769-4C3A-B57A-D03A8C21B250}">
      <dgm:prSet/>
      <dgm:spPr/>
      <dgm:t>
        <a:bodyPr/>
        <a:lstStyle/>
        <a:p>
          <a:r>
            <a:rPr lang="en-US" dirty="0"/>
            <a:t>ROUND-ROBIN distributed</a:t>
          </a:r>
        </a:p>
      </dgm:t>
    </dgm:pt>
    <dgm:pt modelId="{E68AEA95-DB57-4BD8-8545-E84AB5CF7F1F}" type="parTrans" cxnId="{8164B062-9B6B-4267-A9A4-92B8A3ED5857}">
      <dgm:prSet/>
      <dgm:spPr/>
      <dgm:t>
        <a:bodyPr/>
        <a:lstStyle/>
        <a:p>
          <a:endParaRPr lang="es-ES"/>
        </a:p>
      </dgm:t>
    </dgm:pt>
    <dgm:pt modelId="{78452A46-95A8-4153-90B0-42901C57789C}" type="sibTrans" cxnId="{8164B062-9B6B-4267-A9A4-92B8A3ED5857}">
      <dgm:prSet/>
      <dgm:spPr/>
      <dgm:t>
        <a:bodyPr/>
        <a:lstStyle/>
        <a:p>
          <a:endParaRPr lang="es-ES"/>
        </a:p>
      </dgm:t>
    </dgm:pt>
    <dgm:pt modelId="{663554AB-F7BB-49D3-AF30-48F08F1C0999}">
      <dgm:prSet/>
      <dgm:spPr>
        <a:scene3d>
          <a:camera prst="orthographicFront"/>
          <a:lightRig rig="threePt" dir="t"/>
        </a:scene3d>
        <a:sp3d>
          <a:bevelT prst="angle"/>
        </a:sp3d>
      </dgm:spPr>
      <dgm:t>
        <a:bodyPr/>
        <a:lstStyle/>
        <a:p>
          <a:r>
            <a:rPr lang="en-US" dirty="0"/>
            <a:t>Distribution can be on different key to source tables</a:t>
          </a:r>
        </a:p>
      </dgm:t>
    </dgm:pt>
    <dgm:pt modelId="{C09A5BB7-8833-415A-BD22-11235FE8E6ED}" type="parTrans" cxnId="{BA165652-7074-4B82-B210-6B3F4DE799A4}">
      <dgm:prSet/>
      <dgm:spPr/>
      <dgm:t>
        <a:bodyPr/>
        <a:lstStyle/>
        <a:p>
          <a:endParaRPr lang="es-ES"/>
        </a:p>
      </dgm:t>
    </dgm:pt>
    <dgm:pt modelId="{8F929A0B-A2C6-48BE-8AD9-F3B81A78DE89}" type="sibTrans" cxnId="{BA165652-7074-4B82-B210-6B3F4DE799A4}">
      <dgm:prSet/>
      <dgm:spPr/>
      <dgm:t>
        <a:bodyPr/>
        <a:lstStyle/>
        <a:p>
          <a:endParaRPr lang="es-ES"/>
        </a:p>
      </dgm:t>
    </dgm:pt>
    <dgm:pt modelId="{8A261A41-1F80-47AD-B52B-879872B5ADFC}">
      <dgm:prSet/>
      <dgm:spPr>
        <a:scene3d>
          <a:camera prst="orthographicFront"/>
          <a:lightRig rig="threePt" dir="t"/>
        </a:scene3d>
        <a:sp3d>
          <a:bevelT prst="angle"/>
        </a:sp3d>
      </dgm:spPr>
      <dgm:t>
        <a:bodyPr/>
        <a:lstStyle/>
        <a:p>
          <a:r>
            <a:rPr lang="en-US" dirty="0"/>
            <a:t>Always created as a CCI – no option to define the storage format.</a:t>
          </a:r>
        </a:p>
      </dgm:t>
    </dgm:pt>
    <dgm:pt modelId="{8D6448E6-026C-48B3-BA8A-CE009957B52F}" type="parTrans" cxnId="{2C55E30D-302A-43DF-8A46-4DA41B868067}">
      <dgm:prSet/>
      <dgm:spPr/>
      <dgm:t>
        <a:bodyPr/>
        <a:lstStyle/>
        <a:p>
          <a:endParaRPr lang="es-ES"/>
        </a:p>
      </dgm:t>
    </dgm:pt>
    <dgm:pt modelId="{35304896-37BE-48BE-BDA8-FE12F1022166}" type="sibTrans" cxnId="{2C55E30D-302A-43DF-8A46-4DA41B868067}">
      <dgm:prSet/>
      <dgm:spPr/>
      <dgm:t>
        <a:bodyPr/>
        <a:lstStyle/>
        <a:p>
          <a:endParaRPr lang="es-ES"/>
        </a:p>
      </dgm:t>
    </dgm:pt>
    <dgm:pt modelId="{4954896F-EE8B-46E0-994D-21DAF49CD059}">
      <dgm:prSet/>
      <dgm:spPr>
        <a:scene3d>
          <a:camera prst="orthographicFront"/>
          <a:lightRig rig="threePt" dir="t"/>
        </a:scene3d>
        <a:sp3d>
          <a:bevelT prst="angle"/>
        </a:sp3d>
      </dgm:spPr>
      <dgm:t>
        <a:bodyPr/>
        <a:lstStyle/>
        <a:p>
          <a:r>
            <a:rPr lang="en-US" dirty="0"/>
            <a:t>Cannot reference another view, Standard or Materialized</a:t>
          </a:r>
          <a:endParaRPr lang="es-ES" dirty="0"/>
        </a:p>
      </dgm:t>
    </dgm:pt>
    <dgm:pt modelId="{81F63935-3408-409F-B337-1E91F91FF319}" type="parTrans" cxnId="{8DE3E55F-DA37-4F0F-8523-F6AC778EF47A}">
      <dgm:prSet/>
      <dgm:spPr/>
      <dgm:t>
        <a:bodyPr/>
        <a:lstStyle/>
        <a:p>
          <a:endParaRPr lang="es-ES"/>
        </a:p>
      </dgm:t>
    </dgm:pt>
    <dgm:pt modelId="{556EADF6-0EA4-4589-B270-966659710401}" type="sibTrans" cxnId="{8DE3E55F-DA37-4F0F-8523-F6AC778EF47A}">
      <dgm:prSet/>
      <dgm:spPr/>
      <dgm:t>
        <a:bodyPr/>
        <a:lstStyle/>
        <a:p>
          <a:endParaRPr lang="es-ES"/>
        </a:p>
      </dgm:t>
    </dgm:pt>
    <dgm:pt modelId="{5055C136-68F4-4EAC-8367-B197393009F6}" type="pres">
      <dgm:prSet presAssocID="{37E91C0D-31C1-4FC8-853D-100C4B29FF27}" presName="linear" presStyleCnt="0">
        <dgm:presLayoutVars>
          <dgm:animLvl val="lvl"/>
          <dgm:resizeHandles val="exact"/>
        </dgm:presLayoutVars>
      </dgm:prSet>
      <dgm:spPr/>
    </dgm:pt>
    <dgm:pt modelId="{FD2A5516-93D7-4316-8B2C-C43B8EC2F6CE}" type="pres">
      <dgm:prSet presAssocID="{6059884F-C6C2-4B16-805C-C1C1CAD6D126}" presName="parentText" presStyleLbl="node1" presStyleIdx="0" presStyleCnt="5">
        <dgm:presLayoutVars>
          <dgm:chMax val="0"/>
          <dgm:bulletEnabled val="1"/>
        </dgm:presLayoutVars>
      </dgm:prSet>
      <dgm:spPr/>
    </dgm:pt>
    <dgm:pt modelId="{363A0026-E7AC-49F5-95E1-C88C36F1397B}" type="pres">
      <dgm:prSet presAssocID="{BCEEE5D5-77D1-468F-975F-CE5CCB3773F8}" presName="spacer" presStyleCnt="0"/>
      <dgm:spPr/>
    </dgm:pt>
    <dgm:pt modelId="{DF007FE1-6BDB-4E6E-BB56-B0D8EF9019C0}" type="pres">
      <dgm:prSet presAssocID="{C4BDD7D0-E34A-4464-AD06-B715097B3893}" presName="parentText" presStyleLbl="node1" presStyleIdx="1" presStyleCnt="5">
        <dgm:presLayoutVars>
          <dgm:chMax val="0"/>
          <dgm:bulletEnabled val="1"/>
        </dgm:presLayoutVars>
      </dgm:prSet>
      <dgm:spPr/>
    </dgm:pt>
    <dgm:pt modelId="{9413C77D-EACE-43BB-B7BB-4AE6769B1BDA}" type="pres">
      <dgm:prSet presAssocID="{C4BDD7D0-E34A-4464-AD06-B715097B3893}" presName="childText" presStyleLbl="revTx" presStyleIdx="0" presStyleCnt="1">
        <dgm:presLayoutVars>
          <dgm:bulletEnabled val="1"/>
        </dgm:presLayoutVars>
      </dgm:prSet>
      <dgm:spPr/>
    </dgm:pt>
    <dgm:pt modelId="{E238C0E2-CBDB-4083-92BC-38160797212D}" type="pres">
      <dgm:prSet presAssocID="{663554AB-F7BB-49D3-AF30-48F08F1C0999}" presName="parentText" presStyleLbl="node1" presStyleIdx="2" presStyleCnt="5">
        <dgm:presLayoutVars>
          <dgm:chMax val="0"/>
          <dgm:bulletEnabled val="1"/>
        </dgm:presLayoutVars>
      </dgm:prSet>
      <dgm:spPr/>
    </dgm:pt>
    <dgm:pt modelId="{66017083-BFB1-4B1D-8262-0D63720D22BD}" type="pres">
      <dgm:prSet presAssocID="{8F929A0B-A2C6-48BE-8AD9-F3B81A78DE89}" presName="spacer" presStyleCnt="0"/>
      <dgm:spPr/>
    </dgm:pt>
    <dgm:pt modelId="{651837E0-6CF1-4031-B85C-94A1AE582733}" type="pres">
      <dgm:prSet presAssocID="{8A261A41-1F80-47AD-B52B-879872B5ADFC}" presName="parentText" presStyleLbl="node1" presStyleIdx="3" presStyleCnt="5">
        <dgm:presLayoutVars>
          <dgm:chMax val="0"/>
          <dgm:bulletEnabled val="1"/>
        </dgm:presLayoutVars>
      </dgm:prSet>
      <dgm:spPr/>
    </dgm:pt>
    <dgm:pt modelId="{B127BEA3-AD26-4638-8C5B-8807E73DE523}" type="pres">
      <dgm:prSet presAssocID="{35304896-37BE-48BE-BDA8-FE12F1022166}" presName="spacer" presStyleCnt="0"/>
      <dgm:spPr/>
    </dgm:pt>
    <dgm:pt modelId="{BE98165C-9DB3-4BC5-B58D-CAD26C8CBDD0}" type="pres">
      <dgm:prSet presAssocID="{4954896F-EE8B-46E0-994D-21DAF49CD059}" presName="parentText" presStyleLbl="node1" presStyleIdx="4" presStyleCnt="5">
        <dgm:presLayoutVars>
          <dgm:chMax val="0"/>
          <dgm:bulletEnabled val="1"/>
        </dgm:presLayoutVars>
      </dgm:prSet>
      <dgm:spPr/>
    </dgm:pt>
  </dgm:ptLst>
  <dgm:cxnLst>
    <dgm:cxn modelId="{2C55E30D-302A-43DF-8A46-4DA41B868067}" srcId="{37E91C0D-31C1-4FC8-853D-100C4B29FF27}" destId="{8A261A41-1F80-47AD-B52B-879872B5ADFC}" srcOrd="3" destOrd="0" parTransId="{8D6448E6-026C-48B3-BA8A-CE009957B52F}" sibTransId="{35304896-37BE-48BE-BDA8-FE12F1022166}"/>
    <dgm:cxn modelId="{6AFDF314-357A-49F1-9344-39186AAABA22}" srcId="{37E91C0D-31C1-4FC8-853D-100C4B29FF27}" destId="{6059884F-C6C2-4B16-805C-C1C1CAD6D126}" srcOrd="0" destOrd="0" parTransId="{F2751633-B75E-42B0-B2EE-E7BE0DD6EB09}" sibTransId="{BCEEE5D5-77D1-468F-975F-CE5CCB3773F8}"/>
    <dgm:cxn modelId="{15D23325-ACB9-479D-BB7A-F1C98361EE20}" type="presOf" srcId="{6059884F-C6C2-4B16-805C-C1C1CAD6D126}" destId="{FD2A5516-93D7-4316-8B2C-C43B8EC2F6CE}" srcOrd="0" destOrd="0" presId="urn:microsoft.com/office/officeart/2005/8/layout/vList2"/>
    <dgm:cxn modelId="{37E96538-1BD3-474C-A8EF-CC51726E264E}" srcId="{C4BDD7D0-E34A-4464-AD06-B715097B3893}" destId="{9400E483-D720-4C9C-A527-562A83A6E96B}" srcOrd="0" destOrd="0" parTransId="{2CFBB505-4B99-4885-8800-6E6C9CE78AAD}" sibTransId="{E38A3598-5520-4377-8A7E-9BCD11DEB8BA}"/>
    <dgm:cxn modelId="{8DE3E55F-DA37-4F0F-8523-F6AC778EF47A}" srcId="{37E91C0D-31C1-4FC8-853D-100C4B29FF27}" destId="{4954896F-EE8B-46E0-994D-21DAF49CD059}" srcOrd="4" destOrd="0" parTransId="{81F63935-3408-409F-B337-1E91F91FF319}" sibTransId="{556EADF6-0EA4-4589-B270-966659710401}"/>
    <dgm:cxn modelId="{8164B062-9B6B-4267-A9A4-92B8A3ED5857}" srcId="{C4BDD7D0-E34A-4464-AD06-B715097B3893}" destId="{CDF1193B-0769-4C3A-B57A-D03A8C21B250}" srcOrd="1" destOrd="0" parTransId="{E68AEA95-DB57-4BD8-8545-E84AB5CF7F1F}" sibTransId="{78452A46-95A8-4153-90B0-42901C57789C}"/>
    <dgm:cxn modelId="{A94F3B6F-731A-4C31-B7E8-BB85037AB9A0}" type="presOf" srcId="{663554AB-F7BB-49D3-AF30-48F08F1C0999}" destId="{E238C0E2-CBDB-4083-92BC-38160797212D}" srcOrd="0" destOrd="0" presId="urn:microsoft.com/office/officeart/2005/8/layout/vList2"/>
    <dgm:cxn modelId="{99ECE151-4762-44F7-A817-E55559F45224}" type="presOf" srcId="{CDF1193B-0769-4C3A-B57A-D03A8C21B250}" destId="{9413C77D-EACE-43BB-B7BB-4AE6769B1BDA}" srcOrd="0" destOrd="1" presId="urn:microsoft.com/office/officeart/2005/8/layout/vList2"/>
    <dgm:cxn modelId="{BA165652-7074-4B82-B210-6B3F4DE799A4}" srcId="{37E91C0D-31C1-4FC8-853D-100C4B29FF27}" destId="{663554AB-F7BB-49D3-AF30-48F08F1C0999}" srcOrd="2" destOrd="0" parTransId="{C09A5BB7-8833-415A-BD22-11235FE8E6ED}" sibTransId="{8F929A0B-A2C6-48BE-8AD9-F3B81A78DE89}"/>
    <dgm:cxn modelId="{25A6C07B-7058-4C81-87BE-C4F7C5CB47F0}" type="presOf" srcId="{8A261A41-1F80-47AD-B52B-879872B5ADFC}" destId="{651837E0-6CF1-4031-B85C-94A1AE582733}" srcOrd="0" destOrd="0" presId="urn:microsoft.com/office/officeart/2005/8/layout/vList2"/>
    <dgm:cxn modelId="{8262FE9F-49C6-4159-BAE2-B37C5F8375BC}" type="presOf" srcId="{C4BDD7D0-E34A-4464-AD06-B715097B3893}" destId="{DF007FE1-6BDB-4E6E-BB56-B0D8EF9019C0}" srcOrd="0" destOrd="0" presId="urn:microsoft.com/office/officeart/2005/8/layout/vList2"/>
    <dgm:cxn modelId="{6DD8C7A5-221D-4726-A81E-E5279B6B35B3}" type="presOf" srcId="{37E91C0D-31C1-4FC8-853D-100C4B29FF27}" destId="{5055C136-68F4-4EAC-8367-B197393009F6}" srcOrd="0" destOrd="0" presId="urn:microsoft.com/office/officeart/2005/8/layout/vList2"/>
    <dgm:cxn modelId="{96443BC2-79A9-40ED-8FA8-BF7D0F86F687}" type="presOf" srcId="{9400E483-D720-4C9C-A527-562A83A6E96B}" destId="{9413C77D-EACE-43BB-B7BB-4AE6769B1BDA}" srcOrd="0" destOrd="0" presId="urn:microsoft.com/office/officeart/2005/8/layout/vList2"/>
    <dgm:cxn modelId="{5577A2E6-37EF-4E45-95CC-2D179765B19A}" type="presOf" srcId="{4954896F-EE8B-46E0-994D-21DAF49CD059}" destId="{BE98165C-9DB3-4BC5-B58D-CAD26C8CBDD0}" srcOrd="0" destOrd="0" presId="urn:microsoft.com/office/officeart/2005/8/layout/vList2"/>
    <dgm:cxn modelId="{CE92CEF8-BCBA-40A6-91E0-15A7A9F36937}" srcId="{37E91C0D-31C1-4FC8-853D-100C4B29FF27}" destId="{C4BDD7D0-E34A-4464-AD06-B715097B3893}" srcOrd="1" destOrd="0" parTransId="{5DE6B15D-A302-42D4-A8A5-08F08734F0C1}" sibTransId="{C2284D03-E068-4411-B61D-A9ECCFD0F6E2}"/>
    <dgm:cxn modelId="{7D28EF76-7AEA-4EDB-9B18-C1E09F7D766C}" type="presParOf" srcId="{5055C136-68F4-4EAC-8367-B197393009F6}" destId="{FD2A5516-93D7-4316-8B2C-C43B8EC2F6CE}" srcOrd="0" destOrd="0" presId="urn:microsoft.com/office/officeart/2005/8/layout/vList2"/>
    <dgm:cxn modelId="{82FF6E03-3362-42C9-B5EA-A89F3AFA3169}" type="presParOf" srcId="{5055C136-68F4-4EAC-8367-B197393009F6}" destId="{363A0026-E7AC-49F5-95E1-C88C36F1397B}" srcOrd="1" destOrd="0" presId="urn:microsoft.com/office/officeart/2005/8/layout/vList2"/>
    <dgm:cxn modelId="{83F0D92D-A02E-422B-BC7A-82A7056477EF}" type="presParOf" srcId="{5055C136-68F4-4EAC-8367-B197393009F6}" destId="{DF007FE1-6BDB-4E6E-BB56-B0D8EF9019C0}" srcOrd="2" destOrd="0" presId="urn:microsoft.com/office/officeart/2005/8/layout/vList2"/>
    <dgm:cxn modelId="{144B47BA-DA31-4982-85D8-9FDA33CF6053}" type="presParOf" srcId="{5055C136-68F4-4EAC-8367-B197393009F6}" destId="{9413C77D-EACE-43BB-B7BB-4AE6769B1BDA}" srcOrd="3" destOrd="0" presId="urn:microsoft.com/office/officeart/2005/8/layout/vList2"/>
    <dgm:cxn modelId="{B491E4E7-5BCA-40C6-95E7-6B859ED977A8}" type="presParOf" srcId="{5055C136-68F4-4EAC-8367-B197393009F6}" destId="{E238C0E2-CBDB-4083-92BC-38160797212D}" srcOrd="4" destOrd="0" presId="urn:microsoft.com/office/officeart/2005/8/layout/vList2"/>
    <dgm:cxn modelId="{531331FD-9D34-4D4B-8484-FAF0F14DCAED}" type="presParOf" srcId="{5055C136-68F4-4EAC-8367-B197393009F6}" destId="{66017083-BFB1-4B1D-8262-0D63720D22BD}" srcOrd="5" destOrd="0" presId="urn:microsoft.com/office/officeart/2005/8/layout/vList2"/>
    <dgm:cxn modelId="{80C341F0-D72B-48DE-A567-5AB423CD6120}" type="presParOf" srcId="{5055C136-68F4-4EAC-8367-B197393009F6}" destId="{651837E0-6CF1-4031-B85C-94A1AE582733}" srcOrd="6" destOrd="0" presId="urn:microsoft.com/office/officeart/2005/8/layout/vList2"/>
    <dgm:cxn modelId="{BD2331D5-2776-4F3F-9B85-D87436F839F2}" type="presParOf" srcId="{5055C136-68F4-4EAC-8367-B197393009F6}" destId="{B127BEA3-AD26-4638-8C5B-8807E73DE523}" srcOrd="7" destOrd="0" presId="urn:microsoft.com/office/officeart/2005/8/layout/vList2"/>
    <dgm:cxn modelId="{D52D13FD-EBF6-4734-9060-6462758D169A}" type="presParOf" srcId="{5055C136-68F4-4EAC-8367-B197393009F6}" destId="{BE98165C-9DB3-4BC5-B58D-CAD26C8CBDD0}"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B53F3D88-EFD7-4E20-87A9-91C2B40A239F}" type="doc">
      <dgm:prSet loTypeId="urn:microsoft.com/office/officeart/2008/layout/VerticalCurvedList" loCatId="list" qsTypeId="urn:microsoft.com/office/officeart/2005/8/quickstyle/simple1" qsCatId="simple" csTypeId="urn:microsoft.com/office/officeart/2005/8/colors/accent2_3" csCatId="accent2" phldr="1"/>
      <dgm:spPr/>
      <dgm:t>
        <a:bodyPr/>
        <a:lstStyle/>
        <a:p>
          <a:endParaRPr lang="es-ES"/>
        </a:p>
      </dgm:t>
    </dgm:pt>
    <dgm:pt modelId="{716CF926-D058-4FC2-AF2F-5B9E416B8BFA}">
      <dgm:prSet phldrT="[Tex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pPr>
            <a:buNone/>
          </a:pPr>
          <a:r>
            <a:rPr lang="en-US" sz="1800" dirty="0"/>
            <a:t>Real-time data refresh for updates to base tables.</a:t>
          </a:r>
          <a:endParaRPr lang="es-ES" sz="1800" dirty="0"/>
        </a:p>
      </dgm:t>
    </dgm:pt>
    <dgm:pt modelId="{07C1A545-BE9F-48DE-ADF7-84C0E5E971B7}" type="parTrans" cxnId="{FF5FFA23-FC33-450F-8A04-73077696190A}">
      <dgm:prSet/>
      <dgm:spPr/>
      <dgm:t>
        <a:bodyPr/>
        <a:lstStyle/>
        <a:p>
          <a:endParaRPr lang="es-ES" sz="1800"/>
        </a:p>
      </dgm:t>
    </dgm:pt>
    <dgm:pt modelId="{F7914ABD-4BCC-4D0A-94B9-CD309C300A34}" type="sibTrans" cxnId="{FF5FFA23-FC33-450F-8A04-73077696190A}">
      <dgm:prSet/>
      <dgm:spPr/>
      <dgm:t>
        <a:bodyPr/>
        <a:lstStyle/>
        <a:p>
          <a:endParaRPr lang="es-ES" sz="1800"/>
        </a:p>
      </dgm:t>
    </dgm:pt>
    <dgm:pt modelId="{2DBB2439-C3D4-4CF2-9D9A-618D7913649E}">
      <dgm:prSe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sz="1800" dirty="0"/>
            <a:t>Broad aggregate function support:</a:t>
          </a:r>
        </a:p>
        <a:p>
          <a:r>
            <a:rPr lang="en-US" sz="1800" dirty="0">
              <a:latin typeface="+mj-lt"/>
            </a:rPr>
            <a:t>MAX</a:t>
          </a:r>
          <a:r>
            <a:rPr lang="en-US" sz="1800" baseline="0" dirty="0">
              <a:latin typeface="+mj-lt"/>
            </a:rPr>
            <a:t>, </a:t>
          </a:r>
          <a:r>
            <a:rPr lang="en-US" sz="1800" dirty="0">
              <a:latin typeface="+mj-lt"/>
            </a:rPr>
            <a:t>MIN, AVG, SUM, VAR, STDEV, COUNT, COUNT_BIG </a:t>
          </a:r>
          <a:endParaRPr lang="en-US" sz="1800" dirty="0"/>
        </a:p>
      </dgm:t>
    </dgm:pt>
    <dgm:pt modelId="{A9B4AFB4-D115-4B75-8E60-671F56DCB1D8}" type="parTrans" cxnId="{027A535E-A064-4D7C-9C04-FC572C134549}">
      <dgm:prSet/>
      <dgm:spPr/>
      <dgm:t>
        <a:bodyPr/>
        <a:lstStyle/>
        <a:p>
          <a:endParaRPr lang="es-ES" sz="1800"/>
        </a:p>
      </dgm:t>
    </dgm:pt>
    <dgm:pt modelId="{973D518E-C7AB-4DAA-BF4E-B1AE72A562D4}" type="sibTrans" cxnId="{027A535E-A064-4D7C-9C04-FC572C134549}">
      <dgm:prSet/>
      <dgm:spPr/>
      <dgm:t>
        <a:bodyPr/>
        <a:lstStyle/>
        <a:p>
          <a:endParaRPr lang="es-ES" sz="1800"/>
        </a:p>
      </dgm:t>
    </dgm:pt>
    <dgm:pt modelId="{BA0C5218-5CA1-41D6-B7F3-562D80438204}">
      <dgm:prSe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sz="1800" dirty="0">
              <a:latin typeface="+mj-lt"/>
            </a:rPr>
            <a:t>SQL Pool MPP query optimizer will use MVs, even if not referenced in the query.</a:t>
          </a:r>
        </a:p>
      </dgm:t>
    </dgm:pt>
    <dgm:pt modelId="{08DA6EE1-5168-469D-A06A-E9330D814B37}" type="parTrans" cxnId="{D37F8145-AC1F-47EA-AE48-42D874BD88CD}">
      <dgm:prSet/>
      <dgm:spPr/>
      <dgm:t>
        <a:bodyPr/>
        <a:lstStyle/>
        <a:p>
          <a:endParaRPr lang="es-ES" sz="1800"/>
        </a:p>
      </dgm:t>
    </dgm:pt>
    <dgm:pt modelId="{554AB53F-F696-43D6-AF36-3ABC5FCF07BB}" type="sibTrans" cxnId="{D37F8145-AC1F-47EA-AE48-42D874BD88CD}">
      <dgm:prSet/>
      <dgm:spPr/>
      <dgm:t>
        <a:bodyPr/>
        <a:lstStyle/>
        <a:p>
          <a:endParaRPr lang="es-ES" sz="1800"/>
        </a:p>
      </dgm:t>
    </dgm:pt>
    <dgm:pt modelId="{B95E2B22-FCA7-4929-A154-238F7FDB2F1F}">
      <dgm:prSet phldrT="[Text]" custT="1"/>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t>
        <a:bodyPr/>
        <a:lstStyle/>
        <a:p>
          <a:r>
            <a:rPr lang="en-US" sz="1800" b="0" i="0" dirty="0"/>
            <a:t>Reduced execution time for complex queries with JOINs and aggregate functions.</a:t>
          </a:r>
          <a:endParaRPr lang="es-ES" sz="1800" dirty="0"/>
        </a:p>
      </dgm:t>
    </dgm:pt>
    <dgm:pt modelId="{FB96118E-2DF3-46EC-9F02-DD62B14BF019}" type="parTrans" cxnId="{65A1FCBC-6D55-4AAD-B21F-77205BBCD7D7}">
      <dgm:prSet/>
      <dgm:spPr/>
      <dgm:t>
        <a:bodyPr/>
        <a:lstStyle/>
        <a:p>
          <a:endParaRPr lang="es-ES" sz="1800"/>
        </a:p>
      </dgm:t>
    </dgm:pt>
    <dgm:pt modelId="{9C96CC0A-18F2-4F41-AB3C-6FB2CAA327A2}" type="sibTrans" cxnId="{65A1FCBC-6D55-4AAD-B21F-77205BBCD7D7}">
      <dgm:prSet/>
      <dgm:spPr/>
      <dgm:t>
        <a:bodyPr/>
        <a:lstStyle/>
        <a:p>
          <a:endParaRPr lang="es-ES" sz="1800"/>
        </a:p>
      </dgm:t>
    </dgm:pt>
    <dgm:pt modelId="{D543A7F4-8141-4B8D-9042-45CF0407EDE1}" type="pres">
      <dgm:prSet presAssocID="{B53F3D88-EFD7-4E20-87A9-91C2B40A239F}" presName="Name0" presStyleCnt="0">
        <dgm:presLayoutVars>
          <dgm:chMax val="7"/>
          <dgm:chPref val="7"/>
          <dgm:dir/>
        </dgm:presLayoutVars>
      </dgm:prSet>
      <dgm:spPr/>
    </dgm:pt>
    <dgm:pt modelId="{934F230A-1510-4630-85F1-9B0398322583}" type="pres">
      <dgm:prSet presAssocID="{B53F3D88-EFD7-4E20-87A9-91C2B40A239F}" presName="Name1" presStyleCnt="0"/>
      <dgm:spPr/>
    </dgm:pt>
    <dgm:pt modelId="{33F45A81-7171-4F66-9122-805390308C0F}" type="pres">
      <dgm:prSet presAssocID="{B53F3D88-EFD7-4E20-87A9-91C2B40A239F}" presName="cycle" presStyleCnt="0"/>
      <dgm:spPr/>
    </dgm:pt>
    <dgm:pt modelId="{E6833A82-1A73-4344-B70B-12F4855BCF4B}" type="pres">
      <dgm:prSet presAssocID="{B53F3D88-EFD7-4E20-87A9-91C2B40A239F}" presName="srcNode" presStyleLbl="node1" presStyleIdx="0" presStyleCnt="4"/>
      <dgm:spPr/>
    </dgm:pt>
    <dgm:pt modelId="{2A360E9B-5922-4B26-9EEE-C3B59EAD339A}" type="pres">
      <dgm:prSet presAssocID="{B53F3D88-EFD7-4E20-87A9-91C2B40A239F}" presName="conn" presStyleLbl="parChTrans1D2" presStyleIdx="0" presStyleCnt="1"/>
      <dgm:spPr/>
    </dgm:pt>
    <dgm:pt modelId="{601B44A3-026C-40E6-85C1-EAEA72BB936A}" type="pres">
      <dgm:prSet presAssocID="{B53F3D88-EFD7-4E20-87A9-91C2B40A239F}" presName="extraNode" presStyleLbl="node1" presStyleIdx="0" presStyleCnt="4"/>
      <dgm:spPr/>
    </dgm:pt>
    <dgm:pt modelId="{2EEEB1EB-2ACC-40DC-84BF-E7CFF3904BE7}" type="pres">
      <dgm:prSet presAssocID="{B53F3D88-EFD7-4E20-87A9-91C2B40A239F}" presName="dstNode" presStyleLbl="node1" presStyleIdx="0" presStyleCnt="4"/>
      <dgm:spPr/>
    </dgm:pt>
    <dgm:pt modelId="{F78A7234-0C79-48B8-8613-B47769C34991}" type="pres">
      <dgm:prSet presAssocID="{B95E2B22-FCA7-4929-A154-238F7FDB2F1F}" presName="text_1" presStyleLbl="node1" presStyleIdx="0" presStyleCnt="4">
        <dgm:presLayoutVars>
          <dgm:bulletEnabled val="1"/>
        </dgm:presLayoutVars>
      </dgm:prSet>
      <dgm:spPr/>
    </dgm:pt>
    <dgm:pt modelId="{BB3B9901-8D3C-4D12-9BA8-C24DEF723DB3}" type="pres">
      <dgm:prSet presAssocID="{B95E2B22-FCA7-4929-A154-238F7FDB2F1F}" presName="accent_1" presStyleCnt="0"/>
      <dgm:spPr/>
    </dgm:pt>
    <dgm:pt modelId="{366A2403-9B86-41B0-ADB6-6B098F1220AD}" type="pres">
      <dgm:prSet presAssocID="{B95E2B22-FCA7-4929-A154-238F7FDB2F1F}" presName="accentRepeatNode" presStyleLbl="solidFgAcc1" presStyleIdx="0"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CC064C74-8E7B-43F6-986E-E63D0EBF528A}" type="pres">
      <dgm:prSet presAssocID="{716CF926-D058-4FC2-AF2F-5B9E416B8BFA}" presName="text_2" presStyleLbl="node1" presStyleIdx="1" presStyleCnt="4">
        <dgm:presLayoutVars>
          <dgm:bulletEnabled val="1"/>
        </dgm:presLayoutVars>
      </dgm:prSet>
      <dgm:spPr/>
    </dgm:pt>
    <dgm:pt modelId="{B37298BE-9AC2-432C-BD53-6FF1B306CF42}" type="pres">
      <dgm:prSet presAssocID="{716CF926-D058-4FC2-AF2F-5B9E416B8BFA}" presName="accent_2" presStyleCnt="0"/>
      <dgm:spPr/>
    </dgm:pt>
    <dgm:pt modelId="{AE20886A-BB74-436D-BB31-1E81364D7101}" type="pres">
      <dgm:prSet presAssocID="{716CF926-D058-4FC2-AF2F-5B9E416B8BFA}" presName="accentRepeatNode" presStyleLbl="solidFgAcc1" presStyleIdx="1"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D348662A-A46C-42DB-ABD7-53E159863628}" type="pres">
      <dgm:prSet presAssocID="{2DBB2439-C3D4-4CF2-9D9A-618D7913649E}" presName="text_3" presStyleLbl="node1" presStyleIdx="2" presStyleCnt="4">
        <dgm:presLayoutVars>
          <dgm:bulletEnabled val="1"/>
        </dgm:presLayoutVars>
      </dgm:prSet>
      <dgm:spPr/>
    </dgm:pt>
    <dgm:pt modelId="{7AF32358-6C19-4247-9B9F-83B5488408AD}" type="pres">
      <dgm:prSet presAssocID="{2DBB2439-C3D4-4CF2-9D9A-618D7913649E}" presName="accent_3" presStyleCnt="0"/>
      <dgm:spPr/>
    </dgm:pt>
    <dgm:pt modelId="{53CF598B-EF60-4693-93B7-B166734EEE73}" type="pres">
      <dgm:prSet presAssocID="{2DBB2439-C3D4-4CF2-9D9A-618D7913649E}" presName="accentRepeatNode" presStyleLbl="solidFgAcc1" presStyleIdx="2"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9CD728EB-A38A-485A-96B3-49BB157F531C}" type="pres">
      <dgm:prSet presAssocID="{BA0C5218-5CA1-41D6-B7F3-562D80438204}" presName="text_4" presStyleLbl="node1" presStyleIdx="3" presStyleCnt="4">
        <dgm:presLayoutVars>
          <dgm:bulletEnabled val="1"/>
        </dgm:presLayoutVars>
      </dgm:prSet>
      <dgm:spPr/>
    </dgm:pt>
    <dgm:pt modelId="{A8CBE721-0963-4541-A382-4C69925A4812}" type="pres">
      <dgm:prSet presAssocID="{BA0C5218-5CA1-41D6-B7F3-562D80438204}" presName="accent_4" presStyleCnt="0"/>
      <dgm:spPr/>
    </dgm:pt>
    <dgm:pt modelId="{CE4E800E-2A36-47E5-8632-2A6DC209A562}" type="pres">
      <dgm:prSet presAssocID="{BA0C5218-5CA1-41D6-B7F3-562D80438204}" presName="accentRepeatNode" presStyleLbl="solidFgAcc1" presStyleIdx="3"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Lst>
  <dgm:cxnLst>
    <dgm:cxn modelId="{7CDC390A-3BD2-4770-9BD0-04907CC87A48}" type="presOf" srcId="{B53F3D88-EFD7-4E20-87A9-91C2B40A239F}" destId="{D543A7F4-8141-4B8D-9042-45CF0407EDE1}" srcOrd="0" destOrd="0" presId="urn:microsoft.com/office/officeart/2008/layout/VerticalCurvedList"/>
    <dgm:cxn modelId="{34A84511-34E0-4CEA-BD4F-31C159DB1DF2}" type="presOf" srcId="{9C96CC0A-18F2-4F41-AB3C-6FB2CAA327A2}" destId="{2A360E9B-5922-4B26-9EEE-C3B59EAD339A}" srcOrd="0" destOrd="0" presId="urn:microsoft.com/office/officeart/2008/layout/VerticalCurvedList"/>
    <dgm:cxn modelId="{FF5FFA23-FC33-450F-8A04-73077696190A}" srcId="{B53F3D88-EFD7-4E20-87A9-91C2B40A239F}" destId="{716CF926-D058-4FC2-AF2F-5B9E416B8BFA}" srcOrd="1" destOrd="0" parTransId="{07C1A545-BE9F-48DE-ADF7-84C0E5E971B7}" sibTransId="{F7914ABD-4BCC-4D0A-94B9-CD309C300A34}"/>
    <dgm:cxn modelId="{027A535E-A064-4D7C-9C04-FC572C134549}" srcId="{B53F3D88-EFD7-4E20-87A9-91C2B40A239F}" destId="{2DBB2439-C3D4-4CF2-9D9A-618D7913649E}" srcOrd="2" destOrd="0" parTransId="{A9B4AFB4-D115-4B75-8E60-671F56DCB1D8}" sibTransId="{973D518E-C7AB-4DAA-BF4E-B1AE72A562D4}"/>
    <dgm:cxn modelId="{D37F8145-AC1F-47EA-AE48-42D874BD88CD}" srcId="{B53F3D88-EFD7-4E20-87A9-91C2B40A239F}" destId="{BA0C5218-5CA1-41D6-B7F3-562D80438204}" srcOrd="3" destOrd="0" parTransId="{08DA6EE1-5168-469D-A06A-E9330D814B37}" sibTransId="{554AB53F-F696-43D6-AF36-3ABC5FCF07BB}"/>
    <dgm:cxn modelId="{A353754B-3401-4A63-AB6B-96225C23EB5B}" type="presOf" srcId="{B95E2B22-FCA7-4929-A154-238F7FDB2F1F}" destId="{F78A7234-0C79-48B8-8613-B47769C34991}" srcOrd="0" destOrd="0" presId="urn:microsoft.com/office/officeart/2008/layout/VerticalCurvedList"/>
    <dgm:cxn modelId="{EE650780-2532-4484-B9C6-C8E7EBF14AC8}" type="presOf" srcId="{716CF926-D058-4FC2-AF2F-5B9E416B8BFA}" destId="{CC064C74-8E7B-43F6-986E-E63D0EBF528A}" srcOrd="0" destOrd="0" presId="urn:microsoft.com/office/officeart/2008/layout/VerticalCurvedList"/>
    <dgm:cxn modelId="{EB3F4187-C39F-46CA-9DFA-413EBA9B8994}" type="presOf" srcId="{2DBB2439-C3D4-4CF2-9D9A-618D7913649E}" destId="{D348662A-A46C-42DB-ABD7-53E159863628}" srcOrd="0" destOrd="0" presId="urn:microsoft.com/office/officeart/2008/layout/VerticalCurvedList"/>
    <dgm:cxn modelId="{76C3B7B7-F9DA-4E85-82AB-E6F496D579BC}" type="presOf" srcId="{BA0C5218-5CA1-41D6-B7F3-562D80438204}" destId="{9CD728EB-A38A-485A-96B3-49BB157F531C}" srcOrd="0" destOrd="0" presId="urn:microsoft.com/office/officeart/2008/layout/VerticalCurvedList"/>
    <dgm:cxn modelId="{65A1FCBC-6D55-4AAD-B21F-77205BBCD7D7}" srcId="{B53F3D88-EFD7-4E20-87A9-91C2B40A239F}" destId="{B95E2B22-FCA7-4929-A154-238F7FDB2F1F}" srcOrd="0" destOrd="0" parTransId="{FB96118E-2DF3-46EC-9F02-DD62B14BF019}" sibTransId="{9C96CC0A-18F2-4F41-AB3C-6FB2CAA327A2}"/>
    <dgm:cxn modelId="{AC2CDF21-2417-4199-BD69-78B211BA0DD7}" type="presParOf" srcId="{D543A7F4-8141-4B8D-9042-45CF0407EDE1}" destId="{934F230A-1510-4630-85F1-9B0398322583}" srcOrd="0" destOrd="0" presId="urn:microsoft.com/office/officeart/2008/layout/VerticalCurvedList"/>
    <dgm:cxn modelId="{22B512AD-42B2-40B5-B9DF-BDC2C232AA87}" type="presParOf" srcId="{934F230A-1510-4630-85F1-9B0398322583}" destId="{33F45A81-7171-4F66-9122-805390308C0F}" srcOrd="0" destOrd="0" presId="urn:microsoft.com/office/officeart/2008/layout/VerticalCurvedList"/>
    <dgm:cxn modelId="{7F2F03BA-F2F1-4A04-B9AB-F48E343BE7A4}" type="presParOf" srcId="{33F45A81-7171-4F66-9122-805390308C0F}" destId="{E6833A82-1A73-4344-B70B-12F4855BCF4B}" srcOrd="0" destOrd="0" presId="urn:microsoft.com/office/officeart/2008/layout/VerticalCurvedList"/>
    <dgm:cxn modelId="{21FD65FE-E017-493C-8823-507F3B9B030D}" type="presParOf" srcId="{33F45A81-7171-4F66-9122-805390308C0F}" destId="{2A360E9B-5922-4B26-9EEE-C3B59EAD339A}" srcOrd="1" destOrd="0" presId="urn:microsoft.com/office/officeart/2008/layout/VerticalCurvedList"/>
    <dgm:cxn modelId="{C3396616-7167-4437-9B2E-FFC780BEEB8B}" type="presParOf" srcId="{33F45A81-7171-4F66-9122-805390308C0F}" destId="{601B44A3-026C-40E6-85C1-EAEA72BB936A}" srcOrd="2" destOrd="0" presId="urn:microsoft.com/office/officeart/2008/layout/VerticalCurvedList"/>
    <dgm:cxn modelId="{5183D7BD-6692-4CAB-BE8D-14FC7B0C41B6}" type="presParOf" srcId="{33F45A81-7171-4F66-9122-805390308C0F}" destId="{2EEEB1EB-2ACC-40DC-84BF-E7CFF3904BE7}" srcOrd="3" destOrd="0" presId="urn:microsoft.com/office/officeart/2008/layout/VerticalCurvedList"/>
    <dgm:cxn modelId="{6929FB9B-E4A3-44D2-9D17-5DE86741A993}" type="presParOf" srcId="{934F230A-1510-4630-85F1-9B0398322583}" destId="{F78A7234-0C79-48B8-8613-B47769C34991}" srcOrd="1" destOrd="0" presId="urn:microsoft.com/office/officeart/2008/layout/VerticalCurvedList"/>
    <dgm:cxn modelId="{8444BBE2-C3D2-413A-938B-AA9F8ED19C70}" type="presParOf" srcId="{934F230A-1510-4630-85F1-9B0398322583}" destId="{BB3B9901-8D3C-4D12-9BA8-C24DEF723DB3}" srcOrd="2" destOrd="0" presId="urn:microsoft.com/office/officeart/2008/layout/VerticalCurvedList"/>
    <dgm:cxn modelId="{F28B00EA-F8EF-43DB-B797-ED3D5106DCB6}" type="presParOf" srcId="{BB3B9901-8D3C-4D12-9BA8-C24DEF723DB3}" destId="{366A2403-9B86-41B0-ADB6-6B098F1220AD}" srcOrd="0" destOrd="0" presId="urn:microsoft.com/office/officeart/2008/layout/VerticalCurvedList"/>
    <dgm:cxn modelId="{1E537251-CC28-436E-961F-2AD185BFB687}" type="presParOf" srcId="{934F230A-1510-4630-85F1-9B0398322583}" destId="{CC064C74-8E7B-43F6-986E-E63D0EBF528A}" srcOrd="3" destOrd="0" presId="urn:microsoft.com/office/officeart/2008/layout/VerticalCurvedList"/>
    <dgm:cxn modelId="{46CE9C42-751C-42AF-8338-51F469770C05}" type="presParOf" srcId="{934F230A-1510-4630-85F1-9B0398322583}" destId="{B37298BE-9AC2-432C-BD53-6FF1B306CF42}" srcOrd="4" destOrd="0" presId="urn:microsoft.com/office/officeart/2008/layout/VerticalCurvedList"/>
    <dgm:cxn modelId="{65A55F0F-E55B-434C-8D60-FAB2B1EFC52C}" type="presParOf" srcId="{B37298BE-9AC2-432C-BD53-6FF1B306CF42}" destId="{AE20886A-BB74-436D-BB31-1E81364D7101}" srcOrd="0" destOrd="0" presId="urn:microsoft.com/office/officeart/2008/layout/VerticalCurvedList"/>
    <dgm:cxn modelId="{7CC7F7A4-EA7E-487B-B0B9-426C5FC510C8}" type="presParOf" srcId="{934F230A-1510-4630-85F1-9B0398322583}" destId="{D348662A-A46C-42DB-ABD7-53E159863628}" srcOrd="5" destOrd="0" presId="urn:microsoft.com/office/officeart/2008/layout/VerticalCurvedList"/>
    <dgm:cxn modelId="{7552E6BE-9975-4503-BB05-7EEC4FEBEA86}" type="presParOf" srcId="{934F230A-1510-4630-85F1-9B0398322583}" destId="{7AF32358-6C19-4247-9B9F-83B5488408AD}" srcOrd="6" destOrd="0" presId="urn:microsoft.com/office/officeart/2008/layout/VerticalCurvedList"/>
    <dgm:cxn modelId="{C5F7DD2B-6DD5-41AB-BDD6-8CC5CE68FD42}" type="presParOf" srcId="{7AF32358-6C19-4247-9B9F-83B5488408AD}" destId="{53CF598B-EF60-4693-93B7-B166734EEE73}" srcOrd="0" destOrd="0" presId="urn:microsoft.com/office/officeart/2008/layout/VerticalCurvedList"/>
    <dgm:cxn modelId="{E1770F71-7299-423E-A439-7012D3EAEA77}" type="presParOf" srcId="{934F230A-1510-4630-85F1-9B0398322583}" destId="{9CD728EB-A38A-485A-96B3-49BB157F531C}" srcOrd="7" destOrd="0" presId="urn:microsoft.com/office/officeart/2008/layout/VerticalCurvedList"/>
    <dgm:cxn modelId="{E181BD65-A09D-4062-98A2-396A5BC60F52}" type="presParOf" srcId="{934F230A-1510-4630-85F1-9B0398322583}" destId="{A8CBE721-0963-4541-A382-4C69925A4812}" srcOrd="8" destOrd="0" presId="urn:microsoft.com/office/officeart/2008/layout/VerticalCurvedList"/>
    <dgm:cxn modelId="{81E149B7-159E-4B21-AE8F-B0F4CC3FAFA1}" type="presParOf" srcId="{A8CBE721-0963-4541-A382-4C69925A4812}" destId="{CE4E800E-2A36-47E5-8632-2A6DC209A56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989E8406-BECB-4555-86BD-36797AF669BC}"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s-ES"/>
        </a:p>
      </dgm:t>
    </dgm:pt>
    <dgm:pt modelId="{2E71235B-A719-4682-851F-F3B0CE579533}">
      <dgm:prSet phldrT="[Text]" custT="1"/>
      <dgm:spPr>
        <a:scene3d>
          <a:camera prst="orthographicFront"/>
          <a:lightRig rig="threePt" dir="t"/>
        </a:scene3d>
        <a:sp3d>
          <a:bevelT prst="angle"/>
        </a:sp3d>
      </dgm:spPr>
      <dgm:t>
        <a:bodyPr/>
        <a:lstStyle/>
        <a:p>
          <a:pPr>
            <a:buNone/>
          </a:pPr>
          <a:r>
            <a:rPr lang="en-US" sz="2800" dirty="0"/>
            <a:t>MVs are stored on disk</a:t>
          </a:r>
          <a:endParaRPr lang="es-ES" sz="2800" dirty="0"/>
        </a:p>
      </dgm:t>
    </dgm:pt>
    <dgm:pt modelId="{12FED1BF-64F1-4E84-BD43-E6EBBB244724}" type="parTrans" cxnId="{A7E0A3E7-2FCD-4780-84D8-D24A6A5E4ACB}">
      <dgm:prSet/>
      <dgm:spPr/>
      <dgm:t>
        <a:bodyPr/>
        <a:lstStyle/>
        <a:p>
          <a:endParaRPr lang="es-ES"/>
        </a:p>
      </dgm:t>
    </dgm:pt>
    <dgm:pt modelId="{0860CB21-1C2D-49BB-9BCE-200870124DD5}" type="sibTrans" cxnId="{A7E0A3E7-2FCD-4780-84D8-D24A6A5E4ACB}">
      <dgm:prSet/>
      <dgm:spPr/>
      <dgm:t>
        <a:bodyPr/>
        <a:lstStyle/>
        <a:p>
          <a:endParaRPr lang="es-ES"/>
        </a:p>
      </dgm:t>
    </dgm:pt>
    <dgm:pt modelId="{59503662-D107-4ECA-A22E-A0A68A3D6C61}">
      <dgm:prSet custT="1"/>
      <dgm:spPr>
        <a:scene3d>
          <a:camera prst="orthographicFront"/>
          <a:lightRig rig="threePt" dir="t"/>
        </a:scene3d>
        <a:sp3d>
          <a:bevelT prst="angle"/>
        </a:sp3d>
      </dgm:spPr>
      <dgm:t>
        <a:bodyPr/>
        <a:lstStyle/>
        <a:p>
          <a:r>
            <a:rPr lang="en-US" sz="2800" dirty="0"/>
            <a:t>MVs are recomputed in real time</a:t>
          </a:r>
        </a:p>
      </dgm:t>
    </dgm:pt>
    <dgm:pt modelId="{5DB46719-8AC7-4CAA-8C6A-3149019B2CFF}" type="parTrans" cxnId="{B3CAC6D9-B25D-4731-A6C7-C99FD1E76FC3}">
      <dgm:prSet/>
      <dgm:spPr/>
      <dgm:t>
        <a:bodyPr/>
        <a:lstStyle/>
        <a:p>
          <a:endParaRPr lang="es-ES"/>
        </a:p>
      </dgm:t>
    </dgm:pt>
    <dgm:pt modelId="{23C8F9CF-A5B1-49D0-A4AB-F19AA34194D9}" type="sibTrans" cxnId="{B3CAC6D9-B25D-4731-A6C7-C99FD1E76FC3}">
      <dgm:prSet/>
      <dgm:spPr/>
      <dgm:t>
        <a:bodyPr/>
        <a:lstStyle/>
        <a:p>
          <a:endParaRPr lang="es-ES"/>
        </a:p>
      </dgm:t>
    </dgm:pt>
    <dgm:pt modelId="{6227E0B1-3F1C-47EF-8EC4-88F836063C1B}">
      <dgm:prSet custT="1"/>
      <dgm:spPr>
        <a:scene3d>
          <a:camera prst="orthographicFront"/>
          <a:lightRig rig="threePt" dir="t"/>
        </a:scene3d>
        <a:sp3d>
          <a:bevelT prst="angle"/>
        </a:sp3d>
      </dgm:spPr>
      <dgm:t>
        <a:bodyPr/>
        <a:lstStyle/>
        <a:p>
          <a:r>
            <a:rPr lang="en-US" sz="2800" dirty="0"/>
            <a:t>MVs can be created on Partitioned tables</a:t>
          </a:r>
        </a:p>
      </dgm:t>
    </dgm:pt>
    <dgm:pt modelId="{02C3AB3D-084E-4312-8CE8-9D0E8CDDD613}" type="parTrans" cxnId="{3CB446F8-5CEF-4FEA-A6B2-258AE5E005B3}">
      <dgm:prSet/>
      <dgm:spPr/>
      <dgm:t>
        <a:bodyPr/>
        <a:lstStyle/>
        <a:p>
          <a:endParaRPr lang="es-ES"/>
        </a:p>
      </dgm:t>
    </dgm:pt>
    <dgm:pt modelId="{B418EAD1-E9C7-4B1C-96C1-4929A79F8AB6}" type="sibTrans" cxnId="{3CB446F8-5CEF-4FEA-A6B2-258AE5E005B3}">
      <dgm:prSet/>
      <dgm:spPr/>
      <dgm:t>
        <a:bodyPr/>
        <a:lstStyle/>
        <a:p>
          <a:endParaRPr lang="es-ES"/>
        </a:p>
      </dgm:t>
    </dgm:pt>
    <dgm:pt modelId="{0705835D-08C0-4507-A1A4-F998272DB638}">
      <dgm:prSet custT="1"/>
      <dgm:spPr/>
      <dgm:t>
        <a:bodyPr/>
        <a:lstStyle/>
        <a:p>
          <a:r>
            <a:rPr lang="en-US" sz="2000" dirty="0"/>
            <a:t>Incurs processing overhead for the UPDATE query(s)</a:t>
          </a:r>
        </a:p>
      </dgm:t>
    </dgm:pt>
    <dgm:pt modelId="{6EF9C58E-3830-4C12-B9C7-5B7C82B7EE01}" type="parTrans" cxnId="{29308FB3-4022-496E-A784-9B744C5D9A39}">
      <dgm:prSet/>
      <dgm:spPr/>
      <dgm:t>
        <a:bodyPr/>
        <a:lstStyle/>
        <a:p>
          <a:endParaRPr lang="en-US"/>
        </a:p>
      </dgm:t>
    </dgm:pt>
    <dgm:pt modelId="{900A6817-845E-49AB-A8A4-8E0C8DBD2102}" type="sibTrans" cxnId="{29308FB3-4022-496E-A784-9B744C5D9A39}">
      <dgm:prSet/>
      <dgm:spPr/>
      <dgm:t>
        <a:bodyPr/>
        <a:lstStyle/>
        <a:p>
          <a:endParaRPr lang="en-US"/>
        </a:p>
      </dgm:t>
    </dgm:pt>
    <dgm:pt modelId="{E22C01F0-266A-4779-AB61-46A0AE90D7BA}">
      <dgm:prSet custT="1"/>
      <dgm:spPr/>
      <dgm:t>
        <a:bodyPr/>
        <a:lstStyle/>
        <a:p>
          <a:r>
            <a:rPr lang="en-US" sz="2000" dirty="0"/>
            <a:t>SPLIT/MERGE are supported</a:t>
          </a:r>
        </a:p>
      </dgm:t>
    </dgm:pt>
    <dgm:pt modelId="{667424AD-3F94-4B5E-BB98-961F2EF62E4D}" type="parTrans" cxnId="{B7440576-9F98-45C2-8861-720D84D1510C}">
      <dgm:prSet/>
      <dgm:spPr/>
      <dgm:t>
        <a:bodyPr/>
        <a:lstStyle/>
        <a:p>
          <a:endParaRPr lang="en-US"/>
        </a:p>
      </dgm:t>
    </dgm:pt>
    <dgm:pt modelId="{0DA31945-B34D-4600-9610-DEAC56924C80}" type="sibTrans" cxnId="{B7440576-9F98-45C2-8861-720D84D1510C}">
      <dgm:prSet/>
      <dgm:spPr/>
      <dgm:t>
        <a:bodyPr/>
        <a:lstStyle/>
        <a:p>
          <a:endParaRPr lang="en-US"/>
        </a:p>
      </dgm:t>
    </dgm:pt>
    <dgm:pt modelId="{54AFA7F2-C098-4EC3-B941-1F8B6D971DA7}">
      <dgm:prSet custT="1"/>
      <dgm:spPr/>
      <dgm:t>
        <a:bodyPr/>
        <a:lstStyle/>
        <a:p>
          <a:r>
            <a:rPr lang="en-US" sz="2000" dirty="0"/>
            <a:t>SWITCH operations on the table are NOT supported</a:t>
          </a:r>
        </a:p>
      </dgm:t>
    </dgm:pt>
    <dgm:pt modelId="{3C05B5CC-E9DD-4607-B19F-532FD8FFF339}" type="parTrans" cxnId="{973D2806-572B-4940-8FBF-12FDA0D8E855}">
      <dgm:prSet/>
      <dgm:spPr/>
      <dgm:t>
        <a:bodyPr/>
        <a:lstStyle/>
        <a:p>
          <a:endParaRPr lang="en-US"/>
        </a:p>
      </dgm:t>
    </dgm:pt>
    <dgm:pt modelId="{DD7A4BEC-FFAA-4E7F-A051-B9CC618CAE1C}" type="sibTrans" cxnId="{973D2806-572B-4940-8FBF-12FDA0D8E855}">
      <dgm:prSet/>
      <dgm:spPr/>
      <dgm:t>
        <a:bodyPr/>
        <a:lstStyle/>
        <a:p>
          <a:endParaRPr lang="en-US"/>
        </a:p>
      </dgm:t>
    </dgm:pt>
    <dgm:pt modelId="{8CB4084F-D10F-4D99-87AF-5D832629B197}">
      <dgm:prSet phldrT="[Text]" custT="1"/>
      <dgm:spPr/>
      <dgm:t>
        <a:bodyPr/>
        <a:lstStyle/>
        <a:p>
          <a:pPr>
            <a:buFont typeface="Arial" panose="020B0604020202020204" pitchFamily="34" charset="0"/>
            <a:buChar char="•"/>
          </a:pPr>
          <a:r>
            <a:rPr lang="en-US" sz="2000"/>
            <a:t>Incurs storage costs</a:t>
          </a:r>
          <a:endParaRPr lang="es-ES" sz="2800" dirty="0"/>
        </a:p>
      </dgm:t>
    </dgm:pt>
    <dgm:pt modelId="{5CAB8316-EF14-455B-BE83-A9D2E3C79B29}" type="parTrans" cxnId="{DDA79889-8A44-43D5-8281-62E02CEFFD1C}">
      <dgm:prSet/>
      <dgm:spPr/>
    </dgm:pt>
    <dgm:pt modelId="{ECCB2CE6-2C42-4609-AF09-0B827F58927F}" type="sibTrans" cxnId="{DDA79889-8A44-43D5-8281-62E02CEFFD1C}">
      <dgm:prSet/>
      <dgm:spPr/>
    </dgm:pt>
    <dgm:pt modelId="{1C7E11AB-5BDC-4CA4-B35E-625EC25BF8BE}" type="pres">
      <dgm:prSet presAssocID="{989E8406-BECB-4555-86BD-36797AF669BC}" presName="linear" presStyleCnt="0">
        <dgm:presLayoutVars>
          <dgm:dir/>
          <dgm:animLvl val="lvl"/>
          <dgm:resizeHandles val="exact"/>
        </dgm:presLayoutVars>
      </dgm:prSet>
      <dgm:spPr/>
    </dgm:pt>
    <dgm:pt modelId="{64219CEB-4491-4361-AA8D-F64DAAC323F5}" type="pres">
      <dgm:prSet presAssocID="{2E71235B-A719-4682-851F-F3B0CE579533}" presName="parentLin" presStyleCnt="0"/>
      <dgm:spPr/>
    </dgm:pt>
    <dgm:pt modelId="{A83A45EF-EC77-42AB-827D-72B9DE78BBDE}" type="pres">
      <dgm:prSet presAssocID="{2E71235B-A719-4682-851F-F3B0CE579533}" presName="parentLeftMargin" presStyleLbl="node1" presStyleIdx="0" presStyleCnt="3"/>
      <dgm:spPr/>
    </dgm:pt>
    <dgm:pt modelId="{8AF6147D-FA8C-4C4E-AC67-93F381B1FBB7}" type="pres">
      <dgm:prSet presAssocID="{2E71235B-A719-4682-851F-F3B0CE579533}" presName="parentText" presStyleLbl="node1" presStyleIdx="0" presStyleCnt="3">
        <dgm:presLayoutVars>
          <dgm:chMax val="0"/>
          <dgm:bulletEnabled val="1"/>
        </dgm:presLayoutVars>
      </dgm:prSet>
      <dgm:spPr/>
    </dgm:pt>
    <dgm:pt modelId="{FA6F5EE2-560D-4206-9682-56A6833CA3FC}" type="pres">
      <dgm:prSet presAssocID="{2E71235B-A719-4682-851F-F3B0CE579533}" presName="negativeSpace" presStyleCnt="0"/>
      <dgm:spPr/>
    </dgm:pt>
    <dgm:pt modelId="{9D972D94-540C-4C36-88E6-A9E85DD41302}" type="pres">
      <dgm:prSet presAssocID="{2E71235B-A719-4682-851F-F3B0CE579533}" presName="childText" presStyleLbl="conFgAcc1" presStyleIdx="0" presStyleCnt="3">
        <dgm:presLayoutVars>
          <dgm:bulletEnabled val="1"/>
        </dgm:presLayoutVars>
      </dgm:prSet>
      <dgm:spPr/>
    </dgm:pt>
    <dgm:pt modelId="{287F1963-97E8-4235-B84E-D35FDB97BFB4}" type="pres">
      <dgm:prSet presAssocID="{0860CB21-1C2D-49BB-9BCE-200870124DD5}" presName="spaceBetweenRectangles" presStyleCnt="0"/>
      <dgm:spPr/>
    </dgm:pt>
    <dgm:pt modelId="{B806E845-CD72-4CBD-8B7C-5532615082FC}" type="pres">
      <dgm:prSet presAssocID="{59503662-D107-4ECA-A22E-A0A68A3D6C61}" presName="parentLin" presStyleCnt="0"/>
      <dgm:spPr/>
    </dgm:pt>
    <dgm:pt modelId="{2F047475-DE37-432D-B5FA-53E83538D906}" type="pres">
      <dgm:prSet presAssocID="{59503662-D107-4ECA-A22E-A0A68A3D6C61}" presName="parentLeftMargin" presStyleLbl="node1" presStyleIdx="0" presStyleCnt="3"/>
      <dgm:spPr/>
    </dgm:pt>
    <dgm:pt modelId="{5B904CA9-F58A-4CAD-955F-952678340F78}" type="pres">
      <dgm:prSet presAssocID="{59503662-D107-4ECA-A22E-A0A68A3D6C61}" presName="parentText" presStyleLbl="node1" presStyleIdx="1" presStyleCnt="3">
        <dgm:presLayoutVars>
          <dgm:chMax val="0"/>
          <dgm:bulletEnabled val="1"/>
        </dgm:presLayoutVars>
      </dgm:prSet>
      <dgm:spPr/>
    </dgm:pt>
    <dgm:pt modelId="{8B10E319-3E7E-44B0-93AD-D74F57B3F85E}" type="pres">
      <dgm:prSet presAssocID="{59503662-D107-4ECA-A22E-A0A68A3D6C61}" presName="negativeSpace" presStyleCnt="0"/>
      <dgm:spPr/>
    </dgm:pt>
    <dgm:pt modelId="{ECA1CB98-5F4C-44CC-BCDF-4B87A3216E3F}" type="pres">
      <dgm:prSet presAssocID="{59503662-D107-4ECA-A22E-A0A68A3D6C61}" presName="childText" presStyleLbl="conFgAcc1" presStyleIdx="1" presStyleCnt="3">
        <dgm:presLayoutVars>
          <dgm:bulletEnabled val="1"/>
        </dgm:presLayoutVars>
      </dgm:prSet>
      <dgm:spPr/>
    </dgm:pt>
    <dgm:pt modelId="{4FF8E778-6038-41FF-A368-4589469A9AB9}" type="pres">
      <dgm:prSet presAssocID="{23C8F9CF-A5B1-49D0-A4AB-F19AA34194D9}" presName="spaceBetweenRectangles" presStyleCnt="0"/>
      <dgm:spPr/>
    </dgm:pt>
    <dgm:pt modelId="{C89C8000-F35A-40C2-B6A8-9B10C1AEFB11}" type="pres">
      <dgm:prSet presAssocID="{6227E0B1-3F1C-47EF-8EC4-88F836063C1B}" presName="parentLin" presStyleCnt="0"/>
      <dgm:spPr/>
    </dgm:pt>
    <dgm:pt modelId="{88179684-6C44-4306-92EA-D9C89E977000}" type="pres">
      <dgm:prSet presAssocID="{6227E0B1-3F1C-47EF-8EC4-88F836063C1B}" presName="parentLeftMargin" presStyleLbl="node1" presStyleIdx="1" presStyleCnt="3"/>
      <dgm:spPr/>
    </dgm:pt>
    <dgm:pt modelId="{B2A76BAF-15C5-4AE8-8A8D-760DCECEF170}" type="pres">
      <dgm:prSet presAssocID="{6227E0B1-3F1C-47EF-8EC4-88F836063C1B}" presName="parentText" presStyleLbl="node1" presStyleIdx="2" presStyleCnt="3">
        <dgm:presLayoutVars>
          <dgm:chMax val="0"/>
          <dgm:bulletEnabled val="1"/>
        </dgm:presLayoutVars>
      </dgm:prSet>
      <dgm:spPr/>
    </dgm:pt>
    <dgm:pt modelId="{7AC7E51C-DFEF-4033-A238-4348A33C6295}" type="pres">
      <dgm:prSet presAssocID="{6227E0B1-3F1C-47EF-8EC4-88F836063C1B}" presName="negativeSpace" presStyleCnt="0"/>
      <dgm:spPr/>
    </dgm:pt>
    <dgm:pt modelId="{D42ED197-D4ED-4B78-B830-352B3851C36C}" type="pres">
      <dgm:prSet presAssocID="{6227E0B1-3F1C-47EF-8EC4-88F836063C1B}" presName="childText" presStyleLbl="conFgAcc1" presStyleIdx="2" presStyleCnt="3">
        <dgm:presLayoutVars>
          <dgm:bulletEnabled val="1"/>
        </dgm:presLayoutVars>
      </dgm:prSet>
      <dgm:spPr/>
    </dgm:pt>
  </dgm:ptLst>
  <dgm:cxnLst>
    <dgm:cxn modelId="{973D2806-572B-4940-8FBF-12FDA0D8E855}" srcId="{6227E0B1-3F1C-47EF-8EC4-88F836063C1B}" destId="{54AFA7F2-C098-4EC3-B941-1F8B6D971DA7}" srcOrd="1" destOrd="0" parTransId="{3C05B5CC-E9DD-4607-B19F-532FD8FFF339}" sibTransId="{DD7A4BEC-FFAA-4E7F-A051-B9CC618CAE1C}"/>
    <dgm:cxn modelId="{C0C99444-7480-4CB1-9E9A-9242B5FB232C}" type="presOf" srcId="{59503662-D107-4ECA-A22E-A0A68A3D6C61}" destId="{5B904CA9-F58A-4CAD-955F-952678340F78}" srcOrd="1" destOrd="0" presId="urn:microsoft.com/office/officeart/2005/8/layout/list1"/>
    <dgm:cxn modelId="{1549D664-F81C-4BCB-93BA-9A4CF8597AC7}" type="presOf" srcId="{6227E0B1-3F1C-47EF-8EC4-88F836063C1B}" destId="{B2A76BAF-15C5-4AE8-8A8D-760DCECEF170}" srcOrd="1" destOrd="0" presId="urn:microsoft.com/office/officeart/2005/8/layout/list1"/>
    <dgm:cxn modelId="{70379867-37E5-4428-99F6-4107C4B51BBF}" type="presOf" srcId="{2E71235B-A719-4682-851F-F3B0CE579533}" destId="{8AF6147D-FA8C-4C4E-AC67-93F381B1FBB7}" srcOrd="1" destOrd="0" presId="urn:microsoft.com/office/officeart/2005/8/layout/list1"/>
    <dgm:cxn modelId="{ADC55751-9283-46F9-AC3B-031213DE759C}" type="presOf" srcId="{989E8406-BECB-4555-86BD-36797AF669BC}" destId="{1C7E11AB-5BDC-4CA4-B35E-625EC25BF8BE}" srcOrd="0" destOrd="0" presId="urn:microsoft.com/office/officeart/2005/8/layout/list1"/>
    <dgm:cxn modelId="{B7440576-9F98-45C2-8861-720D84D1510C}" srcId="{6227E0B1-3F1C-47EF-8EC4-88F836063C1B}" destId="{E22C01F0-266A-4779-AB61-46A0AE90D7BA}" srcOrd="0" destOrd="0" parTransId="{667424AD-3F94-4B5E-BB98-961F2EF62E4D}" sibTransId="{0DA31945-B34D-4600-9610-DEAC56924C80}"/>
    <dgm:cxn modelId="{9F942C78-4E4F-411A-BA97-4B86AF9FDC06}" type="presOf" srcId="{E22C01F0-266A-4779-AB61-46A0AE90D7BA}" destId="{D42ED197-D4ED-4B78-B830-352B3851C36C}" srcOrd="0" destOrd="0" presId="urn:microsoft.com/office/officeart/2005/8/layout/list1"/>
    <dgm:cxn modelId="{DDA79889-8A44-43D5-8281-62E02CEFFD1C}" srcId="{2E71235B-A719-4682-851F-F3B0CE579533}" destId="{8CB4084F-D10F-4D99-87AF-5D832629B197}" srcOrd="0" destOrd="0" parTransId="{5CAB8316-EF14-455B-BE83-A9D2E3C79B29}" sibTransId="{ECCB2CE6-2C42-4609-AF09-0B827F58927F}"/>
    <dgm:cxn modelId="{4EB91D94-1804-4DCD-8554-2DA5838FC116}" type="presOf" srcId="{0705835D-08C0-4507-A1A4-F998272DB638}" destId="{ECA1CB98-5F4C-44CC-BCDF-4B87A3216E3F}" srcOrd="0" destOrd="0" presId="urn:microsoft.com/office/officeart/2005/8/layout/list1"/>
    <dgm:cxn modelId="{29308FB3-4022-496E-A784-9B744C5D9A39}" srcId="{59503662-D107-4ECA-A22E-A0A68A3D6C61}" destId="{0705835D-08C0-4507-A1A4-F998272DB638}" srcOrd="0" destOrd="0" parTransId="{6EF9C58E-3830-4C12-B9C7-5B7C82B7EE01}" sibTransId="{900A6817-845E-49AB-A8A4-8E0C8DBD2102}"/>
    <dgm:cxn modelId="{12A0D3BD-C61C-49B6-BA52-AFEB055AE962}" type="presOf" srcId="{54AFA7F2-C098-4EC3-B941-1F8B6D971DA7}" destId="{D42ED197-D4ED-4B78-B830-352B3851C36C}" srcOrd="0" destOrd="1" presId="urn:microsoft.com/office/officeart/2005/8/layout/list1"/>
    <dgm:cxn modelId="{48259EC5-8AE3-48E6-A4D4-EA88642DE5A9}" type="presOf" srcId="{2E71235B-A719-4682-851F-F3B0CE579533}" destId="{A83A45EF-EC77-42AB-827D-72B9DE78BBDE}" srcOrd="0" destOrd="0" presId="urn:microsoft.com/office/officeart/2005/8/layout/list1"/>
    <dgm:cxn modelId="{D59837D1-C66F-4149-BE37-C60F1C5DE122}" type="presOf" srcId="{6227E0B1-3F1C-47EF-8EC4-88F836063C1B}" destId="{88179684-6C44-4306-92EA-D9C89E977000}" srcOrd="0" destOrd="0" presId="urn:microsoft.com/office/officeart/2005/8/layout/list1"/>
    <dgm:cxn modelId="{8A5852D6-FB5D-4FF5-B8B1-6B89A145BC20}" type="presOf" srcId="{59503662-D107-4ECA-A22E-A0A68A3D6C61}" destId="{2F047475-DE37-432D-B5FA-53E83538D906}" srcOrd="0" destOrd="0" presId="urn:microsoft.com/office/officeart/2005/8/layout/list1"/>
    <dgm:cxn modelId="{4F84DDD8-2404-4953-81EA-A22BD1FF25FD}" type="presOf" srcId="{8CB4084F-D10F-4D99-87AF-5D832629B197}" destId="{9D972D94-540C-4C36-88E6-A9E85DD41302}" srcOrd="0" destOrd="0" presId="urn:microsoft.com/office/officeart/2005/8/layout/list1"/>
    <dgm:cxn modelId="{B3CAC6D9-B25D-4731-A6C7-C99FD1E76FC3}" srcId="{989E8406-BECB-4555-86BD-36797AF669BC}" destId="{59503662-D107-4ECA-A22E-A0A68A3D6C61}" srcOrd="1" destOrd="0" parTransId="{5DB46719-8AC7-4CAA-8C6A-3149019B2CFF}" sibTransId="{23C8F9CF-A5B1-49D0-A4AB-F19AA34194D9}"/>
    <dgm:cxn modelId="{A7E0A3E7-2FCD-4780-84D8-D24A6A5E4ACB}" srcId="{989E8406-BECB-4555-86BD-36797AF669BC}" destId="{2E71235B-A719-4682-851F-F3B0CE579533}" srcOrd="0" destOrd="0" parTransId="{12FED1BF-64F1-4E84-BD43-E6EBBB244724}" sibTransId="{0860CB21-1C2D-49BB-9BCE-200870124DD5}"/>
    <dgm:cxn modelId="{3CB446F8-5CEF-4FEA-A6B2-258AE5E005B3}" srcId="{989E8406-BECB-4555-86BD-36797AF669BC}" destId="{6227E0B1-3F1C-47EF-8EC4-88F836063C1B}" srcOrd="2" destOrd="0" parTransId="{02C3AB3D-084E-4312-8CE8-9D0E8CDDD613}" sibTransId="{B418EAD1-E9C7-4B1C-96C1-4929A79F8AB6}"/>
    <dgm:cxn modelId="{EE1E3698-E21E-4BAD-95A9-51AF30252F06}" type="presParOf" srcId="{1C7E11AB-5BDC-4CA4-B35E-625EC25BF8BE}" destId="{64219CEB-4491-4361-AA8D-F64DAAC323F5}" srcOrd="0" destOrd="0" presId="urn:microsoft.com/office/officeart/2005/8/layout/list1"/>
    <dgm:cxn modelId="{47FF2333-D1BA-4B31-9A88-D09A179CEF2F}" type="presParOf" srcId="{64219CEB-4491-4361-AA8D-F64DAAC323F5}" destId="{A83A45EF-EC77-42AB-827D-72B9DE78BBDE}" srcOrd="0" destOrd="0" presId="urn:microsoft.com/office/officeart/2005/8/layout/list1"/>
    <dgm:cxn modelId="{63F3529E-233A-4C51-84FF-2BBB3C2749ED}" type="presParOf" srcId="{64219CEB-4491-4361-AA8D-F64DAAC323F5}" destId="{8AF6147D-FA8C-4C4E-AC67-93F381B1FBB7}" srcOrd="1" destOrd="0" presId="urn:microsoft.com/office/officeart/2005/8/layout/list1"/>
    <dgm:cxn modelId="{AA4DABB8-ACBE-4D9F-8170-3AA3C1CD0692}" type="presParOf" srcId="{1C7E11AB-5BDC-4CA4-B35E-625EC25BF8BE}" destId="{FA6F5EE2-560D-4206-9682-56A6833CA3FC}" srcOrd="1" destOrd="0" presId="urn:microsoft.com/office/officeart/2005/8/layout/list1"/>
    <dgm:cxn modelId="{C83702E2-304D-429E-93FA-2CE60E103ED6}" type="presParOf" srcId="{1C7E11AB-5BDC-4CA4-B35E-625EC25BF8BE}" destId="{9D972D94-540C-4C36-88E6-A9E85DD41302}" srcOrd="2" destOrd="0" presId="urn:microsoft.com/office/officeart/2005/8/layout/list1"/>
    <dgm:cxn modelId="{EF1DE7BC-8DCC-4F0A-A756-2117A175EE97}" type="presParOf" srcId="{1C7E11AB-5BDC-4CA4-B35E-625EC25BF8BE}" destId="{287F1963-97E8-4235-B84E-D35FDB97BFB4}" srcOrd="3" destOrd="0" presId="urn:microsoft.com/office/officeart/2005/8/layout/list1"/>
    <dgm:cxn modelId="{29469959-8655-4820-86EA-09D386AB2753}" type="presParOf" srcId="{1C7E11AB-5BDC-4CA4-B35E-625EC25BF8BE}" destId="{B806E845-CD72-4CBD-8B7C-5532615082FC}" srcOrd="4" destOrd="0" presId="urn:microsoft.com/office/officeart/2005/8/layout/list1"/>
    <dgm:cxn modelId="{5B2C6C5E-0EF4-4B76-A2DF-F138BABDCC6A}" type="presParOf" srcId="{B806E845-CD72-4CBD-8B7C-5532615082FC}" destId="{2F047475-DE37-432D-B5FA-53E83538D906}" srcOrd="0" destOrd="0" presId="urn:microsoft.com/office/officeart/2005/8/layout/list1"/>
    <dgm:cxn modelId="{9EB2A291-375D-483E-A267-43C895EFCF70}" type="presParOf" srcId="{B806E845-CD72-4CBD-8B7C-5532615082FC}" destId="{5B904CA9-F58A-4CAD-955F-952678340F78}" srcOrd="1" destOrd="0" presId="urn:microsoft.com/office/officeart/2005/8/layout/list1"/>
    <dgm:cxn modelId="{7D4E57EF-40DC-4958-8F8E-2D1D53DE2F28}" type="presParOf" srcId="{1C7E11AB-5BDC-4CA4-B35E-625EC25BF8BE}" destId="{8B10E319-3E7E-44B0-93AD-D74F57B3F85E}" srcOrd="5" destOrd="0" presId="urn:microsoft.com/office/officeart/2005/8/layout/list1"/>
    <dgm:cxn modelId="{2F4E512A-A99B-4704-AF19-83302F6529E7}" type="presParOf" srcId="{1C7E11AB-5BDC-4CA4-B35E-625EC25BF8BE}" destId="{ECA1CB98-5F4C-44CC-BCDF-4B87A3216E3F}" srcOrd="6" destOrd="0" presId="urn:microsoft.com/office/officeart/2005/8/layout/list1"/>
    <dgm:cxn modelId="{7E16EC01-D140-49C2-A78B-300EC5FFA7B2}" type="presParOf" srcId="{1C7E11AB-5BDC-4CA4-B35E-625EC25BF8BE}" destId="{4FF8E778-6038-41FF-A368-4589469A9AB9}" srcOrd="7" destOrd="0" presId="urn:microsoft.com/office/officeart/2005/8/layout/list1"/>
    <dgm:cxn modelId="{3E29830B-869C-4426-A555-FA00028D9EAE}" type="presParOf" srcId="{1C7E11AB-5BDC-4CA4-B35E-625EC25BF8BE}" destId="{C89C8000-F35A-40C2-B6A8-9B10C1AEFB11}" srcOrd="8" destOrd="0" presId="urn:microsoft.com/office/officeart/2005/8/layout/list1"/>
    <dgm:cxn modelId="{8150DCA5-B451-4A6A-B06F-CB1FC8CBD8B2}" type="presParOf" srcId="{C89C8000-F35A-40C2-B6A8-9B10C1AEFB11}" destId="{88179684-6C44-4306-92EA-D9C89E977000}" srcOrd="0" destOrd="0" presId="urn:microsoft.com/office/officeart/2005/8/layout/list1"/>
    <dgm:cxn modelId="{73ED7818-768D-4044-8405-A0B4955754DA}" type="presParOf" srcId="{C89C8000-F35A-40C2-B6A8-9B10C1AEFB11}" destId="{B2A76BAF-15C5-4AE8-8A8D-760DCECEF170}" srcOrd="1" destOrd="0" presId="urn:microsoft.com/office/officeart/2005/8/layout/list1"/>
    <dgm:cxn modelId="{B3BEDD28-D3B6-4C49-8B54-0B931E9DCC03}" type="presParOf" srcId="{1C7E11AB-5BDC-4CA4-B35E-625EC25BF8BE}" destId="{7AC7E51C-DFEF-4033-A238-4348A33C6295}" srcOrd="9" destOrd="0" presId="urn:microsoft.com/office/officeart/2005/8/layout/list1"/>
    <dgm:cxn modelId="{137D86DE-A8C3-4518-91FD-83AB58F988C8}" type="presParOf" srcId="{1C7E11AB-5BDC-4CA4-B35E-625EC25BF8BE}" destId="{D42ED197-D4ED-4B78-B830-352B3851C36C}"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C2602CB0-3133-40C3-9103-13D2165FAA3E}"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s-ES"/>
        </a:p>
      </dgm:t>
    </dgm:pt>
    <dgm:pt modelId="{94FB43F4-A950-4633-A643-1673F0565F5D}">
      <dgm:prSet phldrT="[Text]" custT="1"/>
      <dgm:spPr/>
      <dgm:t>
        <a:bodyPr/>
        <a:lstStyle/>
        <a:p>
          <a:r>
            <a:rPr lang="en-US" sz="2000" b="0" i="0" dirty="0">
              <a:effectLst/>
              <a:latin typeface="Segoe UI" panose="020B0502040204020203" pitchFamily="34" charset="0"/>
            </a:rPr>
            <a:t>BASE_VIEW_ROWS: Rows in the view’s clustered columnstore index</a:t>
          </a:r>
          <a:endParaRPr lang="es-ES" sz="2000" dirty="0"/>
        </a:p>
      </dgm:t>
    </dgm:pt>
    <dgm:pt modelId="{BE389EED-2A23-4A15-9A42-D7B272D9A868}" type="parTrans" cxnId="{0CEC25F2-8ADA-4C96-9864-F213CDF0B4A3}">
      <dgm:prSet/>
      <dgm:spPr/>
      <dgm:t>
        <a:bodyPr/>
        <a:lstStyle/>
        <a:p>
          <a:endParaRPr lang="es-ES"/>
        </a:p>
      </dgm:t>
    </dgm:pt>
    <dgm:pt modelId="{7F87DB6B-1B1F-461E-BB2F-C598F5CAD113}" type="sibTrans" cxnId="{0CEC25F2-8ADA-4C96-9864-F213CDF0B4A3}">
      <dgm:prSet/>
      <dgm:spPr/>
      <dgm:t>
        <a:bodyPr/>
        <a:lstStyle/>
        <a:p>
          <a:endParaRPr lang="es-ES"/>
        </a:p>
      </dgm:t>
    </dgm:pt>
    <dgm:pt modelId="{364DB8F0-5A67-4467-8296-18FF0DC48980}">
      <dgm:prSet custT="1"/>
      <dgm:spPr/>
      <dgm:t>
        <a:bodyPr/>
        <a:lstStyle/>
        <a:p>
          <a:r>
            <a:rPr lang="en-US" sz="2000" dirty="0">
              <a:latin typeface="Segoe UI" panose="020B0502040204020203" pitchFamily="34" charset="0"/>
            </a:rPr>
            <a:t>TOTAL_ROWS: BASE_VIEW_ROWS + Tracking ROWS</a:t>
          </a:r>
          <a:endParaRPr lang="en-US" sz="2000" b="0" i="0" dirty="0">
            <a:effectLst/>
            <a:latin typeface="Segoe UI" panose="020B0502040204020203" pitchFamily="34" charset="0"/>
          </a:endParaRPr>
        </a:p>
      </dgm:t>
    </dgm:pt>
    <dgm:pt modelId="{B5FC6EEA-54EB-4B16-8A0F-42B6251F0F21}" type="parTrans" cxnId="{FC5D1E9F-1F56-406A-8C15-B26C0A62464D}">
      <dgm:prSet/>
      <dgm:spPr/>
      <dgm:t>
        <a:bodyPr/>
        <a:lstStyle/>
        <a:p>
          <a:endParaRPr lang="es-ES"/>
        </a:p>
      </dgm:t>
    </dgm:pt>
    <dgm:pt modelId="{1B1A6295-F590-4F01-8571-FEC1BDA56C03}" type="sibTrans" cxnId="{FC5D1E9F-1F56-406A-8C15-B26C0A62464D}">
      <dgm:prSet/>
      <dgm:spPr/>
      <dgm:t>
        <a:bodyPr/>
        <a:lstStyle/>
        <a:p>
          <a:endParaRPr lang="es-ES"/>
        </a:p>
      </dgm:t>
    </dgm:pt>
    <dgm:pt modelId="{C0BB0788-E6A1-4058-8D8C-575D5781BD15}">
      <dgm:prSet custT="1"/>
      <dgm:spPr/>
      <dgm:t>
        <a:bodyPr/>
        <a:lstStyle/>
        <a:p>
          <a:r>
            <a:rPr lang="en-US" sz="2000" b="0" i="0" dirty="0">
              <a:effectLst/>
              <a:latin typeface="Segoe UI" panose="020B0502040204020203" pitchFamily="34" charset="0"/>
            </a:rPr>
            <a:t>OVERHEAD_RATIO: TOTAL_ROWS/MAX(1,BASE_VIEW_ROWS).</a:t>
          </a:r>
        </a:p>
      </dgm:t>
    </dgm:pt>
    <dgm:pt modelId="{CFD8C190-9147-497A-A1B7-0D11E642A9A2}" type="parTrans" cxnId="{B9299F34-E361-404C-9B63-8FA94EA6D004}">
      <dgm:prSet/>
      <dgm:spPr/>
      <dgm:t>
        <a:bodyPr/>
        <a:lstStyle/>
        <a:p>
          <a:endParaRPr lang="es-ES"/>
        </a:p>
      </dgm:t>
    </dgm:pt>
    <dgm:pt modelId="{CD8B8156-BEDB-4C81-80FC-9E609C6989DC}" type="sibTrans" cxnId="{B9299F34-E361-404C-9B63-8FA94EA6D004}">
      <dgm:prSet/>
      <dgm:spPr/>
      <dgm:t>
        <a:bodyPr/>
        <a:lstStyle/>
        <a:p>
          <a:endParaRPr lang="es-ES"/>
        </a:p>
      </dgm:t>
    </dgm:pt>
    <dgm:pt modelId="{AD7DEBC6-F3E8-42AB-9872-0339F344D85F}">
      <dgm:prSet phldrT="[Text]" custT="1"/>
      <dgm:spPr/>
      <dgm:t>
        <a:bodyPr/>
        <a:lstStyle/>
        <a:p>
          <a:r>
            <a:rPr lang="en-US" sz="2400" noProof="0" dirty="0"/>
            <a:t>For checking materialized view overhead use </a:t>
          </a:r>
          <a:r>
            <a:rPr lang="es-ES" sz="2400" dirty="0"/>
            <a:t>DBCC_SHOWMATERIALIZEDVIEWOVERHEAD</a:t>
          </a:r>
        </a:p>
      </dgm:t>
    </dgm:pt>
    <dgm:pt modelId="{33DC946A-1342-4713-922F-3760E0373E7D}" type="parTrans" cxnId="{104E7D19-F1F3-485F-9F21-21083C9A374A}">
      <dgm:prSet/>
      <dgm:spPr/>
      <dgm:t>
        <a:bodyPr/>
        <a:lstStyle/>
        <a:p>
          <a:endParaRPr lang="es-ES"/>
        </a:p>
      </dgm:t>
    </dgm:pt>
    <dgm:pt modelId="{0B240B9C-E41D-4769-9300-4441A5E9B7B5}" type="sibTrans" cxnId="{104E7D19-F1F3-485F-9F21-21083C9A374A}">
      <dgm:prSet/>
      <dgm:spPr/>
      <dgm:t>
        <a:bodyPr/>
        <a:lstStyle/>
        <a:p>
          <a:endParaRPr lang="es-ES"/>
        </a:p>
      </dgm:t>
    </dgm:pt>
    <dgm:pt modelId="{9AA28470-BBF0-4503-B403-CBE097A782A9}">
      <dgm:prSet custT="1"/>
      <dgm:spPr/>
      <dgm:t>
        <a:bodyPr/>
        <a:lstStyle/>
        <a:p>
          <a:r>
            <a:rPr lang="en-US" sz="2400" b="0" i="0" dirty="0"/>
            <a:t>After rebuilding a materialized view, all tracking rows for incremental data changes are eliminated and the view overhead ratio is reduced</a:t>
          </a:r>
          <a:endParaRPr lang="en-US" sz="2400" b="0" i="0" dirty="0">
            <a:effectLst/>
            <a:latin typeface="Segoe UI" panose="020B0502040204020203" pitchFamily="34" charset="0"/>
          </a:endParaRPr>
        </a:p>
      </dgm:t>
    </dgm:pt>
    <dgm:pt modelId="{15D62910-2E96-49F1-99B5-E416CD14E355}" type="parTrans" cxnId="{E074D58B-8960-448A-90F5-917320150B48}">
      <dgm:prSet/>
      <dgm:spPr/>
      <dgm:t>
        <a:bodyPr/>
        <a:lstStyle/>
        <a:p>
          <a:endParaRPr lang="es-ES"/>
        </a:p>
      </dgm:t>
    </dgm:pt>
    <dgm:pt modelId="{93E5DBCF-E8A5-450C-8DFE-82D7F83CC1C6}" type="sibTrans" cxnId="{E074D58B-8960-448A-90F5-917320150B48}">
      <dgm:prSet/>
      <dgm:spPr/>
      <dgm:t>
        <a:bodyPr/>
        <a:lstStyle/>
        <a:p>
          <a:endParaRPr lang="es-ES"/>
        </a:p>
      </dgm:t>
    </dgm:pt>
    <dgm:pt modelId="{5C267C2A-1FCE-4414-9B33-D88C8C05A33E}" type="pres">
      <dgm:prSet presAssocID="{C2602CB0-3133-40C3-9103-13D2165FAA3E}" presName="linear" presStyleCnt="0">
        <dgm:presLayoutVars>
          <dgm:dir/>
          <dgm:animLvl val="lvl"/>
          <dgm:resizeHandles val="exact"/>
        </dgm:presLayoutVars>
      </dgm:prSet>
      <dgm:spPr/>
    </dgm:pt>
    <dgm:pt modelId="{468B33D3-7E63-4DF8-AA93-7010B82D415F}" type="pres">
      <dgm:prSet presAssocID="{AD7DEBC6-F3E8-42AB-9872-0339F344D85F}" presName="parentLin" presStyleCnt="0"/>
      <dgm:spPr/>
    </dgm:pt>
    <dgm:pt modelId="{FC2B5E88-3746-4E58-9C93-B279F7FD6C83}" type="pres">
      <dgm:prSet presAssocID="{AD7DEBC6-F3E8-42AB-9872-0339F344D85F}" presName="parentLeftMargin" presStyleLbl="node1" presStyleIdx="0" presStyleCnt="2"/>
      <dgm:spPr/>
    </dgm:pt>
    <dgm:pt modelId="{C208BFC8-FA92-40B8-8211-B8A910F4E919}" type="pres">
      <dgm:prSet presAssocID="{AD7DEBC6-F3E8-42AB-9872-0339F344D85F}" presName="parentText" presStyleLbl="node1" presStyleIdx="0" presStyleCnt="2" custScaleX="109921" custScaleY="75442">
        <dgm:presLayoutVars>
          <dgm:chMax val="0"/>
          <dgm:bulletEnabled val="1"/>
        </dgm:presLayoutVars>
      </dgm:prSet>
      <dgm:spPr/>
    </dgm:pt>
    <dgm:pt modelId="{9939FF15-1F35-4B9A-94AF-EEDE59ED95E0}" type="pres">
      <dgm:prSet presAssocID="{AD7DEBC6-F3E8-42AB-9872-0339F344D85F}" presName="negativeSpace" presStyleCnt="0"/>
      <dgm:spPr/>
    </dgm:pt>
    <dgm:pt modelId="{7B2BB63E-8767-4B88-A34D-9210156819D7}" type="pres">
      <dgm:prSet presAssocID="{AD7DEBC6-F3E8-42AB-9872-0339F344D85F}" presName="childText" presStyleLbl="conFgAcc1" presStyleIdx="0" presStyleCnt="2">
        <dgm:presLayoutVars>
          <dgm:bulletEnabled val="1"/>
        </dgm:presLayoutVars>
      </dgm:prSet>
      <dgm:spPr/>
    </dgm:pt>
    <dgm:pt modelId="{3EC41734-CE4D-4C8D-BFA2-72756475036F}" type="pres">
      <dgm:prSet presAssocID="{0B240B9C-E41D-4769-9300-4441A5E9B7B5}" presName="spaceBetweenRectangles" presStyleCnt="0"/>
      <dgm:spPr/>
    </dgm:pt>
    <dgm:pt modelId="{68F46766-DC3E-4C7C-A89A-58E7856EB292}" type="pres">
      <dgm:prSet presAssocID="{9AA28470-BBF0-4503-B403-CBE097A782A9}" presName="parentLin" presStyleCnt="0"/>
      <dgm:spPr/>
    </dgm:pt>
    <dgm:pt modelId="{F542C716-6C1B-4C4C-B38B-9B936C433B6F}" type="pres">
      <dgm:prSet presAssocID="{9AA28470-BBF0-4503-B403-CBE097A782A9}" presName="parentLeftMargin" presStyleLbl="node1" presStyleIdx="0" presStyleCnt="2"/>
      <dgm:spPr/>
    </dgm:pt>
    <dgm:pt modelId="{ACCAC4CF-9297-4C4F-9143-4EE589F31089}" type="pres">
      <dgm:prSet presAssocID="{9AA28470-BBF0-4503-B403-CBE097A782A9}" presName="parentText" presStyleLbl="node1" presStyleIdx="1" presStyleCnt="2">
        <dgm:presLayoutVars>
          <dgm:chMax val="0"/>
          <dgm:bulletEnabled val="1"/>
        </dgm:presLayoutVars>
      </dgm:prSet>
      <dgm:spPr/>
    </dgm:pt>
    <dgm:pt modelId="{4CC08B6D-2FDF-4ECC-84F4-B18C62987595}" type="pres">
      <dgm:prSet presAssocID="{9AA28470-BBF0-4503-B403-CBE097A782A9}" presName="negativeSpace" presStyleCnt="0"/>
      <dgm:spPr/>
    </dgm:pt>
    <dgm:pt modelId="{6B1E65E5-0320-4811-BEA3-6602E2C0962E}" type="pres">
      <dgm:prSet presAssocID="{9AA28470-BBF0-4503-B403-CBE097A782A9}" presName="childText" presStyleLbl="conFgAcc1" presStyleIdx="1" presStyleCnt="2">
        <dgm:presLayoutVars>
          <dgm:bulletEnabled val="1"/>
        </dgm:presLayoutVars>
      </dgm:prSet>
      <dgm:spPr/>
    </dgm:pt>
  </dgm:ptLst>
  <dgm:cxnLst>
    <dgm:cxn modelId="{E4CBDA04-B2B5-4581-9B96-7FFAD9D92390}" type="presOf" srcId="{94FB43F4-A950-4633-A643-1673F0565F5D}" destId="{7B2BB63E-8767-4B88-A34D-9210156819D7}" srcOrd="0" destOrd="0" presId="urn:microsoft.com/office/officeart/2005/8/layout/list1"/>
    <dgm:cxn modelId="{436EBA0A-B1CC-4A4F-8A52-A509882E6E5C}" type="presOf" srcId="{9AA28470-BBF0-4503-B403-CBE097A782A9}" destId="{F542C716-6C1B-4C4C-B38B-9B936C433B6F}" srcOrd="0" destOrd="0" presId="urn:microsoft.com/office/officeart/2005/8/layout/list1"/>
    <dgm:cxn modelId="{104E7D19-F1F3-485F-9F21-21083C9A374A}" srcId="{C2602CB0-3133-40C3-9103-13D2165FAA3E}" destId="{AD7DEBC6-F3E8-42AB-9872-0339F344D85F}" srcOrd="0" destOrd="0" parTransId="{33DC946A-1342-4713-922F-3760E0373E7D}" sibTransId="{0B240B9C-E41D-4769-9300-4441A5E9B7B5}"/>
    <dgm:cxn modelId="{5417A01B-5931-4908-BB09-430AD0970211}" type="presOf" srcId="{C2602CB0-3133-40C3-9103-13D2165FAA3E}" destId="{5C267C2A-1FCE-4414-9B33-D88C8C05A33E}" srcOrd="0" destOrd="0" presId="urn:microsoft.com/office/officeart/2005/8/layout/list1"/>
    <dgm:cxn modelId="{B9299F34-E361-404C-9B63-8FA94EA6D004}" srcId="{AD7DEBC6-F3E8-42AB-9872-0339F344D85F}" destId="{C0BB0788-E6A1-4058-8D8C-575D5781BD15}" srcOrd="2" destOrd="0" parTransId="{CFD8C190-9147-497A-A1B7-0D11E642A9A2}" sibTransId="{CD8B8156-BEDB-4C81-80FC-9E609C6989DC}"/>
    <dgm:cxn modelId="{51179360-4627-4CF6-8F72-55699DF3213F}" type="presOf" srcId="{364DB8F0-5A67-4467-8296-18FF0DC48980}" destId="{7B2BB63E-8767-4B88-A34D-9210156819D7}" srcOrd="0" destOrd="1" presId="urn:microsoft.com/office/officeart/2005/8/layout/list1"/>
    <dgm:cxn modelId="{14ECF546-BD7E-4346-890E-EB2D04A017F0}" type="presOf" srcId="{C0BB0788-E6A1-4058-8D8C-575D5781BD15}" destId="{7B2BB63E-8767-4B88-A34D-9210156819D7}" srcOrd="0" destOrd="2" presId="urn:microsoft.com/office/officeart/2005/8/layout/list1"/>
    <dgm:cxn modelId="{474C8C73-820B-483B-BC5D-F54BB7DB8CC6}" type="presOf" srcId="{9AA28470-BBF0-4503-B403-CBE097A782A9}" destId="{ACCAC4CF-9297-4C4F-9143-4EE589F31089}" srcOrd="1" destOrd="0" presId="urn:microsoft.com/office/officeart/2005/8/layout/list1"/>
    <dgm:cxn modelId="{E074D58B-8960-448A-90F5-917320150B48}" srcId="{C2602CB0-3133-40C3-9103-13D2165FAA3E}" destId="{9AA28470-BBF0-4503-B403-CBE097A782A9}" srcOrd="1" destOrd="0" parTransId="{15D62910-2E96-49F1-99B5-E416CD14E355}" sibTransId="{93E5DBCF-E8A5-450C-8DFE-82D7F83CC1C6}"/>
    <dgm:cxn modelId="{C3F1BA96-B4ED-4D2D-9D6D-DA3C2F6CFDA4}" type="presOf" srcId="{AD7DEBC6-F3E8-42AB-9872-0339F344D85F}" destId="{FC2B5E88-3746-4E58-9C93-B279F7FD6C83}" srcOrd="0" destOrd="0" presId="urn:microsoft.com/office/officeart/2005/8/layout/list1"/>
    <dgm:cxn modelId="{FC5D1E9F-1F56-406A-8C15-B26C0A62464D}" srcId="{AD7DEBC6-F3E8-42AB-9872-0339F344D85F}" destId="{364DB8F0-5A67-4467-8296-18FF0DC48980}" srcOrd="1" destOrd="0" parTransId="{B5FC6EEA-54EB-4B16-8A0F-42B6251F0F21}" sibTransId="{1B1A6295-F590-4F01-8571-FEC1BDA56C03}"/>
    <dgm:cxn modelId="{D85F4BD6-6A3A-4329-A7FB-CE9872FE59B4}" type="presOf" srcId="{AD7DEBC6-F3E8-42AB-9872-0339F344D85F}" destId="{C208BFC8-FA92-40B8-8211-B8A910F4E919}" srcOrd="1" destOrd="0" presId="urn:microsoft.com/office/officeart/2005/8/layout/list1"/>
    <dgm:cxn modelId="{0CEC25F2-8ADA-4C96-9864-F213CDF0B4A3}" srcId="{AD7DEBC6-F3E8-42AB-9872-0339F344D85F}" destId="{94FB43F4-A950-4633-A643-1673F0565F5D}" srcOrd="0" destOrd="0" parTransId="{BE389EED-2A23-4A15-9A42-D7B272D9A868}" sibTransId="{7F87DB6B-1B1F-461E-BB2F-C598F5CAD113}"/>
    <dgm:cxn modelId="{6D715A55-203D-4511-AA99-369F6E10E312}" type="presParOf" srcId="{5C267C2A-1FCE-4414-9B33-D88C8C05A33E}" destId="{468B33D3-7E63-4DF8-AA93-7010B82D415F}" srcOrd="0" destOrd="0" presId="urn:microsoft.com/office/officeart/2005/8/layout/list1"/>
    <dgm:cxn modelId="{623A1B9B-4CAA-4D3F-8F1B-CCB60384224D}" type="presParOf" srcId="{468B33D3-7E63-4DF8-AA93-7010B82D415F}" destId="{FC2B5E88-3746-4E58-9C93-B279F7FD6C83}" srcOrd="0" destOrd="0" presId="urn:microsoft.com/office/officeart/2005/8/layout/list1"/>
    <dgm:cxn modelId="{268A28C8-6966-4303-8CA5-4DDAAA726EB4}" type="presParOf" srcId="{468B33D3-7E63-4DF8-AA93-7010B82D415F}" destId="{C208BFC8-FA92-40B8-8211-B8A910F4E919}" srcOrd="1" destOrd="0" presId="urn:microsoft.com/office/officeart/2005/8/layout/list1"/>
    <dgm:cxn modelId="{14CCBBED-08EF-4EF6-986F-225868C3C4BD}" type="presParOf" srcId="{5C267C2A-1FCE-4414-9B33-D88C8C05A33E}" destId="{9939FF15-1F35-4B9A-94AF-EEDE59ED95E0}" srcOrd="1" destOrd="0" presId="urn:microsoft.com/office/officeart/2005/8/layout/list1"/>
    <dgm:cxn modelId="{FAB58520-7FD4-4F67-AC35-21E66FB6765A}" type="presParOf" srcId="{5C267C2A-1FCE-4414-9B33-D88C8C05A33E}" destId="{7B2BB63E-8767-4B88-A34D-9210156819D7}" srcOrd="2" destOrd="0" presId="urn:microsoft.com/office/officeart/2005/8/layout/list1"/>
    <dgm:cxn modelId="{8FC40670-6C7F-499D-B1D8-009B1CDF0CB2}" type="presParOf" srcId="{5C267C2A-1FCE-4414-9B33-D88C8C05A33E}" destId="{3EC41734-CE4D-4C8D-BFA2-72756475036F}" srcOrd="3" destOrd="0" presId="urn:microsoft.com/office/officeart/2005/8/layout/list1"/>
    <dgm:cxn modelId="{B1229923-35E0-4679-8D29-DE5A9E1A8CD5}" type="presParOf" srcId="{5C267C2A-1FCE-4414-9B33-D88C8C05A33E}" destId="{68F46766-DC3E-4C7C-A89A-58E7856EB292}" srcOrd="4" destOrd="0" presId="urn:microsoft.com/office/officeart/2005/8/layout/list1"/>
    <dgm:cxn modelId="{1F225E4D-7F1B-4318-9EF6-A0243B7D56B9}" type="presParOf" srcId="{68F46766-DC3E-4C7C-A89A-58E7856EB292}" destId="{F542C716-6C1B-4C4C-B38B-9B936C433B6F}" srcOrd="0" destOrd="0" presId="urn:microsoft.com/office/officeart/2005/8/layout/list1"/>
    <dgm:cxn modelId="{BD055872-CD93-4B7E-963D-96357085B4C2}" type="presParOf" srcId="{68F46766-DC3E-4C7C-A89A-58E7856EB292}" destId="{ACCAC4CF-9297-4C4F-9143-4EE589F31089}" srcOrd="1" destOrd="0" presId="urn:microsoft.com/office/officeart/2005/8/layout/list1"/>
    <dgm:cxn modelId="{E41C4581-28A0-4D80-B639-00BBB95931B2}" type="presParOf" srcId="{5C267C2A-1FCE-4414-9B33-D88C8C05A33E}" destId="{4CC08B6D-2FDF-4ECC-84F4-B18C62987595}" srcOrd="5" destOrd="0" presId="urn:microsoft.com/office/officeart/2005/8/layout/list1"/>
    <dgm:cxn modelId="{8AE633FB-6FD7-4CD9-8BE2-4668697DC7E4}" type="presParOf" srcId="{5C267C2A-1FCE-4414-9B33-D88C8C05A33E}" destId="{6B1E65E5-0320-4811-BEA3-6602E2C0962E}"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custT="1"/>
      <dgm:spPr/>
      <dgm:t>
        <a:bodyPr/>
        <a:lstStyle/>
        <a:p>
          <a:r>
            <a:rPr lang="en-US" sz="2400" baseline="0" dirty="0"/>
            <a:t>What are the differences between standard and materialized views?</a:t>
          </a:r>
          <a:endParaRPr lang="en-US" sz="2400"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baseline="0" dirty="0"/>
            <a:t>What are the benefits of using materialized views?</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baseline="0" dirty="0"/>
            <a:t>How materialized view candidates can be identified?</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463732-6580-450F-9439-CDB0C614EA38}" type="doc">
      <dgm:prSet loTypeId="urn:microsoft.com/office/officeart/2008/layout/AlternatingHexagons" loCatId="list" qsTypeId="urn:microsoft.com/office/officeart/2005/8/quickstyle/simple1" qsCatId="simple" csTypeId="urn:microsoft.com/office/officeart/2005/8/colors/accent2_3" csCatId="accent2" phldr="1"/>
      <dgm:spPr/>
      <dgm:t>
        <a:bodyPr/>
        <a:lstStyle/>
        <a:p>
          <a:endParaRPr lang="es-ES"/>
        </a:p>
      </dgm:t>
    </dgm:pt>
    <dgm:pt modelId="{62167EFF-1484-46F1-9FBA-4BF615732438}">
      <dgm:prSet phldrT="[Text]"/>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noProof="0" dirty="0"/>
            <a:t>Size</a:t>
          </a:r>
        </a:p>
      </dgm:t>
    </dgm:pt>
    <dgm:pt modelId="{FEEC921C-6344-468D-8625-F5B79B1B9C99}" type="parTrans" cxnId="{8FB81F62-06A7-4FC0-A9DF-95B8B87A7BA3}">
      <dgm:prSet/>
      <dgm:spPr/>
      <dgm:t>
        <a:bodyPr/>
        <a:lstStyle/>
        <a:p>
          <a:endParaRPr lang="es-ES"/>
        </a:p>
      </dgm:t>
    </dgm:pt>
    <dgm:pt modelId="{6EF4F47E-6F4C-4B6D-8FE3-977A8D6D7AFA}" type="sibTrans" cxnId="{8FB81F62-06A7-4FC0-A9DF-95B8B87A7BA3}">
      <dgm:prSet/>
      <dgm:spPr>
        <a:effectLst>
          <a:outerShdw blurRad="50800" dist="38100" algn="l" rotWithShape="0">
            <a:prstClr val="black">
              <a:alpha val="40000"/>
            </a:prstClr>
          </a:outerShdw>
        </a:effectLst>
        <a:scene3d>
          <a:camera prst="orthographicFront"/>
          <a:lightRig rig="threePt" dir="t"/>
        </a:scene3d>
        <a:sp3d>
          <a:bevelT prst="angle"/>
        </a:sp3d>
      </dgm:spPr>
      <dgm:t>
        <a:bodyPr/>
        <a:lstStyle/>
        <a:p>
          <a:endParaRPr lang="es-ES" dirty="0"/>
        </a:p>
      </dgm:t>
    </dgm:pt>
    <dgm:pt modelId="{573C7948-6626-438C-A018-4AAC0790FF4A}">
      <dgm:prSet phldrT="[Text]"/>
      <dgm:spPr/>
      <dgm:t>
        <a:bodyPr/>
        <a:lstStyle/>
        <a:p>
          <a:r>
            <a:rPr lang="en-US" noProof="0" dirty="0"/>
            <a:t>Disk size above 2GB</a:t>
          </a:r>
        </a:p>
      </dgm:t>
    </dgm:pt>
    <dgm:pt modelId="{699889BA-CCF9-426A-B35C-E6FCC7A5837A}" type="parTrans" cxnId="{E02DB3F4-0AC9-47BC-96E9-27B21CB66B1F}">
      <dgm:prSet/>
      <dgm:spPr/>
      <dgm:t>
        <a:bodyPr/>
        <a:lstStyle/>
        <a:p>
          <a:endParaRPr lang="es-ES"/>
        </a:p>
      </dgm:t>
    </dgm:pt>
    <dgm:pt modelId="{E1016EF4-D269-4463-BC6D-858003956655}" type="sibTrans" cxnId="{E02DB3F4-0AC9-47BC-96E9-27B21CB66B1F}">
      <dgm:prSet/>
      <dgm:spPr/>
      <dgm:t>
        <a:bodyPr/>
        <a:lstStyle/>
        <a:p>
          <a:endParaRPr lang="es-ES"/>
        </a:p>
      </dgm:t>
    </dgm:pt>
    <dgm:pt modelId="{0F4E6EF8-E3C8-4A8A-915B-C50447215D7C}">
      <dgm:prSet phldrT="[Text]"/>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s-ES" dirty="0"/>
            <a:t>DML</a:t>
          </a:r>
        </a:p>
      </dgm:t>
    </dgm:pt>
    <dgm:pt modelId="{690A88D0-FC42-49D6-AFA1-AF8452BE0B6E}" type="parTrans" cxnId="{1B33FC75-89E9-4126-8C6C-EAAD23E03544}">
      <dgm:prSet/>
      <dgm:spPr/>
      <dgm:t>
        <a:bodyPr/>
        <a:lstStyle/>
        <a:p>
          <a:endParaRPr lang="es-ES"/>
        </a:p>
      </dgm:t>
    </dgm:pt>
    <dgm:pt modelId="{9179AA81-3E6A-4234-BBC5-511AFD080CCD}" type="sibTrans" cxnId="{1B33FC75-89E9-4126-8C6C-EAAD23E03544}">
      <dgm:prSet/>
      <dgm:spPr>
        <a:effectLst>
          <a:outerShdw blurRad="50800" dist="38100" algn="l" rotWithShape="0">
            <a:prstClr val="black">
              <a:alpha val="40000"/>
            </a:prstClr>
          </a:outerShdw>
        </a:effectLst>
        <a:scene3d>
          <a:camera prst="orthographicFront"/>
          <a:lightRig rig="threePt" dir="t"/>
        </a:scene3d>
        <a:sp3d>
          <a:bevelT prst="angle"/>
        </a:sp3d>
      </dgm:spPr>
      <dgm:t>
        <a:bodyPr/>
        <a:lstStyle/>
        <a:p>
          <a:endParaRPr lang="es-ES" dirty="0"/>
        </a:p>
      </dgm:t>
    </dgm:pt>
    <dgm:pt modelId="{342BF7E4-D957-47E0-B824-AC88E9E55B66}">
      <dgm:prSet phldrT="[Text]"/>
      <dgm:spPr/>
      <dgm:t>
        <a:bodyPr/>
        <a:lstStyle/>
        <a:p>
          <a:r>
            <a:rPr lang="en-US" noProof="0" dirty="0"/>
            <a:t>Frequent insert, update, and delete operations</a:t>
          </a:r>
        </a:p>
      </dgm:t>
    </dgm:pt>
    <dgm:pt modelId="{938CC179-1F1F-42FD-B758-EA72832C6A8F}" type="parTrans" cxnId="{BF54C59E-2C34-4CE5-A9A6-38D2C95B867C}">
      <dgm:prSet/>
      <dgm:spPr/>
      <dgm:t>
        <a:bodyPr/>
        <a:lstStyle/>
        <a:p>
          <a:endParaRPr lang="es-ES"/>
        </a:p>
      </dgm:t>
    </dgm:pt>
    <dgm:pt modelId="{1C2C6FA3-AB2C-4610-A763-BC3576FAC745}" type="sibTrans" cxnId="{BF54C59E-2C34-4CE5-A9A6-38D2C95B867C}">
      <dgm:prSet/>
      <dgm:spPr/>
      <dgm:t>
        <a:bodyPr/>
        <a:lstStyle/>
        <a:p>
          <a:endParaRPr lang="es-ES"/>
        </a:p>
      </dgm:t>
    </dgm:pt>
    <dgm:pt modelId="{CE2326ED-E867-46AE-B71E-3928467830BF}">
      <dgm:prSet phldrT="[Text]"/>
      <dgm:spPr>
        <a:effectLst>
          <a:outerShdw blurRad="50800" dist="38100" algn="l" rotWithShape="0">
            <a:prstClr val="black">
              <a:alpha val="40000"/>
            </a:prstClr>
          </a:outerShdw>
        </a:effectLst>
        <a:scene3d>
          <a:camera prst="orthographicFront"/>
          <a:lightRig rig="threePt" dir="t"/>
        </a:scene3d>
        <a:sp3d>
          <a:bevelT prst="angle"/>
        </a:sp3d>
      </dgm:spPr>
      <dgm:t>
        <a:bodyPr/>
        <a:lstStyle/>
        <a:p>
          <a:r>
            <a:rPr lang="en-US" noProof="0" dirty="0"/>
            <a:t>Typical usage scenario</a:t>
          </a:r>
        </a:p>
      </dgm:t>
    </dgm:pt>
    <dgm:pt modelId="{69453315-BE54-4108-B7CF-17A26E289761}" type="parTrans" cxnId="{3C95F110-181C-4068-BDCC-C35C178A411B}">
      <dgm:prSet/>
      <dgm:spPr/>
      <dgm:t>
        <a:bodyPr/>
        <a:lstStyle/>
        <a:p>
          <a:endParaRPr lang="es-ES"/>
        </a:p>
      </dgm:t>
    </dgm:pt>
    <dgm:pt modelId="{96CED53E-E547-4697-96F6-F73D9213477E}" type="sibTrans" cxnId="{3C95F110-181C-4068-BDCC-C35C178A411B}">
      <dgm:prSet/>
      <dgm:spPr>
        <a:effectLst>
          <a:outerShdw blurRad="50800" dist="38100" algn="l" rotWithShape="0">
            <a:prstClr val="black">
              <a:alpha val="40000"/>
            </a:prstClr>
          </a:outerShdw>
        </a:effectLst>
        <a:scene3d>
          <a:camera prst="orthographicFront"/>
          <a:lightRig rig="threePt" dir="t"/>
        </a:scene3d>
        <a:sp3d>
          <a:bevelT prst="angle"/>
        </a:sp3d>
      </dgm:spPr>
      <dgm:t>
        <a:bodyPr/>
        <a:lstStyle/>
        <a:p>
          <a:endParaRPr lang="es-ES" dirty="0"/>
        </a:p>
      </dgm:t>
    </dgm:pt>
    <dgm:pt modelId="{037E9667-C06C-4E05-841C-1C3AB5060E8E}">
      <dgm:prSet phldrT="[Text]"/>
      <dgm:spPr/>
      <dgm:t>
        <a:bodyPr/>
        <a:lstStyle/>
        <a:p>
          <a:r>
            <a:rPr lang="en-US" noProof="0" dirty="0"/>
            <a:t>Large fact tables in a star schema</a:t>
          </a:r>
        </a:p>
      </dgm:t>
    </dgm:pt>
    <dgm:pt modelId="{6534345E-08AA-478F-8C50-197567BD76FA}" type="parTrans" cxnId="{6CEBD03B-486D-4DFC-84CA-4A18259F68EF}">
      <dgm:prSet/>
      <dgm:spPr/>
      <dgm:t>
        <a:bodyPr/>
        <a:lstStyle/>
        <a:p>
          <a:endParaRPr lang="es-ES"/>
        </a:p>
      </dgm:t>
    </dgm:pt>
    <dgm:pt modelId="{63008248-BD3A-484F-B8FB-EE72651FE84F}" type="sibTrans" cxnId="{6CEBD03B-486D-4DFC-84CA-4A18259F68EF}">
      <dgm:prSet/>
      <dgm:spPr/>
      <dgm:t>
        <a:bodyPr/>
        <a:lstStyle/>
        <a:p>
          <a:endParaRPr lang="es-ES"/>
        </a:p>
      </dgm:t>
    </dgm:pt>
    <dgm:pt modelId="{258D7916-45DF-4EAE-B10E-AA76654DD2F9}" type="pres">
      <dgm:prSet presAssocID="{72463732-6580-450F-9439-CDB0C614EA38}" presName="Name0" presStyleCnt="0">
        <dgm:presLayoutVars>
          <dgm:chMax/>
          <dgm:chPref/>
          <dgm:dir/>
          <dgm:animLvl val="lvl"/>
        </dgm:presLayoutVars>
      </dgm:prSet>
      <dgm:spPr/>
    </dgm:pt>
    <dgm:pt modelId="{98AD34AA-1ECB-46F4-8E0B-F0D692F49154}" type="pres">
      <dgm:prSet presAssocID="{62167EFF-1484-46F1-9FBA-4BF615732438}" presName="composite" presStyleCnt="0"/>
      <dgm:spPr/>
    </dgm:pt>
    <dgm:pt modelId="{EF1C2A39-A480-4B8B-A0F6-3EA877FE38A9}" type="pres">
      <dgm:prSet presAssocID="{62167EFF-1484-46F1-9FBA-4BF615732438}" presName="Parent1" presStyleLbl="node1" presStyleIdx="0" presStyleCnt="6">
        <dgm:presLayoutVars>
          <dgm:chMax val="1"/>
          <dgm:chPref val="1"/>
          <dgm:bulletEnabled val="1"/>
        </dgm:presLayoutVars>
      </dgm:prSet>
      <dgm:spPr/>
    </dgm:pt>
    <dgm:pt modelId="{A96F0FF6-6C0B-41BF-BB63-9696817E16EA}" type="pres">
      <dgm:prSet presAssocID="{62167EFF-1484-46F1-9FBA-4BF615732438}" presName="Childtext1" presStyleLbl="revTx" presStyleIdx="0" presStyleCnt="3">
        <dgm:presLayoutVars>
          <dgm:chMax val="0"/>
          <dgm:chPref val="0"/>
          <dgm:bulletEnabled val="1"/>
        </dgm:presLayoutVars>
      </dgm:prSet>
      <dgm:spPr/>
    </dgm:pt>
    <dgm:pt modelId="{29A9BEF8-F78E-4C0F-889B-37033264D675}" type="pres">
      <dgm:prSet presAssocID="{62167EFF-1484-46F1-9FBA-4BF615732438}" presName="BalanceSpacing" presStyleCnt="0"/>
      <dgm:spPr/>
    </dgm:pt>
    <dgm:pt modelId="{A3246847-2F81-4624-A854-61057FAEA007}" type="pres">
      <dgm:prSet presAssocID="{62167EFF-1484-46F1-9FBA-4BF615732438}" presName="BalanceSpacing1" presStyleCnt="0"/>
      <dgm:spPr/>
    </dgm:pt>
    <dgm:pt modelId="{507DECE4-63FE-4579-A3AD-BB384930C673}" type="pres">
      <dgm:prSet presAssocID="{6EF4F47E-6F4C-4B6D-8FE3-977A8D6D7AFA}" presName="Accent1Text" presStyleLbl="node1" presStyleIdx="1" presStyleCnt="6"/>
      <dgm:spPr/>
    </dgm:pt>
    <dgm:pt modelId="{06A04705-7EF8-4E01-9580-64CF0DC3DB41}" type="pres">
      <dgm:prSet presAssocID="{6EF4F47E-6F4C-4B6D-8FE3-977A8D6D7AFA}" presName="spaceBetweenRectangles" presStyleCnt="0"/>
      <dgm:spPr/>
    </dgm:pt>
    <dgm:pt modelId="{40B81B7D-1157-45BF-8C1F-22F6B45DBE1A}" type="pres">
      <dgm:prSet presAssocID="{0F4E6EF8-E3C8-4A8A-915B-C50447215D7C}" presName="composite" presStyleCnt="0"/>
      <dgm:spPr/>
    </dgm:pt>
    <dgm:pt modelId="{B88A5A58-1D34-493A-B8DE-79414348E73C}" type="pres">
      <dgm:prSet presAssocID="{0F4E6EF8-E3C8-4A8A-915B-C50447215D7C}" presName="Parent1" presStyleLbl="node1" presStyleIdx="2" presStyleCnt="6">
        <dgm:presLayoutVars>
          <dgm:chMax val="1"/>
          <dgm:chPref val="1"/>
          <dgm:bulletEnabled val="1"/>
        </dgm:presLayoutVars>
      </dgm:prSet>
      <dgm:spPr/>
    </dgm:pt>
    <dgm:pt modelId="{4F7BED0E-73D4-464F-83F7-8295F1B0E139}" type="pres">
      <dgm:prSet presAssocID="{0F4E6EF8-E3C8-4A8A-915B-C50447215D7C}" presName="Childtext1" presStyleLbl="revTx" presStyleIdx="1" presStyleCnt="3">
        <dgm:presLayoutVars>
          <dgm:chMax val="0"/>
          <dgm:chPref val="0"/>
          <dgm:bulletEnabled val="1"/>
        </dgm:presLayoutVars>
      </dgm:prSet>
      <dgm:spPr/>
    </dgm:pt>
    <dgm:pt modelId="{68EF5BEA-9DD3-4779-8D95-9FB43FC43F78}" type="pres">
      <dgm:prSet presAssocID="{0F4E6EF8-E3C8-4A8A-915B-C50447215D7C}" presName="BalanceSpacing" presStyleCnt="0"/>
      <dgm:spPr/>
    </dgm:pt>
    <dgm:pt modelId="{84B3D6E7-5718-47D1-AADB-802629E70950}" type="pres">
      <dgm:prSet presAssocID="{0F4E6EF8-E3C8-4A8A-915B-C50447215D7C}" presName="BalanceSpacing1" presStyleCnt="0"/>
      <dgm:spPr/>
    </dgm:pt>
    <dgm:pt modelId="{AC91EDA5-81AE-4530-B143-5702F926B749}" type="pres">
      <dgm:prSet presAssocID="{9179AA81-3E6A-4234-BBC5-511AFD080CCD}" presName="Accent1Text" presStyleLbl="node1" presStyleIdx="3" presStyleCnt="6"/>
      <dgm:spPr/>
    </dgm:pt>
    <dgm:pt modelId="{C81A4E61-45CA-4E96-9E00-49BC5584A2E7}" type="pres">
      <dgm:prSet presAssocID="{9179AA81-3E6A-4234-BBC5-511AFD080CCD}" presName="spaceBetweenRectangles" presStyleCnt="0"/>
      <dgm:spPr/>
    </dgm:pt>
    <dgm:pt modelId="{4CE6D5AC-EDCC-462E-9DE7-918D4F4FC5AE}" type="pres">
      <dgm:prSet presAssocID="{CE2326ED-E867-46AE-B71E-3928467830BF}" presName="composite" presStyleCnt="0"/>
      <dgm:spPr/>
    </dgm:pt>
    <dgm:pt modelId="{EEEA9B8D-98FF-46B6-9E0A-592686FAABC0}" type="pres">
      <dgm:prSet presAssocID="{CE2326ED-E867-46AE-B71E-3928467830BF}" presName="Parent1" presStyleLbl="node1" presStyleIdx="4" presStyleCnt="6">
        <dgm:presLayoutVars>
          <dgm:chMax val="1"/>
          <dgm:chPref val="1"/>
          <dgm:bulletEnabled val="1"/>
        </dgm:presLayoutVars>
      </dgm:prSet>
      <dgm:spPr/>
    </dgm:pt>
    <dgm:pt modelId="{CECC0541-E344-45D4-9268-006CA08E56E5}" type="pres">
      <dgm:prSet presAssocID="{CE2326ED-E867-46AE-B71E-3928467830BF}" presName="Childtext1" presStyleLbl="revTx" presStyleIdx="2" presStyleCnt="3">
        <dgm:presLayoutVars>
          <dgm:chMax val="0"/>
          <dgm:chPref val="0"/>
          <dgm:bulletEnabled val="1"/>
        </dgm:presLayoutVars>
      </dgm:prSet>
      <dgm:spPr/>
    </dgm:pt>
    <dgm:pt modelId="{62839578-6DC8-4F8E-8DB3-52F2863F33A1}" type="pres">
      <dgm:prSet presAssocID="{CE2326ED-E867-46AE-B71E-3928467830BF}" presName="BalanceSpacing" presStyleCnt="0"/>
      <dgm:spPr/>
    </dgm:pt>
    <dgm:pt modelId="{8A127D65-726D-4820-A01F-043B28E73DE9}" type="pres">
      <dgm:prSet presAssocID="{CE2326ED-E867-46AE-B71E-3928467830BF}" presName="BalanceSpacing1" presStyleCnt="0"/>
      <dgm:spPr/>
    </dgm:pt>
    <dgm:pt modelId="{7114C193-2E12-47AA-AE5A-F15E7A39A995}" type="pres">
      <dgm:prSet presAssocID="{96CED53E-E547-4697-96F6-F73D9213477E}" presName="Accent1Text" presStyleLbl="node1" presStyleIdx="5" presStyleCnt="6"/>
      <dgm:spPr/>
    </dgm:pt>
  </dgm:ptLst>
  <dgm:cxnLst>
    <dgm:cxn modelId="{3C95F110-181C-4068-BDCC-C35C178A411B}" srcId="{72463732-6580-450F-9439-CDB0C614EA38}" destId="{CE2326ED-E867-46AE-B71E-3928467830BF}" srcOrd="2" destOrd="0" parTransId="{69453315-BE54-4108-B7CF-17A26E289761}" sibTransId="{96CED53E-E547-4697-96F6-F73D9213477E}"/>
    <dgm:cxn modelId="{50B56224-B3E5-4164-9971-5E794869FE31}" type="presOf" srcId="{037E9667-C06C-4E05-841C-1C3AB5060E8E}" destId="{CECC0541-E344-45D4-9268-006CA08E56E5}" srcOrd="0" destOrd="0" presId="urn:microsoft.com/office/officeart/2008/layout/AlternatingHexagons"/>
    <dgm:cxn modelId="{1F6A3A27-F04E-4A02-B3D6-ADDA95EC3366}" type="presOf" srcId="{9179AA81-3E6A-4234-BBC5-511AFD080CCD}" destId="{AC91EDA5-81AE-4530-B143-5702F926B749}" srcOrd="0" destOrd="0" presId="urn:microsoft.com/office/officeart/2008/layout/AlternatingHexagons"/>
    <dgm:cxn modelId="{6CEBD03B-486D-4DFC-84CA-4A18259F68EF}" srcId="{CE2326ED-E867-46AE-B71E-3928467830BF}" destId="{037E9667-C06C-4E05-841C-1C3AB5060E8E}" srcOrd="0" destOrd="0" parTransId="{6534345E-08AA-478F-8C50-197567BD76FA}" sibTransId="{63008248-BD3A-484F-B8FB-EE72651FE84F}"/>
    <dgm:cxn modelId="{8FB81F62-06A7-4FC0-A9DF-95B8B87A7BA3}" srcId="{72463732-6580-450F-9439-CDB0C614EA38}" destId="{62167EFF-1484-46F1-9FBA-4BF615732438}" srcOrd="0" destOrd="0" parTransId="{FEEC921C-6344-468D-8625-F5B79B1B9C99}" sibTransId="{6EF4F47E-6F4C-4B6D-8FE3-977A8D6D7AFA}"/>
    <dgm:cxn modelId="{1B33FC75-89E9-4126-8C6C-EAAD23E03544}" srcId="{72463732-6580-450F-9439-CDB0C614EA38}" destId="{0F4E6EF8-E3C8-4A8A-915B-C50447215D7C}" srcOrd="1" destOrd="0" parTransId="{690A88D0-FC42-49D6-AFA1-AF8452BE0B6E}" sibTransId="{9179AA81-3E6A-4234-BBC5-511AFD080CCD}"/>
    <dgm:cxn modelId="{0F48CD57-AFFA-4625-953E-81D051CF6B7C}" type="presOf" srcId="{96CED53E-E547-4697-96F6-F73D9213477E}" destId="{7114C193-2E12-47AA-AE5A-F15E7A39A995}" srcOrd="0" destOrd="0" presId="urn:microsoft.com/office/officeart/2008/layout/AlternatingHexagons"/>
    <dgm:cxn modelId="{F21C468F-8182-424E-B719-27D1FF84A3A4}" type="presOf" srcId="{72463732-6580-450F-9439-CDB0C614EA38}" destId="{258D7916-45DF-4EAE-B10E-AA76654DD2F9}" srcOrd="0" destOrd="0" presId="urn:microsoft.com/office/officeart/2008/layout/AlternatingHexagons"/>
    <dgm:cxn modelId="{BF54C59E-2C34-4CE5-A9A6-38D2C95B867C}" srcId="{0F4E6EF8-E3C8-4A8A-915B-C50447215D7C}" destId="{342BF7E4-D957-47E0-B824-AC88E9E55B66}" srcOrd="0" destOrd="0" parTransId="{938CC179-1F1F-42FD-B758-EA72832C6A8F}" sibTransId="{1C2C6FA3-AB2C-4610-A763-BC3576FAC745}"/>
    <dgm:cxn modelId="{EEBD229F-4802-4114-BE1B-DC70A44383DB}" type="presOf" srcId="{6EF4F47E-6F4C-4B6D-8FE3-977A8D6D7AFA}" destId="{507DECE4-63FE-4579-A3AD-BB384930C673}" srcOrd="0" destOrd="0" presId="urn:microsoft.com/office/officeart/2008/layout/AlternatingHexagons"/>
    <dgm:cxn modelId="{4419D4C6-3FAA-46DE-BD21-6B69B6C59434}" type="presOf" srcId="{62167EFF-1484-46F1-9FBA-4BF615732438}" destId="{EF1C2A39-A480-4B8B-A0F6-3EA877FE38A9}" srcOrd="0" destOrd="0" presId="urn:microsoft.com/office/officeart/2008/layout/AlternatingHexagons"/>
    <dgm:cxn modelId="{26A427CD-A532-4498-BC59-B6CB838F1C6C}" type="presOf" srcId="{0F4E6EF8-E3C8-4A8A-915B-C50447215D7C}" destId="{B88A5A58-1D34-493A-B8DE-79414348E73C}" srcOrd="0" destOrd="0" presId="urn:microsoft.com/office/officeart/2008/layout/AlternatingHexagons"/>
    <dgm:cxn modelId="{1F5572D1-1407-4E30-86E3-140EE7D2AE42}" type="presOf" srcId="{CE2326ED-E867-46AE-B71E-3928467830BF}" destId="{EEEA9B8D-98FF-46B6-9E0A-592686FAABC0}" srcOrd="0" destOrd="0" presId="urn:microsoft.com/office/officeart/2008/layout/AlternatingHexagons"/>
    <dgm:cxn modelId="{04ECF8D2-F935-453C-92E3-41799FC9B797}" type="presOf" srcId="{342BF7E4-D957-47E0-B824-AC88E9E55B66}" destId="{4F7BED0E-73D4-464F-83F7-8295F1B0E139}" srcOrd="0" destOrd="0" presId="urn:microsoft.com/office/officeart/2008/layout/AlternatingHexagons"/>
    <dgm:cxn modelId="{EDB44DD4-9DB9-4163-835C-7FE1CC82D83C}" type="presOf" srcId="{573C7948-6626-438C-A018-4AAC0790FF4A}" destId="{A96F0FF6-6C0B-41BF-BB63-9696817E16EA}" srcOrd="0" destOrd="0" presId="urn:microsoft.com/office/officeart/2008/layout/AlternatingHexagons"/>
    <dgm:cxn modelId="{E02DB3F4-0AC9-47BC-96E9-27B21CB66B1F}" srcId="{62167EFF-1484-46F1-9FBA-4BF615732438}" destId="{573C7948-6626-438C-A018-4AAC0790FF4A}" srcOrd="0" destOrd="0" parTransId="{699889BA-CCF9-426A-B35C-E6FCC7A5837A}" sibTransId="{E1016EF4-D269-4463-BC6D-858003956655}"/>
    <dgm:cxn modelId="{DA185376-C6B4-4709-B49E-89CF8F79D285}" type="presParOf" srcId="{258D7916-45DF-4EAE-B10E-AA76654DD2F9}" destId="{98AD34AA-1ECB-46F4-8E0B-F0D692F49154}" srcOrd="0" destOrd="0" presId="urn:microsoft.com/office/officeart/2008/layout/AlternatingHexagons"/>
    <dgm:cxn modelId="{CCA36581-3937-47B0-B16C-E88A53792319}" type="presParOf" srcId="{98AD34AA-1ECB-46F4-8E0B-F0D692F49154}" destId="{EF1C2A39-A480-4B8B-A0F6-3EA877FE38A9}" srcOrd="0" destOrd="0" presId="urn:microsoft.com/office/officeart/2008/layout/AlternatingHexagons"/>
    <dgm:cxn modelId="{7D54B64A-47E5-49FD-89B5-61C3C20D3367}" type="presParOf" srcId="{98AD34AA-1ECB-46F4-8E0B-F0D692F49154}" destId="{A96F0FF6-6C0B-41BF-BB63-9696817E16EA}" srcOrd="1" destOrd="0" presId="urn:microsoft.com/office/officeart/2008/layout/AlternatingHexagons"/>
    <dgm:cxn modelId="{81402B87-E108-4C11-A648-7E03B772B295}" type="presParOf" srcId="{98AD34AA-1ECB-46F4-8E0B-F0D692F49154}" destId="{29A9BEF8-F78E-4C0F-889B-37033264D675}" srcOrd="2" destOrd="0" presId="urn:microsoft.com/office/officeart/2008/layout/AlternatingHexagons"/>
    <dgm:cxn modelId="{58C03078-1FEB-456D-9441-7CFCA461C48C}" type="presParOf" srcId="{98AD34AA-1ECB-46F4-8E0B-F0D692F49154}" destId="{A3246847-2F81-4624-A854-61057FAEA007}" srcOrd="3" destOrd="0" presId="urn:microsoft.com/office/officeart/2008/layout/AlternatingHexagons"/>
    <dgm:cxn modelId="{E47DD475-DD90-44DA-932C-308771201061}" type="presParOf" srcId="{98AD34AA-1ECB-46F4-8E0B-F0D692F49154}" destId="{507DECE4-63FE-4579-A3AD-BB384930C673}" srcOrd="4" destOrd="0" presId="urn:microsoft.com/office/officeart/2008/layout/AlternatingHexagons"/>
    <dgm:cxn modelId="{9FBB2383-06BE-4DCC-8425-ED36DD44BBA6}" type="presParOf" srcId="{258D7916-45DF-4EAE-B10E-AA76654DD2F9}" destId="{06A04705-7EF8-4E01-9580-64CF0DC3DB41}" srcOrd="1" destOrd="0" presId="urn:microsoft.com/office/officeart/2008/layout/AlternatingHexagons"/>
    <dgm:cxn modelId="{C60D381D-B084-4977-B940-C33F5835B252}" type="presParOf" srcId="{258D7916-45DF-4EAE-B10E-AA76654DD2F9}" destId="{40B81B7D-1157-45BF-8C1F-22F6B45DBE1A}" srcOrd="2" destOrd="0" presId="urn:microsoft.com/office/officeart/2008/layout/AlternatingHexagons"/>
    <dgm:cxn modelId="{AF501678-6FF2-4CDB-A9B4-07A6A0129F9D}" type="presParOf" srcId="{40B81B7D-1157-45BF-8C1F-22F6B45DBE1A}" destId="{B88A5A58-1D34-493A-B8DE-79414348E73C}" srcOrd="0" destOrd="0" presId="urn:microsoft.com/office/officeart/2008/layout/AlternatingHexagons"/>
    <dgm:cxn modelId="{00A99F92-F660-4CB9-B66C-9EE73D3F57E9}" type="presParOf" srcId="{40B81B7D-1157-45BF-8C1F-22F6B45DBE1A}" destId="{4F7BED0E-73D4-464F-83F7-8295F1B0E139}" srcOrd="1" destOrd="0" presId="urn:microsoft.com/office/officeart/2008/layout/AlternatingHexagons"/>
    <dgm:cxn modelId="{778D7A5B-A310-4322-B8A1-3092A96C3B1E}" type="presParOf" srcId="{40B81B7D-1157-45BF-8C1F-22F6B45DBE1A}" destId="{68EF5BEA-9DD3-4779-8D95-9FB43FC43F78}" srcOrd="2" destOrd="0" presId="urn:microsoft.com/office/officeart/2008/layout/AlternatingHexagons"/>
    <dgm:cxn modelId="{E484B736-DA72-4871-89E8-B89FD952BDF4}" type="presParOf" srcId="{40B81B7D-1157-45BF-8C1F-22F6B45DBE1A}" destId="{84B3D6E7-5718-47D1-AADB-802629E70950}" srcOrd="3" destOrd="0" presId="urn:microsoft.com/office/officeart/2008/layout/AlternatingHexagons"/>
    <dgm:cxn modelId="{CBF92101-99E5-4D37-8F64-6996ED772728}" type="presParOf" srcId="{40B81B7D-1157-45BF-8C1F-22F6B45DBE1A}" destId="{AC91EDA5-81AE-4530-B143-5702F926B749}" srcOrd="4" destOrd="0" presId="urn:microsoft.com/office/officeart/2008/layout/AlternatingHexagons"/>
    <dgm:cxn modelId="{5C4DC9E3-0510-4625-9B96-EDC57279B76A}" type="presParOf" srcId="{258D7916-45DF-4EAE-B10E-AA76654DD2F9}" destId="{C81A4E61-45CA-4E96-9E00-49BC5584A2E7}" srcOrd="3" destOrd="0" presId="urn:microsoft.com/office/officeart/2008/layout/AlternatingHexagons"/>
    <dgm:cxn modelId="{FB1050D2-DC46-430E-974F-608DE59763A8}" type="presParOf" srcId="{258D7916-45DF-4EAE-B10E-AA76654DD2F9}" destId="{4CE6D5AC-EDCC-462E-9DE7-918D4F4FC5AE}" srcOrd="4" destOrd="0" presId="urn:microsoft.com/office/officeart/2008/layout/AlternatingHexagons"/>
    <dgm:cxn modelId="{12E08F6B-17AC-4451-BB66-E622E5DB7BB3}" type="presParOf" srcId="{4CE6D5AC-EDCC-462E-9DE7-918D4F4FC5AE}" destId="{EEEA9B8D-98FF-46B6-9E0A-592686FAABC0}" srcOrd="0" destOrd="0" presId="urn:microsoft.com/office/officeart/2008/layout/AlternatingHexagons"/>
    <dgm:cxn modelId="{6C169677-3574-48BA-A15F-066298A758DD}" type="presParOf" srcId="{4CE6D5AC-EDCC-462E-9DE7-918D4F4FC5AE}" destId="{CECC0541-E344-45D4-9268-006CA08E56E5}" srcOrd="1" destOrd="0" presId="urn:microsoft.com/office/officeart/2008/layout/AlternatingHexagons"/>
    <dgm:cxn modelId="{A272110A-1766-4D5D-8697-D1431A359EB4}" type="presParOf" srcId="{4CE6D5AC-EDCC-462E-9DE7-918D4F4FC5AE}" destId="{62839578-6DC8-4F8E-8DB3-52F2863F33A1}" srcOrd="2" destOrd="0" presId="urn:microsoft.com/office/officeart/2008/layout/AlternatingHexagons"/>
    <dgm:cxn modelId="{46674F08-8494-4606-AA6E-CA95A25E18F4}" type="presParOf" srcId="{4CE6D5AC-EDCC-462E-9DE7-918D4F4FC5AE}" destId="{8A127D65-726D-4820-A01F-043B28E73DE9}" srcOrd="3" destOrd="0" presId="urn:microsoft.com/office/officeart/2008/layout/AlternatingHexagons"/>
    <dgm:cxn modelId="{537B6A89-5C8C-4697-B6B2-6ADADACAF472}" type="presParOf" srcId="{4CE6D5AC-EDCC-462E-9DE7-918D4F4FC5AE}" destId="{7114C193-2E12-47AA-AE5A-F15E7A39A995}"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265FA74-4C76-4AA5-B436-B0DA5FA08A33}" type="doc">
      <dgm:prSet loTypeId="urn:microsoft.com/office/officeart/2005/8/layout/hierarchy4" loCatId="list" qsTypeId="urn:microsoft.com/office/officeart/2005/8/quickstyle/simple1" qsCatId="simple" csTypeId="urn:microsoft.com/office/officeart/2005/8/colors/accent2_3" csCatId="accent2" phldr="1"/>
      <dgm:spPr/>
      <dgm:t>
        <a:bodyPr/>
        <a:lstStyle/>
        <a:p>
          <a:endParaRPr lang="en-US"/>
        </a:p>
      </dgm:t>
    </dgm:pt>
    <dgm:pt modelId="{B2D613BE-44ED-4833-A9C1-1A3BE887CEBE}">
      <dgm:prSet custT="1"/>
      <dgm:spPr>
        <a:effectLst>
          <a:outerShdw blurRad="50800" dist="38100" dir="18900000" algn="bl" rotWithShape="0">
            <a:prstClr val="black">
              <a:alpha val="40000"/>
            </a:prstClr>
          </a:outerShdw>
        </a:effectLst>
        <a:scene3d>
          <a:camera prst="orthographicFront"/>
          <a:lightRig rig="threePt" dir="t"/>
        </a:scene3d>
        <a:sp3d>
          <a:bevelT prst="angle"/>
        </a:sp3d>
      </dgm:spPr>
      <dgm:t>
        <a:bodyPr/>
        <a:lstStyle/>
        <a:p>
          <a:r>
            <a:rPr lang="en-US" sz="3600" dirty="0"/>
            <a:t>3 goals for choosing the distribution key</a:t>
          </a:r>
        </a:p>
      </dgm:t>
    </dgm:pt>
    <dgm:pt modelId="{3965E237-C7E4-4A20-BCD9-6BB907E081F9}" type="parTrans" cxnId="{1289DB03-00B4-4472-922B-68F16F2AB9BC}">
      <dgm:prSet/>
      <dgm:spPr/>
      <dgm:t>
        <a:bodyPr/>
        <a:lstStyle/>
        <a:p>
          <a:endParaRPr lang="en-US"/>
        </a:p>
      </dgm:t>
    </dgm:pt>
    <dgm:pt modelId="{5A095DA0-BA45-4129-9099-CDE77A90D268}" type="sibTrans" cxnId="{1289DB03-00B4-4472-922B-68F16F2AB9BC}">
      <dgm:prSet/>
      <dgm:spPr/>
      <dgm:t>
        <a:bodyPr/>
        <a:lstStyle/>
        <a:p>
          <a:endParaRPr lang="en-US"/>
        </a:p>
      </dgm:t>
    </dgm:pt>
    <dgm:pt modelId="{AF1836AC-7D07-449B-AB63-444B0C1EDD19}">
      <dgm:prSet custT="1"/>
      <dgm:spPr>
        <a:solidFill>
          <a:schemeClr val="accent1">
            <a:lumMod val="60000"/>
            <a:lumOff val="40000"/>
          </a:schemeClr>
        </a:solidFill>
        <a:effectLst>
          <a:outerShdw blurRad="50800" dist="38100" dir="18900000" algn="bl" rotWithShape="0">
            <a:prstClr val="black">
              <a:alpha val="40000"/>
            </a:prstClr>
          </a:outerShdw>
        </a:effectLst>
        <a:scene3d>
          <a:camera prst="orthographicFront"/>
          <a:lightRig rig="threePt" dir="t"/>
        </a:scene3d>
        <a:sp3d>
          <a:bevelT prst="angle"/>
        </a:sp3d>
      </dgm:spPr>
      <dgm:t>
        <a:bodyPr/>
        <a:lstStyle/>
        <a:p>
          <a:r>
            <a:rPr lang="en-US" sz="3200" dirty="0"/>
            <a:t>Maximize Balanced Execution</a:t>
          </a:r>
        </a:p>
      </dgm:t>
    </dgm:pt>
    <dgm:pt modelId="{D8BE3A34-97EA-46E4-B257-664ABFA0F60A}" type="parTrans" cxnId="{CA32B810-DA98-4660-97C4-7D04921538DC}">
      <dgm:prSet/>
      <dgm:spPr/>
      <dgm:t>
        <a:bodyPr/>
        <a:lstStyle/>
        <a:p>
          <a:endParaRPr lang="en-US"/>
        </a:p>
      </dgm:t>
    </dgm:pt>
    <dgm:pt modelId="{045EA307-7B0D-483E-84BE-F724F82314A1}" type="sibTrans" cxnId="{CA32B810-DA98-4660-97C4-7D04921538DC}">
      <dgm:prSet/>
      <dgm:spPr/>
      <dgm:t>
        <a:bodyPr/>
        <a:lstStyle/>
        <a:p>
          <a:endParaRPr lang="en-US"/>
        </a:p>
      </dgm:t>
    </dgm:pt>
    <dgm:pt modelId="{29710608-8D64-4162-8836-026682D7462C}">
      <dgm:prSet custT="1"/>
      <dgm:spPr>
        <a:solidFill>
          <a:schemeClr val="accent1">
            <a:lumMod val="75000"/>
          </a:schemeClr>
        </a:solidFill>
        <a:effectLst>
          <a:outerShdw blurRad="50800" dist="38100" dir="18900000" algn="bl" rotWithShape="0">
            <a:prstClr val="black">
              <a:alpha val="40000"/>
            </a:prstClr>
          </a:outerShdw>
        </a:effectLst>
        <a:scene3d>
          <a:camera prst="orthographicFront"/>
          <a:lightRig rig="threePt" dir="t"/>
        </a:scene3d>
        <a:sp3d>
          <a:bevelT prst="angle"/>
        </a:sp3d>
      </dgm:spPr>
      <dgm:t>
        <a:bodyPr/>
        <a:lstStyle/>
        <a:p>
          <a:r>
            <a:rPr lang="en-US" sz="3200" dirty="0"/>
            <a:t>Minimize Data Skew</a:t>
          </a:r>
        </a:p>
      </dgm:t>
    </dgm:pt>
    <dgm:pt modelId="{60754694-5BCB-4FEF-B9BF-C1B5A079EA09}" type="parTrans" cxnId="{153CA78C-D990-45D3-A244-063761487B99}">
      <dgm:prSet/>
      <dgm:spPr/>
      <dgm:t>
        <a:bodyPr/>
        <a:lstStyle/>
        <a:p>
          <a:endParaRPr lang="en-US"/>
        </a:p>
      </dgm:t>
    </dgm:pt>
    <dgm:pt modelId="{8757B622-0F5D-4520-867C-C5BABC656617}" type="sibTrans" cxnId="{153CA78C-D990-45D3-A244-063761487B99}">
      <dgm:prSet/>
      <dgm:spPr/>
      <dgm:t>
        <a:bodyPr/>
        <a:lstStyle/>
        <a:p>
          <a:endParaRPr lang="en-US"/>
        </a:p>
      </dgm:t>
    </dgm:pt>
    <dgm:pt modelId="{8DB25616-5232-42A4-9BE5-ABCD1363E09D}">
      <dgm:prSet custT="1"/>
      <dgm:spPr>
        <a:effectLst>
          <a:outerShdw blurRad="50800" dist="38100" dir="18900000" algn="bl" rotWithShape="0">
            <a:prstClr val="black">
              <a:alpha val="40000"/>
            </a:prstClr>
          </a:outerShdw>
        </a:effectLst>
        <a:scene3d>
          <a:camera prst="orthographicFront"/>
          <a:lightRig rig="threePt" dir="t"/>
        </a:scene3d>
        <a:sp3d>
          <a:bevelT prst="angle"/>
        </a:sp3d>
      </dgm:spPr>
      <dgm:t>
        <a:bodyPr/>
        <a:lstStyle/>
        <a:p>
          <a:r>
            <a:rPr lang="en-US" sz="3200" dirty="0"/>
            <a:t>Minimize Data Movement</a:t>
          </a:r>
        </a:p>
      </dgm:t>
    </dgm:pt>
    <dgm:pt modelId="{E1B92534-C2BE-4A7F-B9C3-E34CD7C0DEBA}" type="parTrans" cxnId="{E6618198-8692-460B-97AE-25FE9F2500E0}">
      <dgm:prSet/>
      <dgm:spPr/>
      <dgm:t>
        <a:bodyPr/>
        <a:lstStyle/>
        <a:p>
          <a:endParaRPr lang="en-US"/>
        </a:p>
      </dgm:t>
    </dgm:pt>
    <dgm:pt modelId="{572A957B-304A-4B92-AD4A-07FDE0888AA2}" type="sibTrans" cxnId="{E6618198-8692-460B-97AE-25FE9F2500E0}">
      <dgm:prSet/>
      <dgm:spPr/>
      <dgm:t>
        <a:bodyPr/>
        <a:lstStyle/>
        <a:p>
          <a:endParaRPr lang="en-US"/>
        </a:p>
      </dgm:t>
    </dgm:pt>
    <dgm:pt modelId="{5DCAEA86-0473-401E-99CD-CAFAF581A8D2}" type="pres">
      <dgm:prSet presAssocID="{7265FA74-4C76-4AA5-B436-B0DA5FA08A33}" presName="Name0" presStyleCnt="0">
        <dgm:presLayoutVars>
          <dgm:chPref val="1"/>
          <dgm:dir/>
          <dgm:animOne val="branch"/>
          <dgm:animLvl val="lvl"/>
          <dgm:resizeHandles/>
        </dgm:presLayoutVars>
      </dgm:prSet>
      <dgm:spPr/>
    </dgm:pt>
    <dgm:pt modelId="{C5127616-3885-4940-A579-941BF177CEED}" type="pres">
      <dgm:prSet presAssocID="{B2D613BE-44ED-4833-A9C1-1A3BE887CEBE}" presName="vertOne" presStyleCnt="0"/>
      <dgm:spPr/>
    </dgm:pt>
    <dgm:pt modelId="{5D7CE36B-13EB-4323-A924-F4A18C625CF5}" type="pres">
      <dgm:prSet presAssocID="{B2D613BE-44ED-4833-A9C1-1A3BE887CEBE}" presName="txOne" presStyleLbl="node0" presStyleIdx="0" presStyleCnt="1" custLinFactNeighborX="-36" custLinFactNeighborY="-403">
        <dgm:presLayoutVars>
          <dgm:chPref val="3"/>
        </dgm:presLayoutVars>
      </dgm:prSet>
      <dgm:spPr/>
    </dgm:pt>
    <dgm:pt modelId="{152973F5-7C85-4F5D-96A5-9E013DC66C66}" type="pres">
      <dgm:prSet presAssocID="{B2D613BE-44ED-4833-A9C1-1A3BE887CEBE}" presName="parTransOne" presStyleCnt="0"/>
      <dgm:spPr/>
    </dgm:pt>
    <dgm:pt modelId="{D67266AB-D1CE-48E4-A0F5-AA70B1C1D96C}" type="pres">
      <dgm:prSet presAssocID="{B2D613BE-44ED-4833-A9C1-1A3BE887CEBE}" presName="horzOne" presStyleCnt="0"/>
      <dgm:spPr/>
    </dgm:pt>
    <dgm:pt modelId="{D713B0DD-FFC6-4B37-93C9-2D3AA1E8E9B1}" type="pres">
      <dgm:prSet presAssocID="{8DB25616-5232-42A4-9BE5-ABCD1363E09D}" presName="vertTwo" presStyleCnt="0"/>
      <dgm:spPr/>
    </dgm:pt>
    <dgm:pt modelId="{4940911F-3358-42B9-A0B3-6F73A6235BAF}" type="pres">
      <dgm:prSet presAssocID="{8DB25616-5232-42A4-9BE5-ABCD1363E09D}" presName="txTwo" presStyleLbl="node2" presStyleIdx="0" presStyleCnt="3">
        <dgm:presLayoutVars>
          <dgm:chPref val="3"/>
        </dgm:presLayoutVars>
      </dgm:prSet>
      <dgm:spPr/>
    </dgm:pt>
    <dgm:pt modelId="{A957ACE7-F372-42FA-BC72-CD1EC951B0B5}" type="pres">
      <dgm:prSet presAssocID="{8DB25616-5232-42A4-9BE5-ABCD1363E09D}" presName="horzTwo" presStyleCnt="0"/>
      <dgm:spPr/>
    </dgm:pt>
    <dgm:pt modelId="{89451391-F9CE-4CDE-9218-FCC5559ED331}" type="pres">
      <dgm:prSet presAssocID="{572A957B-304A-4B92-AD4A-07FDE0888AA2}" presName="sibSpaceTwo" presStyleCnt="0"/>
      <dgm:spPr/>
    </dgm:pt>
    <dgm:pt modelId="{6C1C6D7C-C2E6-457C-8934-30F9F4BE65B6}" type="pres">
      <dgm:prSet presAssocID="{AF1836AC-7D07-449B-AB63-444B0C1EDD19}" presName="vertTwo" presStyleCnt="0"/>
      <dgm:spPr/>
    </dgm:pt>
    <dgm:pt modelId="{320DF8F1-9723-4F53-BE36-1BEE856F3C82}" type="pres">
      <dgm:prSet presAssocID="{AF1836AC-7D07-449B-AB63-444B0C1EDD19}" presName="txTwo" presStyleLbl="node2" presStyleIdx="1" presStyleCnt="3" custLinFactX="3087" custLinFactNeighborX="100000" custLinFactNeighborY="-560">
        <dgm:presLayoutVars>
          <dgm:chPref val="3"/>
        </dgm:presLayoutVars>
      </dgm:prSet>
      <dgm:spPr/>
    </dgm:pt>
    <dgm:pt modelId="{C73FBE98-8D1C-41D3-B016-DF5A3B62FF10}" type="pres">
      <dgm:prSet presAssocID="{AF1836AC-7D07-449B-AB63-444B0C1EDD19}" presName="horzTwo" presStyleCnt="0"/>
      <dgm:spPr/>
    </dgm:pt>
    <dgm:pt modelId="{F8D34E96-53E9-4D89-BDD8-39382DF3D323}" type="pres">
      <dgm:prSet presAssocID="{045EA307-7B0D-483E-84BE-F724F82314A1}" presName="sibSpaceTwo" presStyleCnt="0"/>
      <dgm:spPr/>
    </dgm:pt>
    <dgm:pt modelId="{01EF176C-6ED3-48A8-A78B-DEB214BC50E7}" type="pres">
      <dgm:prSet presAssocID="{29710608-8D64-4162-8836-026682D7462C}" presName="vertTwo" presStyleCnt="0"/>
      <dgm:spPr/>
    </dgm:pt>
    <dgm:pt modelId="{7117D5F8-F587-4321-B29B-D370912D73A6}" type="pres">
      <dgm:prSet presAssocID="{29710608-8D64-4162-8836-026682D7462C}" presName="txTwo" presStyleLbl="node2" presStyleIdx="2" presStyleCnt="3" custLinFactX="-11871" custLinFactNeighborX="-100000" custLinFactNeighborY="52">
        <dgm:presLayoutVars>
          <dgm:chPref val="3"/>
        </dgm:presLayoutVars>
      </dgm:prSet>
      <dgm:spPr/>
    </dgm:pt>
    <dgm:pt modelId="{B11FDB7F-325C-4A47-9969-511C1AB30F8E}" type="pres">
      <dgm:prSet presAssocID="{29710608-8D64-4162-8836-026682D7462C}" presName="horzTwo" presStyleCnt="0"/>
      <dgm:spPr/>
    </dgm:pt>
  </dgm:ptLst>
  <dgm:cxnLst>
    <dgm:cxn modelId="{1289DB03-00B4-4472-922B-68F16F2AB9BC}" srcId="{7265FA74-4C76-4AA5-B436-B0DA5FA08A33}" destId="{B2D613BE-44ED-4833-A9C1-1A3BE887CEBE}" srcOrd="0" destOrd="0" parTransId="{3965E237-C7E4-4A20-BCD9-6BB907E081F9}" sibTransId="{5A095DA0-BA45-4129-9099-CDE77A90D268}"/>
    <dgm:cxn modelId="{CA32B810-DA98-4660-97C4-7D04921538DC}" srcId="{B2D613BE-44ED-4833-A9C1-1A3BE887CEBE}" destId="{AF1836AC-7D07-449B-AB63-444B0C1EDD19}" srcOrd="1" destOrd="0" parTransId="{D8BE3A34-97EA-46E4-B257-664ABFA0F60A}" sibTransId="{045EA307-7B0D-483E-84BE-F724F82314A1}"/>
    <dgm:cxn modelId="{44E5C374-C101-49FB-8C73-63BB4A76E983}" type="presOf" srcId="{29710608-8D64-4162-8836-026682D7462C}" destId="{7117D5F8-F587-4321-B29B-D370912D73A6}" srcOrd="0" destOrd="0" presId="urn:microsoft.com/office/officeart/2005/8/layout/hierarchy4"/>
    <dgm:cxn modelId="{153CA78C-D990-45D3-A244-063761487B99}" srcId="{B2D613BE-44ED-4833-A9C1-1A3BE887CEBE}" destId="{29710608-8D64-4162-8836-026682D7462C}" srcOrd="2" destOrd="0" parTransId="{60754694-5BCB-4FEF-B9BF-C1B5A079EA09}" sibTransId="{8757B622-0F5D-4520-867C-C5BABC656617}"/>
    <dgm:cxn modelId="{E6618198-8692-460B-97AE-25FE9F2500E0}" srcId="{B2D613BE-44ED-4833-A9C1-1A3BE887CEBE}" destId="{8DB25616-5232-42A4-9BE5-ABCD1363E09D}" srcOrd="0" destOrd="0" parTransId="{E1B92534-C2BE-4A7F-B9C3-E34CD7C0DEBA}" sibTransId="{572A957B-304A-4B92-AD4A-07FDE0888AA2}"/>
    <dgm:cxn modelId="{1AF370B4-0F65-4E21-B9F6-9105F63936B0}" type="presOf" srcId="{7265FA74-4C76-4AA5-B436-B0DA5FA08A33}" destId="{5DCAEA86-0473-401E-99CD-CAFAF581A8D2}" srcOrd="0" destOrd="0" presId="urn:microsoft.com/office/officeart/2005/8/layout/hierarchy4"/>
    <dgm:cxn modelId="{55FB14C3-D5C3-4305-B155-90F20C3A3D2E}" type="presOf" srcId="{B2D613BE-44ED-4833-A9C1-1A3BE887CEBE}" destId="{5D7CE36B-13EB-4323-A924-F4A18C625CF5}" srcOrd="0" destOrd="0" presId="urn:microsoft.com/office/officeart/2005/8/layout/hierarchy4"/>
    <dgm:cxn modelId="{0BBCFBDF-D3DF-459F-AC91-9F6C47B746A5}" type="presOf" srcId="{AF1836AC-7D07-449B-AB63-444B0C1EDD19}" destId="{320DF8F1-9723-4F53-BE36-1BEE856F3C82}" srcOrd="0" destOrd="0" presId="urn:microsoft.com/office/officeart/2005/8/layout/hierarchy4"/>
    <dgm:cxn modelId="{C2119CE1-22B9-48EA-B9A1-F8C2D0CE71BF}" type="presOf" srcId="{8DB25616-5232-42A4-9BE5-ABCD1363E09D}" destId="{4940911F-3358-42B9-A0B3-6F73A6235BAF}" srcOrd="0" destOrd="0" presId="urn:microsoft.com/office/officeart/2005/8/layout/hierarchy4"/>
    <dgm:cxn modelId="{1F73F753-1577-45E4-93BE-634006A0B616}" type="presParOf" srcId="{5DCAEA86-0473-401E-99CD-CAFAF581A8D2}" destId="{C5127616-3885-4940-A579-941BF177CEED}" srcOrd="0" destOrd="0" presId="urn:microsoft.com/office/officeart/2005/8/layout/hierarchy4"/>
    <dgm:cxn modelId="{84EB1389-B585-48C7-9851-365BAAF19825}" type="presParOf" srcId="{C5127616-3885-4940-A579-941BF177CEED}" destId="{5D7CE36B-13EB-4323-A924-F4A18C625CF5}" srcOrd="0" destOrd="0" presId="urn:microsoft.com/office/officeart/2005/8/layout/hierarchy4"/>
    <dgm:cxn modelId="{96F94550-321D-4A3B-BBAE-1EF912665791}" type="presParOf" srcId="{C5127616-3885-4940-A579-941BF177CEED}" destId="{152973F5-7C85-4F5D-96A5-9E013DC66C66}" srcOrd="1" destOrd="0" presId="urn:microsoft.com/office/officeart/2005/8/layout/hierarchy4"/>
    <dgm:cxn modelId="{F7DAAFF2-9D03-45D1-A8E2-8AF95E8F780B}" type="presParOf" srcId="{C5127616-3885-4940-A579-941BF177CEED}" destId="{D67266AB-D1CE-48E4-A0F5-AA70B1C1D96C}" srcOrd="2" destOrd="0" presId="urn:microsoft.com/office/officeart/2005/8/layout/hierarchy4"/>
    <dgm:cxn modelId="{2023F0CC-A9C9-4745-886F-2F77F5365043}" type="presParOf" srcId="{D67266AB-D1CE-48E4-A0F5-AA70B1C1D96C}" destId="{D713B0DD-FFC6-4B37-93C9-2D3AA1E8E9B1}" srcOrd="0" destOrd="0" presId="urn:microsoft.com/office/officeart/2005/8/layout/hierarchy4"/>
    <dgm:cxn modelId="{CF77ED1E-7396-426A-94F5-AC7FB14254ED}" type="presParOf" srcId="{D713B0DD-FFC6-4B37-93C9-2D3AA1E8E9B1}" destId="{4940911F-3358-42B9-A0B3-6F73A6235BAF}" srcOrd="0" destOrd="0" presId="urn:microsoft.com/office/officeart/2005/8/layout/hierarchy4"/>
    <dgm:cxn modelId="{10937385-2583-422D-9ECE-C58D7A1953AF}" type="presParOf" srcId="{D713B0DD-FFC6-4B37-93C9-2D3AA1E8E9B1}" destId="{A957ACE7-F372-42FA-BC72-CD1EC951B0B5}" srcOrd="1" destOrd="0" presId="urn:microsoft.com/office/officeart/2005/8/layout/hierarchy4"/>
    <dgm:cxn modelId="{11F27013-B74C-4510-B397-28A97486400C}" type="presParOf" srcId="{D67266AB-D1CE-48E4-A0F5-AA70B1C1D96C}" destId="{89451391-F9CE-4CDE-9218-FCC5559ED331}" srcOrd="1" destOrd="0" presId="urn:microsoft.com/office/officeart/2005/8/layout/hierarchy4"/>
    <dgm:cxn modelId="{EBFE92B3-590E-4E74-A2F5-75AF72D7145D}" type="presParOf" srcId="{D67266AB-D1CE-48E4-A0F5-AA70B1C1D96C}" destId="{6C1C6D7C-C2E6-457C-8934-30F9F4BE65B6}" srcOrd="2" destOrd="0" presId="urn:microsoft.com/office/officeart/2005/8/layout/hierarchy4"/>
    <dgm:cxn modelId="{2741F71C-1CCA-4C56-A8CF-90F0627776E2}" type="presParOf" srcId="{6C1C6D7C-C2E6-457C-8934-30F9F4BE65B6}" destId="{320DF8F1-9723-4F53-BE36-1BEE856F3C82}" srcOrd="0" destOrd="0" presId="urn:microsoft.com/office/officeart/2005/8/layout/hierarchy4"/>
    <dgm:cxn modelId="{0CAA1470-E6FE-42EF-9AEF-A08F203C0B17}" type="presParOf" srcId="{6C1C6D7C-C2E6-457C-8934-30F9F4BE65B6}" destId="{C73FBE98-8D1C-41D3-B016-DF5A3B62FF10}" srcOrd="1" destOrd="0" presId="urn:microsoft.com/office/officeart/2005/8/layout/hierarchy4"/>
    <dgm:cxn modelId="{99672EF8-3F31-40A0-9C7D-541359A9DCC3}" type="presParOf" srcId="{D67266AB-D1CE-48E4-A0F5-AA70B1C1D96C}" destId="{F8D34E96-53E9-4D89-BDD8-39382DF3D323}" srcOrd="3" destOrd="0" presId="urn:microsoft.com/office/officeart/2005/8/layout/hierarchy4"/>
    <dgm:cxn modelId="{1CC5D29A-3C29-43A8-8511-85C0C126BB8E}" type="presParOf" srcId="{D67266AB-D1CE-48E4-A0F5-AA70B1C1D96C}" destId="{01EF176C-6ED3-48A8-A78B-DEB214BC50E7}" srcOrd="4" destOrd="0" presId="urn:microsoft.com/office/officeart/2005/8/layout/hierarchy4"/>
    <dgm:cxn modelId="{F5B86670-56D1-4E41-884A-13CBA69C30E7}" type="presParOf" srcId="{01EF176C-6ED3-48A8-A78B-DEB214BC50E7}" destId="{7117D5F8-F587-4321-B29B-D370912D73A6}" srcOrd="0" destOrd="0" presId="urn:microsoft.com/office/officeart/2005/8/layout/hierarchy4"/>
    <dgm:cxn modelId="{DEEC33E8-79A5-49D6-AFF6-A2CCAC753080}" type="presParOf" srcId="{01EF176C-6ED3-48A8-A78B-DEB214BC50E7}" destId="{B11FDB7F-325C-4A47-9969-511C1AB30F8E}"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24F8151-E9C3-45E0-807D-6CF6DD51430C}"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s-ES"/>
        </a:p>
      </dgm:t>
    </dgm:pt>
    <dgm:pt modelId="{93D0ED55-EFDD-4C8F-93BF-69D3A9ED399A}">
      <dgm:prSet phldrT="[Text]"/>
      <dgm:spPr>
        <a:scene3d>
          <a:camera prst="orthographicFront"/>
          <a:lightRig rig="threePt" dir="t"/>
        </a:scene3d>
        <a:sp3d>
          <a:bevelT prst="angle"/>
        </a:sp3d>
      </dgm:spPr>
      <dgm:t>
        <a:bodyPr/>
        <a:lstStyle/>
        <a:p>
          <a:r>
            <a:rPr lang="en-GB" dirty="0"/>
            <a:t>Pick a distribution column that is commonly used in </a:t>
          </a:r>
          <a:endParaRPr lang="es-ES" dirty="0"/>
        </a:p>
      </dgm:t>
    </dgm:pt>
    <dgm:pt modelId="{A80BC3F1-E2D8-452E-8ED7-702978558050}" type="parTrans" cxnId="{0032CFF0-D3C7-454C-9986-0C510DCAADCF}">
      <dgm:prSet/>
      <dgm:spPr/>
      <dgm:t>
        <a:bodyPr/>
        <a:lstStyle/>
        <a:p>
          <a:endParaRPr lang="es-ES"/>
        </a:p>
      </dgm:t>
    </dgm:pt>
    <dgm:pt modelId="{8E15CA7F-2009-4851-A58A-68F0EF240F38}" type="sibTrans" cxnId="{0032CFF0-D3C7-454C-9986-0C510DCAADCF}">
      <dgm:prSet/>
      <dgm:spPr/>
      <dgm:t>
        <a:bodyPr/>
        <a:lstStyle/>
        <a:p>
          <a:endParaRPr lang="es-ES"/>
        </a:p>
      </dgm:t>
    </dgm:pt>
    <dgm:pt modelId="{336FFA88-EE4A-4732-AC77-3D0387DFC175}">
      <dgm:prSet/>
      <dgm:spPr/>
      <dgm:t>
        <a:bodyPr/>
        <a:lstStyle/>
        <a:p>
          <a:r>
            <a:rPr lang="en-GB" dirty="0">
              <a:latin typeface="+mj-lt"/>
            </a:rPr>
            <a:t>JOINs</a:t>
          </a:r>
        </a:p>
      </dgm:t>
    </dgm:pt>
    <dgm:pt modelId="{CEA12DDA-55DA-46D2-A50D-26E7FDBC18B1}" type="parTrans" cxnId="{BB3AE783-1E87-47DD-B81C-5AD83907C788}">
      <dgm:prSet/>
      <dgm:spPr/>
      <dgm:t>
        <a:bodyPr/>
        <a:lstStyle/>
        <a:p>
          <a:endParaRPr lang="es-ES"/>
        </a:p>
      </dgm:t>
    </dgm:pt>
    <dgm:pt modelId="{0DD7844C-CF4C-4C5E-AAD8-748F66D90E28}" type="sibTrans" cxnId="{BB3AE783-1E87-47DD-B81C-5AD83907C788}">
      <dgm:prSet/>
      <dgm:spPr/>
      <dgm:t>
        <a:bodyPr/>
        <a:lstStyle/>
        <a:p>
          <a:endParaRPr lang="es-ES"/>
        </a:p>
      </dgm:t>
    </dgm:pt>
    <dgm:pt modelId="{3FFAC3FC-D7F1-49A2-9D1F-9F46C54EFFBE}">
      <dgm:prSet/>
      <dgm:spPr/>
      <dgm:t>
        <a:bodyPr/>
        <a:lstStyle/>
        <a:p>
          <a:r>
            <a:rPr lang="en-GB" dirty="0">
              <a:latin typeface="+mj-lt"/>
            </a:rPr>
            <a:t>GROUP BY / AGGREGATIONs</a:t>
          </a:r>
        </a:p>
      </dgm:t>
    </dgm:pt>
    <dgm:pt modelId="{5FE82123-3CA2-41B5-8F2D-CF3E661A5914}" type="parTrans" cxnId="{33FFBA5E-BBD1-4A1E-B296-1BB07EBFC0C5}">
      <dgm:prSet/>
      <dgm:spPr/>
      <dgm:t>
        <a:bodyPr/>
        <a:lstStyle/>
        <a:p>
          <a:endParaRPr lang="es-ES"/>
        </a:p>
      </dgm:t>
    </dgm:pt>
    <dgm:pt modelId="{96D96077-2CE6-4F8B-9A58-4A539365DD4A}" type="sibTrans" cxnId="{33FFBA5E-BBD1-4A1E-B296-1BB07EBFC0C5}">
      <dgm:prSet/>
      <dgm:spPr/>
      <dgm:t>
        <a:bodyPr/>
        <a:lstStyle/>
        <a:p>
          <a:endParaRPr lang="es-ES"/>
        </a:p>
      </dgm:t>
    </dgm:pt>
    <dgm:pt modelId="{80D39A11-2DD8-460E-B3B0-8C6A7979AC55}">
      <dgm:prSet/>
      <dgm:spPr/>
      <dgm:t>
        <a:bodyPr/>
        <a:lstStyle/>
        <a:p>
          <a:r>
            <a:rPr lang="en-GB" b="1" u="sng" dirty="0">
              <a:latin typeface="+mj-lt"/>
            </a:rPr>
            <a:t>NOT</a:t>
          </a:r>
          <a:r>
            <a:rPr lang="en-GB" dirty="0">
              <a:latin typeface="+mj-lt"/>
            </a:rPr>
            <a:t> predominantly used in WHERE  predicates</a:t>
          </a:r>
          <a:endParaRPr lang="en-GB" baseline="40000" dirty="0">
            <a:latin typeface="+mj-lt"/>
          </a:endParaRPr>
        </a:p>
      </dgm:t>
    </dgm:pt>
    <dgm:pt modelId="{881DA806-F12E-451C-BFD9-0F619B58004A}" type="parTrans" cxnId="{9988B175-66CB-4BF8-8A4C-140C9F8A9A59}">
      <dgm:prSet/>
      <dgm:spPr/>
      <dgm:t>
        <a:bodyPr/>
        <a:lstStyle/>
        <a:p>
          <a:endParaRPr lang="es-ES"/>
        </a:p>
      </dgm:t>
    </dgm:pt>
    <dgm:pt modelId="{E215261F-37F1-444C-8778-5030F2EBC76E}" type="sibTrans" cxnId="{9988B175-66CB-4BF8-8A4C-140C9F8A9A59}">
      <dgm:prSet/>
      <dgm:spPr/>
      <dgm:t>
        <a:bodyPr/>
        <a:lstStyle/>
        <a:p>
          <a:endParaRPr lang="es-ES"/>
        </a:p>
      </dgm:t>
    </dgm:pt>
    <dgm:pt modelId="{A475F37D-D7E3-44C6-8B86-86A31DB08E43}">
      <dgm:prSet/>
      <dgm:spPr/>
      <dgm:t>
        <a:bodyPr/>
        <a:lstStyle/>
        <a:p>
          <a:r>
            <a:rPr lang="en-GB" dirty="0"/>
            <a:t>Distribution columns in related tables</a:t>
          </a:r>
        </a:p>
      </dgm:t>
    </dgm:pt>
    <dgm:pt modelId="{EA1E9626-E52C-41DF-8841-8282D2C95CF5}" type="parTrans" cxnId="{DD3EA8DD-2F7F-4443-BE57-F7B9E5C10F40}">
      <dgm:prSet/>
      <dgm:spPr/>
      <dgm:t>
        <a:bodyPr/>
        <a:lstStyle/>
        <a:p>
          <a:endParaRPr lang="es-ES"/>
        </a:p>
      </dgm:t>
    </dgm:pt>
    <dgm:pt modelId="{328D423E-32FF-45CD-BA71-74A5B674AC3B}" type="sibTrans" cxnId="{DD3EA8DD-2F7F-4443-BE57-F7B9E5C10F40}">
      <dgm:prSet/>
      <dgm:spPr/>
      <dgm:t>
        <a:bodyPr/>
        <a:lstStyle/>
        <a:p>
          <a:endParaRPr lang="es-ES"/>
        </a:p>
      </dgm:t>
    </dgm:pt>
    <dgm:pt modelId="{967F95FC-28C3-4D16-A065-86AE620A7EA7}">
      <dgm:prSet/>
      <dgm:spPr/>
      <dgm:t>
        <a:bodyPr/>
        <a:lstStyle/>
        <a:p>
          <a:r>
            <a:rPr lang="en-GB" dirty="0">
              <a:latin typeface="+mj-lt"/>
              <a:cs typeface="Segoe UI" panose="020B0502040204020203" pitchFamily="34" charset="0"/>
            </a:rPr>
            <a:t>Should use same key</a:t>
          </a:r>
          <a:endParaRPr lang="en-GB" dirty="0">
            <a:latin typeface="+mj-lt"/>
          </a:endParaRPr>
        </a:p>
      </dgm:t>
    </dgm:pt>
    <dgm:pt modelId="{7463B1E4-7054-4C20-9A25-6C132206A7AB}" type="parTrans" cxnId="{47A7675F-E91F-40D4-9232-1DAD6D1CE05E}">
      <dgm:prSet/>
      <dgm:spPr/>
      <dgm:t>
        <a:bodyPr/>
        <a:lstStyle/>
        <a:p>
          <a:endParaRPr lang="es-ES"/>
        </a:p>
      </dgm:t>
    </dgm:pt>
    <dgm:pt modelId="{F2F11C85-2489-49F5-9B2C-9AEDB9736DD4}" type="sibTrans" cxnId="{47A7675F-E91F-40D4-9232-1DAD6D1CE05E}">
      <dgm:prSet/>
      <dgm:spPr/>
      <dgm:t>
        <a:bodyPr/>
        <a:lstStyle/>
        <a:p>
          <a:endParaRPr lang="es-ES"/>
        </a:p>
      </dgm:t>
    </dgm:pt>
    <dgm:pt modelId="{C5DBEFF1-9F53-48F3-8981-C8FF412BE19B}">
      <dgm:prSet/>
      <dgm:spPr/>
      <dgm:t>
        <a:bodyPr/>
        <a:lstStyle/>
        <a:p>
          <a:r>
            <a:rPr lang="en-GB" dirty="0">
              <a:latin typeface="+mj-lt"/>
            </a:rPr>
            <a:t>Should be defined identically</a:t>
          </a:r>
          <a:endParaRPr lang="en-GB" dirty="0">
            <a:latin typeface="+mj-lt"/>
            <a:cs typeface="Segoe UI" panose="020B0502040204020203" pitchFamily="34" charset="0"/>
          </a:endParaRPr>
        </a:p>
      </dgm:t>
    </dgm:pt>
    <dgm:pt modelId="{7A9367B0-D8F2-4FA6-9C7B-EB5D0EC18EC7}" type="parTrans" cxnId="{9EF90BC1-53E0-4AC0-96F1-004838A496D6}">
      <dgm:prSet/>
      <dgm:spPr/>
      <dgm:t>
        <a:bodyPr/>
        <a:lstStyle/>
        <a:p>
          <a:endParaRPr lang="es-ES"/>
        </a:p>
      </dgm:t>
    </dgm:pt>
    <dgm:pt modelId="{9FF10020-AF30-48EC-BAD4-416E04D4DF93}" type="sibTrans" cxnId="{9EF90BC1-53E0-4AC0-96F1-004838A496D6}">
      <dgm:prSet/>
      <dgm:spPr/>
      <dgm:t>
        <a:bodyPr/>
        <a:lstStyle/>
        <a:p>
          <a:endParaRPr lang="es-ES"/>
        </a:p>
      </dgm:t>
    </dgm:pt>
    <dgm:pt modelId="{33759885-B934-4CC2-8883-8BCCFC126D74}">
      <dgm:prSet/>
      <dgm:spPr>
        <a:solidFill>
          <a:schemeClr val="accent1">
            <a:lumMod val="60000"/>
            <a:lumOff val="40000"/>
          </a:schemeClr>
        </a:solidFill>
        <a:scene3d>
          <a:camera prst="orthographicFront"/>
          <a:lightRig rig="threePt" dir="t"/>
        </a:scene3d>
        <a:sp3d>
          <a:bevelT prst="angle"/>
        </a:sp3d>
      </dgm:spPr>
      <dgm:t>
        <a:bodyPr/>
        <a:lstStyle/>
        <a:p>
          <a:r>
            <a:rPr lang="en-GB" dirty="0">
              <a:latin typeface="+mj-lt"/>
            </a:rPr>
            <a:t>Avoid columns that are unique to a table</a:t>
          </a:r>
        </a:p>
      </dgm:t>
    </dgm:pt>
    <dgm:pt modelId="{B7DA0E25-43B5-49AA-9D26-5740EF8EDDED}" type="parTrans" cxnId="{94C868BB-57DD-40D8-ADC0-EACD10BA7C91}">
      <dgm:prSet/>
      <dgm:spPr/>
      <dgm:t>
        <a:bodyPr/>
        <a:lstStyle/>
        <a:p>
          <a:endParaRPr lang="es-ES"/>
        </a:p>
      </dgm:t>
    </dgm:pt>
    <dgm:pt modelId="{94F47733-8D0F-4D35-B26A-35AC985216EA}" type="sibTrans" cxnId="{94C868BB-57DD-40D8-ADC0-EACD10BA7C91}">
      <dgm:prSet/>
      <dgm:spPr/>
      <dgm:t>
        <a:bodyPr/>
        <a:lstStyle/>
        <a:p>
          <a:endParaRPr lang="es-ES"/>
        </a:p>
      </dgm:t>
    </dgm:pt>
    <dgm:pt modelId="{14B79B58-9EE2-45AF-A7A6-4ABEDC2BCA9F}">
      <dgm:prSet/>
      <dgm:spPr/>
      <dgm:t>
        <a:bodyPr/>
        <a:lstStyle/>
        <a:p>
          <a:r>
            <a:rPr lang="en-GB" dirty="0">
              <a:latin typeface="+mj-lt"/>
            </a:rPr>
            <a:t>Does not match the Hash key in related tables</a:t>
          </a:r>
        </a:p>
      </dgm:t>
    </dgm:pt>
    <dgm:pt modelId="{9B021AE9-853B-4E91-B4DC-6D99632007B2}" type="parTrans" cxnId="{676F63BE-AEAC-4741-96F6-B31210D09F6A}">
      <dgm:prSet/>
      <dgm:spPr/>
      <dgm:t>
        <a:bodyPr/>
        <a:lstStyle/>
        <a:p>
          <a:endParaRPr lang="es-ES"/>
        </a:p>
      </dgm:t>
    </dgm:pt>
    <dgm:pt modelId="{6E3F94D7-DB7C-4C40-A9DD-CFCE38677071}" type="sibTrans" cxnId="{676F63BE-AEAC-4741-96F6-B31210D09F6A}">
      <dgm:prSet/>
      <dgm:spPr/>
      <dgm:t>
        <a:bodyPr/>
        <a:lstStyle/>
        <a:p>
          <a:endParaRPr lang="es-ES"/>
        </a:p>
      </dgm:t>
    </dgm:pt>
    <dgm:pt modelId="{5E0B1F9D-69C9-465B-A76F-1C0005371E2E}">
      <dgm:prSet/>
      <dgm:spPr/>
      <dgm:t>
        <a:bodyPr/>
        <a:lstStyle/>
        <a:p>
          <a:r>
            <a:rPr lang="en-GB" dirty="0">
              <a:latin typeface="+mj-lt"/>
            </a:rPr>
            <a:t>May not provide significant benefit in reducing Data Movement</a:t>
          </a:r>
        </a:p>
      </dgm:t>
    </dgm:pt>
    <dgm:pt modelId="{221D5880-12A8-4EB8-9389-D6F190EE3D69}" type="parTrans" cxnId="{8BF9A6D3-38AF-4C73-86DC-96332EF555BD}">
      <dgm:prSet/>
      <dgm:spPr/>
      <dgm:t>
        <a:bodyPr/>
        <a:lstStyle/>
        <a:p>
          <a:endParaRPr lang="es-ES"/>
        </a:p>
      </dgm:t>
    </dgm:pt>
    <dgm:pt modelId="{914F1BD4-E294-4102-A33D-F10D64F747F2}" type="sibTrans" cxnId="{8BF9A6D3-38AF-4C73-86DC-96332EF555BD}">
      <dgm:prSet/>
      <dgm:spPr/>
      <dgm:t>
        <a:bodyPr/>
        <a:lstStyle/>
        <a:p>
          <a:endParaRPr lang="es-ES"/>
        </a:p>
      </dgm:t>
    </dgm:pt>
    <dgm:pt modelId="{5911356E-2A75-46FA-8239-B35EDF0DAC5A}">
      <dgm:prSet/>
      <dgm:spPr/>
      <dgm:t>
        <a:bodyPr/>
        <a:lstStyle/>
        <a:p>
          <a:r>
            <a:rPr lang="en-GB" dirty="0">
              <a:latin typeface="+mj-lt"/>
            </a:rPr>
            <a:t>99 as INT </a:t>
          </a:r>
          <a:r>
            <a:rPr lang="en-GB" dirty="0">
              <a:latin typeface="+mj-lt"/>
              <a:cs typeface="Segoe UI" panose="020B0502040204020203" pitchFamily="34" charset="0"/>
            </a:rPr>
            <a:t>≠ 99 as BIGINT ≠ 99 as VARCHAR()</a:t>
          </a:r>
        </a:p>
      </dgm:t>
    </dgm:pt>
    <dgm:pt modelId="{76C6F788-B6DC-4384-8557-B514623B8F31}" type="parTrans" cxnId="{E4DF680A-1DE7-4B8A-8188-12B000B43578}">
      <dgm:prSet/>
      <dgm:spPr/>
      <dgm:t>
        <a:bodyPr/>
        <a:lstStyle/>
        <a:p>
          <a:endParaRPr lang="en-US"/>
        </a:p>
      </dgm:t>
    </dgm:pt>
    <dgm:pt modelId="{0BD70CFD-EEFE-47F3-A979-774C7F6D57FE}" type="sibTrans" cxnId="{E4DF680A-1DE7-4B8A-8188-12B000B43578}">
      <dgm:prSet/>
      <dgm:spPr/>
      <dgm:t>
        <a:bodyPr/>
        <a:lstStyle/>
        <a:p>
          <a:endParaRPr lang="en-US"/>
        </a:p>
      </dgm:t>
    </dgm:pt>
    <dgm:pt modelId="{8D8AA5EA-DC85-4B2C-9D80-41EF834A1899}" type="pres">
      <dgm:prSet presAssocID="{324F8151-E9C3-45E0-807D-6CF6DD51430C}" presName="linear" presStyleCnt="0">
        <dgm:presLayoutVars>
          <dgm:animLvl val="lvl"/>
          <dgm:resizeHandles val="exact"/>
        </dgm:presLayoutVars>
      </dgm:prSet>
      <dgm:spPr/>
    </dgm:pt>
    <dgm:pt modelId="{09CF2DCA-113B-4AE8-A8F4-39F36A7BB342}" type="pres">
      <dgm:prSet presAssocID="{93D0ED55-EFDD-4C8F-93BF-69D3A9ED399A}" presName="parentText" presStyleLbl="node1" presStyleIdx="0" presStyleCnt="3">
        <dgm:presLayoutVars>
          <dgm:chMax val="0"/>
          <dgm:bulletEnabled val="1"/>
        </dgm:presLayoutVars>
      </dgm:prSet>
      <dgm:spPr/>
    </dgm:pt>
    <dgm:pt modelId="{BCD509EE-9809-4080-BC9F-19BC729EF4DA}" type="pres">
      <dgm:prSet presAssocID="{93D0ED55-EFDD-4C8F-93BF-69D3A9ED399A}" presName="childText" presStyleLbl="revTx" presStyleIdx="0" presStyleCnt="3">
        <dgm:presLayoutVars>
          <dgm:bulletEnabled val="1"/>
        </dgm:presLayoutVars>
      </dgm:prSet>
      <dgm:spPr/>
    </dgm:pt>
    <dgm:pt modelId="{DDD81A62-9893-409A-B1F3-61D753487E45}" type="pres">
      <dgm:prSet presAssocID="{A475F37D-D7E3-44C6-8B86-86A31DB08E43}" presName="parentText" presStyleLbl="node1" presStyleIdx="1" presStyleCnt="3">
        <dgm:presLayoutVars>
          <dgm:chMax val="0"/>
          <dgm:bulletEnabled val="1"/>
        </dgm:presLayoutVars>
      </dgm:prSet>
      <dgm:spPr/>
    </dgm:pt>
    <dgm:pt modelId="{0DAFFDE4-55AD-4DD9-AFFD-F3F9251AD398}" type="pres">
      <dgm:prSet presAssocID="{A475F37D-D7E3-44C6-8B86-86A31DB08E43}" presName="childText" presStyleLbl="revTx" presStyleIdx="1" presStyleCnt="3">
        <dgm:presLayoutVars>
          <dgm:bulletEnabled val="1"/>
        </dgm:presLayoutVars>
      </dgm:prSet>
      <dgm:spPr/>
    </dgm:pt>
    <dgm:pt modelId="{EE0F1F60-A5AC-4060-844A-0691038147DD}" type="pres">
      <dgm:prSet presAssocID="{33759885-B934-4CC2-8883-8BCCFC126D74}" presName="parentText" presStyleLbl="node1" presStyleIdx="2" presStyleCnt="3">
        <dgm:presLayoutVars>
          <dgm:chMax val="0"/>
          <dgm:bulletEnabled val="1"/>
        </dgm:presLayoutVars>
      </dgm:prSet>
      <dgm:spPr/>
    </dgm:pt>
    <dgm:pt modelId="{831FF569-8413-47E0-B72E-5CBE6527CAAE}" type="pres">
      <dgm:prSet presAssocID="{33759885-B934-4CC2-8883-8BCCFC126D74}" presName="childText" presStyleLbl="revTx" presStyleIdx="2" presStyleCnt="3">
        <dgm:presLayoutVars>
          <dgm:bulletEnabled val="1"/>
        </dgm:presLayoutVars>
      </dgm:prSet>
      <dgm:spPr/>
    </dgm:pt>
  </dgm:ptLst>
  <dgm:cxnLst>
    <dgm:cxn modelId="{E4DF680A-1DE7-4B8A-8188-12B000B43578}" srcId="{C5DBEFF1-9F53-48F3-8981-C8FF412BE19B}" destId="{5911356E-2A75-46FA-8239-B35EDF0DAC5A}" srcOrd="0" destOrd="0" parTransId="{76C6F788-B6DC-4384-8557-B514623B8F31}" sibTransId="{0BD70CFD-EEFE-47F3-A979-774C7F6D57FE}"/>
    <dgm:cxn modelId="{6FE16C0F-03D6-4F34-B336-06E918939981}" type="presOf" srcId="{324F8151-E9C3-45E0-807D-6CF6DD51430C}" destId="{8D8AA5EA-DC85-4B2C-9D80-41EF834A1899}" srcOrd="0" destOrd="0" presId="urn:microsoft.com/office/officeart/2005/8/layout/vList2"/>
    <dgm:cxn modelId="{6AB1041B-90F7-4D01-BE8D-484080D935D2}" type="presOf" srcId="{5E0B1F9D-69C9-465B-A76F-1C0005371E2E}" destId="{831FF569-8413-47E0-B72E-5CBE6527CAAE}" srcOrd="0" destOrd="1" presId="urn:microsoft.com/office/officeart/2005/8/layout/vList2"/>
    <dgm:cxn modelId="{7E6E021E-DF8C-44FC-B415-27B2CC59AC1D}" type="presOf" srcId="{33759885-B934-4CC2-8883-8BCCFC126D74}" destId="{EE0F1F60-A5AC-4060-844A-0691038147DD}" srcOrd="0" destOrd="0" presId="urn:microsoft.com/office/officeart/2005/8/layout/vList2"/>
    <dgm:cxn modelId="{E5764220-8939-4FF4-A81F-CC236FFD5136}" type="presOf" srcId="{336FFA88-EE4A-4732-AC77-3D0387DFC175}" destId="{BCD509EE-9809-4080-BC9F-19BC729EF4DA}" srcOrd="0" destOrd="0" presId="urn:microsoft.com/office/officeart/2005/8/layout/vList2"/>
    <dgm:cxn modelId="{33FFBA5E-BBD1-4A1E-B296-1BB07EBFC0C5}" srcId="{93D0ED55-EFDD-4C8F-93BF-69D3A9ED399A}" destId="{3FFAC3FC-D7F1-49A2-9D1F-9F46C54EFFBE}" srcOrd="1" destOrd="0" parTransId="{5FE82123-3CA2-41B5-8F2D-CF3E661A5914}" sibTransId="{96D96077-2CE6-4F8B-9A58-4A539365DD4A}"/>
    <dgm:cxn modelId="{47A7675F-E91F-40D4-9232-1DAD6D1CE05E}" srcId="{A475F37D-D7E3-44C6-8B86-86A31DB08E43}" destId="{967F95FC-28C3-4D16-A065-86AE620A7EA7}" srcOrd="0" destOrd="0" parTransId="{7463B1E4-7054-4C20-9A25-6C132206A7AB}" sibTransId="{F2F11C85-2489-49F5-9B2C-9AEDB9736DD4}"/>
    <dgm:cxn modelId="{E2FD1554-4335-4F33-9F61-64E08983574D}" type="presOf" srcId="{3FFAC3FC-D7F1-49A2-9D1F-9F46C54EFFBE}" destId="{BCD509EE-9809-4080-BC9F-19BC729EF4DA}" srcOrd="0" destOrd="1" presId="urn:microsoft.com/office/officeart/2005/8/layout/vList2"/>
    <dgm:cxn modelId="{9988B175-66CB-4BF8-8A4C-140C9F8A9A59}" srcId="{93D0ED55-EFDD-4C8F-93BF-69D3A9ED399A}" destId="{80D39A11-2DD8-460E-B3B0-8C6A7979AC55}" srcOrd="2" destOrd="0" parTransId="{881DA806-F12E-451C-BFD9-0F619B58004A}" sibTransId="{E215261F-37F1-444C-8778-5030F2EBC76E}"/>
    <dgm:cxn modelId="{BB3AE783-1E87-47DD-B81C-5AD83907C788}" srcId="{93D0ED55-EFDD-4C8F-93BF-69D3A9ED399A}" destId="{336FFA88-EE4A-4732-AC77-3D0387DFC175}" srcOrd="0" destOrd="0" parTransId="{CEA12DDA-55DA-46D2-A50D-26E7FDBC18B1}" sibTransId="{0DD7844C-CF4C-4C5E-AAD8-748F66D90E28}"/>
    <dgm:cxn modelId="{7FE78D86-DD62-4913-A021-B4A0307D2787}" type="presOf" srcId="{93D0ED55-EFDD-4C8F-93BF-69D3A9ED399A}" destId="{09CF2DCA-113B-4AE8-A8F4-39F36A7BB342}" srcOrd="0" destOrd="0" presId="urn:microsoft.com/office/officeart/2005/8/layout/vList2"/>
    <dgm:cxn modelId="{A050F2A8-3C55-42ED-91FC-40E0ECDA4BC0}" type="presOf" srcId="{C5DBEFF1-9F53-48F3-8981-C8FF412BE19B}" destId="{0DAFFDE4-55AD-4DD9-AFFD-F3F9251AD398}" srcOrd="0" destOrd="1" presId="urn:microsoft.com/office/officeart/2005/8/layout/vList2"/>
    <dgm:cxn modelId="{DDC5A3B2-AC46-4B48-AF89-2AE1A45CB9DB}" type="presOf" srcId="{967F95FC-28C3-4D16-A065-86AE620A7EA7}" destId="{0DAFFDE4-55AD-4DD9-AFFD-F3F9251AD398}" srcOrd="0" destOrd="0" presId="urn:microsoft.com/office/officeart/2005/8/layout/vList2"/>
    <dgm:cxn modelId="{94C868BB-57DD-40D8-ADC0-EACD10BA7C91}" srcId="{324F8151-E9C3-45E0-807D-6CF6DD51430C}" destId="{33759885-B934-4CC2-8883-8BCCFC126D74}" srcOrd="2" destOrd="0" parTransId="{B7DA0E25-43B5-49AA-9D26-5740EF8EDDED}" sibTransId="{94F47733-8D0F-4D35-B26A-35AC985216EA}"/>
    <dgm:cxn modelId="{A86EC1BD-3289-4F81-B92B-F46A7A79766A}" type="presOf" srcId="{A475F37D-D7E3-44C6-8B86-86A31DB08E43}" destId="{DDD81A62-9893-409A-B1F3-61D753487E45}" srcOrd="0" destOrd="0" presId="urn:microsoft.com/office/officeart/2005/8/layout/vList2"/>
    <dgm:cxn modelId="{676F63BE-AEAC-4741-96F6-B31210D09F6A}" srcId="{33759885-B934-4CC2-8883-8BCCFC126D74}" destId="{14B79B58-9EE2-45AF-A7A6-4ABEDC2BCA9F}" srcOrd="0" destOrd="0" parTransId="{9B021AE9-853B-4E91-B4DC-6D99632007B2}" sibTransId="{6E3F94D7-DB7C-4C40-A9DD-CFCE38677071}"/>
    <dgm:cxn modelId="{9EF90BC1-53E0-4AC0-96F1-004838A496D6}" srcId="{A475F37D-D7E3-44C6-8B86-86A31DB08E43}" destId="{C5DBEFF1-9F53-48F3-8981-C8FF412BE19B}" srcOrd="1" destOrd="0" parTransId="{7A9367B0-D8F2-4FA6-9C7B-EB5D0EC18EC7}" sibTransId="{9FF10020-AF30-48EC-BAD4-416E04D4DF93}"/>
    <dgm:cxn modelId="{07D093CD-0907-4D50-B8A7-7B5AF6ADF6C4}" type="presOf" srcId="{5911356E-2A75-46FA-8239-B35EDF0DAC5A}" destId="{0DAFFDE4-55AD-4DD9-AFFD-F3F9251AD398}" srcOrd="0" destOrd="2" presId="urn:microsoft.com/office/officeart/2005/8/layout/vList2"/>
    <dgm:cxn modelId="{8BF9A6D3-38AF-4C73-86DC-96332EF555BD}" srcId="{33759885-B934-4CC2-8883-8BCCFC126D74}" destId="{5E0B1F9D-69C9-465B-A76F-1C0005371E2E}" srcOrd="1" destOrd="0" parTransId="{221D5880-12A8-4EB8-9389-D6F190EE3D69}" sibTransId="{914F1BD4-E294-4102-A33D-F10D64F747F2}"/>
    <dgm:cxn modelId="{DD3EA8DD-2F7F-4443-BE57-F7B9E5C10F40}" srcId="{324F8151-E9C3-45E0-807D-6CF6DD51430C}" destId="{A475F37D-D7E3-44C6-8B86-86A31DB08E43}" srcOrd="1" destOrd="0" parTransId="{EA1E9626-E52C-41DF-8841-8282D2C95CF5}" sibTransId="{328D423E-32FF-45CD-BA71-74A5B674AC3B}"/>
    <dgm:cxn modelId="{C66835EE-1435-4ECE-AA96-26CD7459CAFC}" type="presOf" srcId="{80D39A11-2DD8-460E-B3B0-8C6A7979AC55}" destId="{BCD509EE-9809-4080-BC9F-19BC729EF4DA}" srcOrd="0" destOrd="2" presId="urn:microsoft.com/office/officeart/2005/8/layout/vList2"/>
    <dgm:cxn modelId="{0032CFF0-D3C7-454C-9986-0C510DCAADCF}" srcId="{324F8151-E9C3-45E0-807D-6CF6DD51430C}" destId="{93D0ED55-EFDD-4C8F-93BF-69D3A9ED399A}" srcOrd="0" destOrd="0" parTransId="{A80BC3F1-E2D8-452E-8ED7-702978558050}" sibTransId="{8E15CA7F-2009-4851-A58A-68F0EF240F38}"/>
    <dgm:cxn modelId="{CE45B0FE-2188-49D4-B8F8-23B919719D15}" type="presOf" srcId="{14B79B58-9EE2-45AF-A7A6-4ABEDC2BCA9F}" destId="{831FF569-8413-47E0-B72E-5CBE6527CAAE}" srcOrd="0" destOrd="0" presId="urn:microsoft.com/office/officeart/2005/8/layout/vList2"/>
    <dgm:cxn modelId="{E9E3886F-8A52-42AC-9BBA-06C6C9F7415C}" type="presParOf" srcId="{8D8AA5EA-DC85-4B2C-9D80-41EF834A1899}" destId="{09CF2DCA-113B-4AE8-A8F4-39F36A7BB342}" srcOrd="0" destOrd="0" presId="urn:microsoft.com/office/officeart/2005/8/layout/vList2"/>
    <dgm:cxn modelId="{68CAAEFF-2737-41CC-BC33-DDE4A36FA271}" type="presParOf" srcId="{8D8AA5EA-DC85-4B2C-9D80-41EF834A1899}" destId="{BCD509EE-9809-4080-BC9F-19BC729EF4DA}" srcOrd="1" destOrd="0" presId="urn:microsoft.com/office/officeart/2005/8/layout/vList2"/>
    <dgm:cxn modelId="{D4A5BE22-B4C6-4A0F-A2BE-0767DBA4B295}" type="presParOf" srcId="{8D8AA5EA-DC85-4B2C-9D80-41EF834A1899}" destId="{DDD81A62-9893-409A-B1F3-61D753487E45}" srcOrd="2" destOrd="0" presId="urn:microsoft.com/office/officeart/2005/8/layout/vList2"/>
    <dgm:cxn modelId="{384E7BC3-CC6E-41E9-A3C7-C9918FCBC2F5}" type="presParOf" srcId="{8D8AA5EA-DC85-4B2C-9D80-41EF834A1899}" destId="{0DAFFDE4-55AD-4DD9-AFFD-F3F9251AD398}" srcOrd="3" destOrd="0" presId="urn:microsoft.com/office/officeart/2005/8/layout/vList2"/>
    <dgm:cxn modelId="{12AC02DD-0C35-4EB4-84A2-8F88296EEDCC}" type="presParOf" srcId="{8D8AA5EA-DC85-4B2C-9D80-41EF834A1899}" destId="{EE0F1F60-A5AC-4060-844A-0691038147DD}" srcOrd="4" destOrd="0" presId="urn:microsoft.com/office/officeart/2005/8/layout/vList2"/>
    <dgm:cxn modelId="{FAAF9048-890F-4E40-A9FA-0768484261B4}" type="presParOf" srcId="{8D8AA5EA-DC85-4B2C-9D80-41EF834A1899}" destId="{831FF569-8413-47E0-B72E-5CBE6527CAAE}"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1C4A45B-C3CC-42A4-AE8B-2689D5782C46}" type="doc">
      <dgm:prSet loTypeId="urn:microsoft.com/office/officeart/2008/layout/VerticalCurvedList" loCatId="list" qsTypeId="urn:microsoft.com/office/officeart/2005/8/quickstyle/simple1" qsCatId="simple" csTypeId="urn:microsoft.com/office/officeart/2005/8/colors/accent2_3" csCatId="accent2" phldr="1"/>
      <dgm:spPr/>
      <dgm:t>
        <a:bodyPr/>
        <a:lstStyle/>
        <a:p>
          <a:endParaRPr lang="es-ES"/>
        </a:p>
      </dgm:t>
    </dgm:pt>
    <dgm:pt modelId="{3EB0843C-BFB8-465D-B03C-599B37285639}">
      <dgm:prSet phldrT="[Text]"/>
      <dgm:spPr>
        <a:effectLst>
          <a:glow rad="139700">
            <a:schemeClr val="accent2">
              <a:satMod val="175000"/>
              <a:alpha val="40000"/>
            </a:schemeClr>
          </a:glow>
        </a:effectLst>
        <a:scene3d>
          <a:camera prst="orthographicFront"/>
          <a:lightRig rig="threePt" dir="t"/>
        </a:scene3d>
        <a:sp3d>
          <a:bevelT prst="angle"/>
        </a:sp3d>
      </dgm:spPr>
      <dgm:t>
        <a:bodyPr/>
        <a:lstStyle/>
        <a:p>
          <a:r>
            <a:rPr lang="en-GB" dirty="0"/>
            <a:t>Distributed tables that self-join</a:t>
          </a:r>
          <a:endParaRPr lang="es-ES" dirty="0"/>
        </a:p>
      </dgm:t>
    </dgm:pt>
    <dgm:pt modelId="{1D922DE8-B4FD-4C1A-85E7-138C8B544275}" type="parTrans" cxnId="{9E3CC9DC-2A51-4F44-82B8-F82DAD36E5EC}">
      <dgm:prSet/>
      <dgm:spPr/>
      <dgm:t>
        <a:bodyPr/>
        <a:lstStyle/>
        <a:p>
          <a:endParaRPr lang="es-ES"/>
        </a:p>
      </dgm:t>
    </dgm:pt>
    <dgm:pt modelId="{9F39A111-D0BE-43BC-95BE-4D0B102285B3}" type="sibTrans" cxnId="{9E3CC9DC-2A51-4F44-82B8-F82DAD36E5EC}">
      <dgm:prSet/>
      <dgm:spPr/>
      <dgm:t>
        <a:bodyPr/>
        <a:lstStyle/>
        <a:p>
          <a:endParaRPr lang="es-ES"/>
        </a:p>
      </dgm:t>
    </dgm:pt>
    <dgm:pt modelId="{54028A58-1084-4B00-8875-90AB2E366A70}">
      <dgm:prSet phldrT="[Text]"/>
      <dgm:spPr>
        <a:effectLst>
          <a:glow rad="139700">
            <a:schemeClr val="accent2">
              <a:satMod val="175000"/>
              <a:alpha val="40000"/>
            </a:schemeClr>
          </a:glow>
        </a:effectLst>
        <a:scene3d>
          <a:camera prst="orthographicFront"/>
          <a:lightRig rig="threePt" dir="t"/>
        </a:scene3d>
        <a:sp3d>
          <a:bevelT prst="angle"/>
        </a:sp3d>
      </dgm:spPr>
      <dgm:t>
        <a:bodyPr/>
        <a:lstStyle/>
        <a:p>
          <a:r>
            <a:rPr lang="en-GB" dirty="0"/>
            <a:t>Distributed tables that join to each other</a:t>
          </a:r>
          <a:endParaRPr lang="es-ES" dirty="0"/>
        </a:p>
      </dgm:t>
    </dgm:pt>
    <dgm:pt modelId="{265F4E3C-C71F-4F2D-88AA-88A8AA435A9B}" type="parTrans" cxnId="{9C308027-4FA4-4EBA-8EBD-939DCA90BA73}">
      <dgm:prSet/>
      <dgm:spPr/>
      <dgm:t>
        <a:bodyPr/>
        <a:lstStyle/>
        <a:p>
          <a:endParaRPr lang="es-ES"/>
        </a:p>
      </dgm:t>
    </dgm:pt>
    <dgm:pt modelId="{6CDA8464-6CBF-45BD-ABF0-E778D0DE7BF6}" type="sibTrans" cxnId="{9C308027-4FA4-4EBA-8EBD-939DCA90BA73}">
      <dgm:prSet/>
      <dgm:spPr/>
      <dgm:t>
        <a:bodyPr/>
        <a:lstStyle/>
        <a:p>
          <a:endParaRPr lang="es-ES"/>
        </a:p>
      </dgm:t>
    </dgm:pt>
    <dgm:pt modelId="{6B3EBADB-6253-488D-BF96-4FE61488D6BF}">
      <dgm:prSet phldrT="[Text]"/>
      <dgm:spPr>
        <a:solidFill>
          <a:schemeClr val="accent1">
            <a:lumMod val="60000"/>
            <a:lumOff val="40000"/>
          </a:schemeClr>
        </a:solidFill>
        <a:effectLst>
          <a:glow rad="139700">
            <a:schemeClr val="accent2">
              <a:satMod val="175000"/>
              <a:alpha val="40000"/>
            </a:schemeClr>
          </a:glow>
        </a:effectLst>
        <a:scene3d>
          <a:camera prst="orthographicFront"/>
          <a:lightRig rig="threePt" dir="t"/>
        </a:scene3d>
        <a:sp3d>
          <a:bevelT prst="angle"/>
        </a:sp3d>
      </dgm:spPr>
      <dgm:t>
        <a:bodyPr/>
        <a:lstStyle/>
        <a:p>
          <a:r>
            <a:rPr lang="en-GB" dirty="0"/>
            <a:t>Outer joins – check for compatibility or convert </a:t>
          </a:r>
          <a:endParaRPr lang="es-ES" dirty="0"/>
        </a:p>
      </dgm:t>
    </dgm:pt>
    <dgm:pt modelId="{E5644839-3486-4FE5-BF62-98A68ADFFB41}" type="parTrans" cxnId="{BA80050C-0F9B-4DD2-9F3F-75507418792D}">
      <dgm:prSet/>
      <dgm:spPr/>
      <dgm:t>
        <a:bodyPr/>
        <a:lstStyle/>
        <a:p>
          <a:endParaRPr lang="es-ES"/>
        </a:p>
      </dgm:t>
    </dgm:pt>
    <dgm:pt modelId="{7C902D95-496F-47FC-833F-349924F6739B}" type="sibTrans" cxnId="{BA80050C-0F9B-4DD2-9F3F-75507418792D}">
      <dgm:prSet/>
      <dgm:spPr/>
      <dgm:t>
        <a:bodyPr/>
        <a:lstStyle/>
        <a:p>
          <a:endParaRPr lang="es-ES"/>
        </a:p>
      </dgm:t>
    </dgm:pt>
    <dgm:pt modelId="{92CC4AA5-54D8-4E72-89CC-2D002ED65CA2}" type="pres">
      <dgm:prSet presAssocID="{11C4A45B-C3CC-42A4-AE8B-2689D5782C46}" presName="Name0" presStyleCnt="0">
        <dgm:presLayoutVars>
          <dgm:chMax val="7"/>
          <dgm:chPref val="7"/>
          <dgm:dir/>
        </dgm:presLayoutVars>
      </dgm:prSet>
      <dgm:spPr/>
    </dgm:pt>
    <dgm:pt modelId="{108E10AA-5451-42F5-A70B-70207403A594}" type="pres">
      <dgm:prSet presAssocID="{11C4A45B-C3CC-42A4-AE8B-2689D5782C46}" presName="Name1" presStyleCnt="0"/>
      <dgm:spPr/>
    </dgm:pt>
    <dgm:pt modelId="{9F733B44-4AEA-4E96-ACCB-3DF09410ACC3}" type="pres">
      <dgm:prSet presAssocID="{11C4A45B-C3CC-42A4-AE8B-2689D5782C46}" presName="cycle" presStyleCnt="0"/>
      <dgm:spPr/>
    </dgm:pt>
    <dgm:pt modelId="{1BED2195-6468-4FD6-A514-F9B120E4E9C8}" type="pres">
      <dgm:prSet presAssocID="{11C4A45B-C3CC-42A4-AE8B-2689D5782C46}" presName="srcNode" presStyleLbl="node1" presStyleIdx="0" presStyleCnt="3"/>
      <dgm:spPr/>
    </dgm:pt>
    <dgm:pt modelId="{8D8F2F0F-EB6F-4698-9697-D38D9784DA2A}" type="pres">
      <dgm:prSet presAssocID="{11C4A45B-C3CC-42A4-AE8B-2689D5782C46}" presName="conn" presStyleLbl="parChTrans1D2" presStyleIdx="0" presStyleCnt="1"/>
      <dgm:spPr/>
    </dgm:pt>
    <dgm:pt modelId="{BE5E7409-6804-41F7-B8F2-86CA373382A3}" type="pres">
      <dgm:prSet presAssocID="{11C4A45B-C3CC-42A4-AE8B-2689D5782C46}" presName="extraNode" presStyleLbl="node1" presStyleIdx="0" presStyleCnt="3"/>
      <dgm:spPr/>
    </dgm:pt>
    <dgm:pt modelId="{AA9DD9E5-0B5D-4006-BEF6-7B4AF55F978C}" type="pres">
      <dgm:prSet presAssocID="{11C4A45B-C3CC-42A4-AE8B-2689D5782C46}" presName="dstNode" presStyleLbl="node1" presStyleIdx="0" presStyleCnt="3"/>
      <dgm:spPr/>
    </dgm:pt>
    <dgm:pt modelId="{E342A42F-8303-4716-8C92-1A6989FD2937}" type="pres">
      <dgm:prSet presAssocID="{3EB0843C-BFB8-465D-B03C-599B37285639}" presName="text_1" presStyleLbl="node1" presStyleIdx="0" presStyleCnt="3">
        <dgm:presLayoutVars>
          <dgm:bulletEnabled val="1"/>
        </dgm:presLayoutVars>
      </dgm:prSet>
      <dgm:spPr/>
    </dgm:pt>
    <dgm:pt modelId="{C7494573-3BF9-4882-9D2A-C7B86B8D671D}" type="pres">
      <dgm:prSet presAssocID="{3EB0843C-BFB8-465D-B03C-599B37285639}" presName="accent_1" presStyleCnt="0"/>
      <dgm:spPr/>
    </dgm:pt>
    <dgm:pt modelId="{C98BA6B0-417F-4607-BA3B-EF5C5369883D}" type="pres">
      <dgm:prSet presAssocID="{3EB0843C-BFB8-465D-B03C-599B37285639}" presName="accentRepeatNode" presStyleLbl="solidFgAcc1" presStyleIdx="0" presStyleCnt="3"/>
      <dgm:spPr>
        <a:effectLst>
          <a:glow rad="139700">
            <a:schemeClr val="accent2">
              <a:satMod val="175000"/>
              <a:alpha val="40000"/>
            </a:schemeClr>
          </a:glow>
        </a:effectLst>
        <a:scene3d>
          <a:camera prst="orthographicFront"/>
          <a:lightRig rig="threePt" dir="t"/>
        </a:scene3d>
        <a:sp3d>
          <a:bevelT prst="angle"/>
        </a:sp3d>
      </dgm:spPr>
    </dgm:pt>
    <dgm:pt modelId="{9C1600F5-87ED-4E8B-B626-E6833653004C}" type="pres">
      <dgm:prSet presAssocID="{54028A58-1084-4B00-8875-90AB2E366A70}" presName="text_2" presStyleLbl="node1" presStyleIdx="1" presStyleCnt="3">
        <dgm:presLayoutVars>
          <dgm:bulletEnabled val="1"/>
        </dgm:presLayoutVars>
      </dgm:prSet>
      <dgm:spPr/>
    </dgm:pt>
    <dgm:pt modelId="{AD3DA786-2FF5-497F-8DB2-C6C78AA60FCA}" type="pres">
      <dgm:prSet presAssocID="{54028A58-1084-4B00-8875-90AB2E366A70}" presName="accent_2" presStyleCnt="0"/>
      <dgm:spPr/>
    </dgm:pt>
    <dgm:pt modelId="{741EE879-1C9D-48BD-B1AA-2AD9152C2970}" type="pres">
      <dgm:prSet presAssocID="{54028A58-1084-4B00-8875-90AB2E366A70}" presName="accentRepeatNode" presStyleLbl="solidFgAcc1" presStyleIdx="1" presStyleCnt="3"/>
      <dgm:spPr>
        <a:effectLst>
          <a:glow rad="139700">
            <a:schemeClr val="accent2">
              <a:satMod val="175000"/>
              <a:alpha val="40000"/>
            </a:schemeClr>
          </a:glow>
        </a:effectLst>
        <a:scene3d>
          <a:camera prst="orthographicFront"/>
          <a:lightRig rig="threePt" dir="t"/>
        </a:scene3d>
        <a:sp3d>
          <a:bevelT prst="angle"/>
        </a:sp3d>
      </dgm:spPr>
    </dgm:pt>
    <dgm:pt modelId="{C062FE7B-68A4-4B19-89D5-9FE96D949A41}" type="pres">
      <dgm:prSet presAssocID="{6B3EBADB-6253-488D-BF96-4FE61488D6BF}" presName="text_3" presStyleLbl="node1" presStyleIdx="2" presStyleCnt="3">
        <dgm:presLayoutVars>
          <dgm:bulletEnabled val="1"/>
        </dgm:presLayoutVars>
      </dgm:prSet>
      <dgm:spPr/>
    </dgm:pt>
    <dgm:pt modelId="{9B24C26F-11CC-4750-A3D4-7FB7ADA9C3C0}" type="pres">
      <dgm:prSet presAssocID="{6B3EBADB-6253-488D-BF96-4FE61488D6BF}" presName="accent_3" presStyleCnt="0"/>
      <dgm:spPr/>
    </dgm:pt>
    <dgm:pt modelId="{4D57B02B-36AB-47A3-A692-32A69D2C5F81}" type="pres">
      <dgm:prSet presAssocID="{6B3EBADB-6253-488D-BF96-4FE61488D6BF}" presName="accentRepeatNode" presStyleLbl="solidFgAcc1" presStyleIdx="2" presStyleCnt="3"/>
      <dgm:spPr>
        <a:effectLst>
          <a:glow rad="139700">
            <a:schemeClr val="accent2">
              <a:satMod val="175000"/>
              <a:alpha val="40000"/>
            </a:schemeClr>
          </a:glow>
        </a:effectLst>
        <a:scene3d>
          <a:camera prst="orthographicFront"/>
          <a:lightRig rig="threePt" dir="t"/>
        </a:scene3d>
        <a:sp3d>
          <a:bevelT prst="angle"/>
        </a:sp3d>
      </dgm:spPr>
    </dgm:pt>
  </dgm:ptLst>
  <dgm:cxnLst>
    <dgm:cxn modelId="{BA80050C-0F9B-4DD2-9F3F-75507418792D}" srcId="{11C4A45B-C3CC-42A4-AE8B-2689D5782C46}" destId="{6B3EBADB-6253-488D-BF96-4FE61488D6BF}" srcOrd="2" destOrd="0" parTransId="{E5644839-3486-4FE5-BF62-98A68ADFFB41}" sibTransId="{7C902D95-496F-47FC-833F-349924F6739B}"/>
    <dgm:cxn modelId="{9C308027-4FA4-4EBA-8EBD-939DCA90BA73}" srcId="{11C4A45B-C3CC-42A4-AE8B-2689D5782C46}" destId="{54028A58-1084-4B00-8875-90AB2E366A70}" srcOrd="1" destOrd="0" parTransId="{265F4E3C-C71F-4F2D-88AA-88A8AA435A9B}" sibTransId="{6CDA8464-6CBF-45BD-ABF0-E778D0DE7BF6}"/>
    <dgm:cxn modelId="{1588A33F-E2E7-40BD-895A-BB7BF786418D}" type="presOf" srcId="{54028A58-1084-4B00-8875-90AB2E366A70}" destId="{9C1600F5-87ED-4E8B-B626-E6833653004C}" srcOrd="0" destOrd="0" presId="urn:microsoft.com/office/officeart/2008/layout/VerticalCurvedList"/>
    <dgm:cxn modelId="{A8A3A153-177E-4AB5-8A94-E972D433D060}" type="presOf" srcId="{3EB0843C-BFB8-465D-B03C-599B37285639}" destId="{E342A42F-8303-4716-8C92-1A6989FD2937}" srcOrd="0" destOrd="0" presId="urn:microsoft.com/office/officeart/2008/layout/VerticalCurvedList"/>
    <dgm:cxn modelId="{65519B94-499D-4175-9895-2C7348ECE8C7}" type="presOf" srcId="{9F39A111-D0BE-43BC-95BE-4D0B102285B3}" destId="{8D8F2F0F-EB6F-4698-9697-D38D9784DA2A}" srcOrd="0" destOrd="0" presId="urn:microsoft.com/office/officeart/2008/layout/VerticalCurvedList"/>
    <dgm:cxn modelId="{DCEFB098-6FEB-4137-8CB8-8BC3CEB5F03C}" type="presOf" srcId="{6B3EBADB-6253-488D-BF96-4FE61488D6BF}" destId="{C062FE7B-68A4-4B19-89D5-9FE96D949A41}" srcOrd="0" destOrd="0" presId="urn:microsoft.com/office/officeart/2008/layout/VerticalCurvedList"/>
    <dgm:cxn modelId="{EAD440CD-0FD7-4DEC-8018-7C4A6117715B}" type="presOf" srcId="{11C4A45B-C3CC-42A4-AE8B-2689D5782C46}" destId="{92CC4AA5-54D8-4E72-89CC-2D002ED65CA2}" srcOrd="0" destOrd="0" presId="urn:microsoft.com/office/officeart/2008/layout/VerticalCurvedList"/>
    <dgm:cxn modelId="{9E3CC9DC-2A51-4F44-82B8-F82DAD36E5EC}" srcId="{11C4A45B-C3CC-42A4-AE8B-2689D5782C46}" destId="{3EB0843C-BFB8-465D-B03C-599B37285639}" srcOrd="0" destOrd="0" parTransId="{1D922DE8-B4FD-4C1A-85E7-138C8B544275}" sibTransId="{9F39A111-D0BE-43BC-95BE-4D0B102285B3}"/>
    <dgm:cxn modelId="{10A83BA4-038D-4298-BD28-F68328570FD2}" type="presParOf" srcId="{92CC4AA5-54D8-4E72-89CC-2D002ED65CA2}" destId="{108E10AA-5451-42F5-A70B-70207403A594}" srcOrd="0" destOrd="0" presId="urn:microsoft.com/office/officeart/2008/layout/VerticalCurvedList"/>
    <dgm:cxn modelId="{803B340B-2B32-4B8D-9A4B-9976B952083C}" type="presParOf" srcId="{108E10AA-5451-42F5-A70B-70207403A594}" destId="{9F733B44-4AEA-4E96-ACCB-3DF09410ACC3}" srcOrd="0" destOrd="0" presId="urn:microsoft.com/office/officeart/2008/layout/VerticalCurvedList"/>
    <dgm:cxn modelId="{39D38B79-4E4A-4962-A757-193AF8B8BAFE}" type="presParOf" srcId="{9F733B44-4AEA-4E96-ACCB-3DF09410ACC3}" destId="{1BED2195-6468-4FD6-A514-F9B120E4E9C8}" srcOrd="0" destOrd="0" presId="urn:microsoft.com/office/officeart/2008/layout/VerticalCurvedList"/>
    <dgm:cxn modelId="{28763268-E988-4173-B7F0-450666C2F602}" type="presParOf" srcId="{9F733B44-4AEA-4E96-ACCB-3DF09410ACC3}" destId="{8D8F2F0F-EB6F-4698-9697-D38D9784DA2A}" srcOrd="1" destOrd="0" presId="urn:microsoft.com/office/officeart/2008/layout/VerticalCurvedList"/>
    <dgm:cxn modelId="{9E9C8C89-6730-4696-9439-25B897074DCF}" type="presParOf" srcId="{9F733B44-4AEA-4E96-ACCB-3DF09410ACC3}" destId="{BE5E7409-6804-41F7-B8F2-86CA373382A3}" srcOrd="2" destOrd="0" presId="urn:microsoft.com/office/officeart/2008/layout/VerticalCurvedList"/>
    <dgm:cxn modelId="{A9C744D7-C67D-4BBF-9E41-0B621E4A4BC3}" type="presParOf" srcId="{9F733B44-4AEA-4E96-ACCB-3DF09410ACC3}" destId="{AA9DD9E5-0B5D-4006-BEF6-7B4AF55F978C}" srcOrd="3" destOrd="0" presId="urn:microsoft.com/office/officeart/2008/layout/VerticalCurvedList"/>
    <dgm:cxn modelId="{23D02C9A-5FEB-47F2-8530-23DCEBE8B663}" type="presParOf" srcId="{108E10AA-5451-42F5-A70B-70207403A594}" destId="{E342A42F-8303-4716-8C92-1A6989FD2937}" srcOrd="1" destOrd="0" presId="urn:microsoft.com/office/officeart/2008/layout/VerticalCurvedList"/>
    <dgm:cxn modelId="{D39D3FDE-BC5C-418D-904B-A2A28D9803AE}" type="presParOf" srcId="{108E10AA-5451-42F5-A70B-70207403A594}" destId="{C7494573-3BF9-4882-9D2A-C7B86B8D671D}" srcOrd="2" destOrd="0" presId="urn:microsoft.com/office/officeart/2008/layout/VerticalCurvedList"/>
    <dgm:cxn modelId="{D492C0EB-95DD-471B-9335-118CD0A7044A}" type="presParOf" srcId="{C7494573-3BF9-4882-9D2A-C7B86B8D671D}" destId="{C98BA6B0-417F-4607-BA3B-EF5C5369883D}" srcOrd="0" destOrd="0" presId="urn:microsoft.com/office/officeart/2008/layout/VerticalCurvedList"/>
    <dgm:cxn modelId="{D1ABEA98-BA69-4514-80B8-D21DD18AE200}" type="presParOf" srcId="{108E10AA-5451-42F5-A70B-70207403A594}" destId="{9C1600F5-87ED-4E8B-B626-E6833653004C}" srcOrd="3" destOrd="0" presId="urn:microsoft.com/office/officeart/2008/layout/VerticalCurvedList"/>
    <dgm:cxn modelId="{D7E6FDC1-A02A-4E60-A48D-9F774190B5CD}" type="presParOf" srcId="{108E10AA-5451-42F5-A70B-70207403A594}" destId="{AD3DA786-2FF5-497F-8DB2-C6C78AA60FCA}" srcOrd="4" destOrd="0" presId="urn:microsoft.com/office/officeart/2008/layout/VerticalCurvedList"/>
    <dgm:cxn modelId="{76CF4430-F3F9-4F9E-B4AB-27E5C8E7A72E}" type="presParOf" srcId="{AD3DA786-2FF5-497F-8DB2-C6C78AA60FCA}" destId="{741EE879-1C9D-48BD-B1AA-2AD9152C2970}" srcOrd="0" destOrd="0" presId="urn:microsoft.com/office/officeart/2008/layout/VerticalCurvedList"/>
    <dgm:cxn modelId="{FC42DEC3-016B-4532-8FBF-470E4FABC722}" type="presParOf" srcId="{108E10AA-5451-42F5-A70B-70207403A594}" destId="{C062FE7B-68A4-4B19-89D5-9FE96D949A41}" srcOrd="5" destOrd="0" presId="urn:microsoft.com/office/officeart/2008/layout/VerticalCurvedList"/>
    <dgm:cxn modelId="{4AEFCEAF-39B0-460A-B708-D55381E8F58C}" type="presParOf" srcId="{108E10AA-5451-42F5-A70B-70207403A594}" destId="{9B24C26F-11CC-4750-A3D4-7FB7ADA9C3C0}" srcOrd="6" destOrd="0" presId="urn:microsoft.com/office/officeart/2008/layout/VerticalCurvedList"/>
    <dgm:cxn modelId="{11341FDA-4541-4704-8AB1-17F8F546CA18}" type="presParOf" srcId="{9B24C26F-11CC-4750-A3D4-7FB7ADA9C3C0}" destId="{4D57B02B-36AB-47A3-A692-32A69D2C5F81}"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9BA7B7C-14E6-45EF-AD7A-79423EA17F5F}"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s-ES"/>
        </a:p>
      </dgm:t>
    </dgm:pt>
    <dgm:pt modelId="{13B77199-C222-4AA7-968A-FA0ADD155FAD}">
      <dgm:prSet phldrT="[Text]"/>
      <dgm:spPr>
        <a:scene3d>
          <a:camera prst="orthographicFront"/>
          <a:lightRig rig="threePt" dir="t"/>
        </a:scene3d>
        <a:sp3d>
          <a:bevelT prst="angle"/>
        </a:sp3d>
      </dgm:spPr>
      <dgm:t>
        <a:bodyPr/>
        <a:lstStyle/>
        <a:p>
          <a:r>
            <a:rPr lang="en-US" dirty="0">
              <a:latin typeface="+mj-lt"/>
            </a:rPr>
            <a:t>Poor choice: StoreID for retailer</a:t>
          </a:r>
          <a:endParaRPr lang="es-ES" dirty="0"/>
        </a:p>
      </dgm:t>
    </dgm:pt>
    <dgm:pt modelId="{23C832BB-4C90-4DA5-BF4D-0C35072BBE98}" type="parTrans" cxnId="{03D6374F-5D2B-45FF-A4DF-17AF2390D99D}">
      <dgm:prSet/>
      <dgm:spPr/>
      <dgm:t>
        <a:bodyPr/>
        <a:lstStyle/>
        <a:p>
          <a:endParaRPr lang="es-ES"/>
        </a:p>
      </dgm:t>
    </dgm:pt>
    <dgm:pt modelId="{3FAB2305-0C61-4D38-9EAE-B87705F9F636}" type="sibTrans" cxnId="{03D6374F-5D2B-45FF-A4DF-17AF2390D99D}">
      <dgm:prSet/>
      <dgm:spPr/>
      <dgm:t>
        <a:bodyPr/>
        <a:lstStyle/>
        <a:p>
          <a:endParaRPr lang="es-ES"/>
        </a:p>
      </dgm:t>
    </dgm:pt>
    <dgm:pt modelId="{2BCBA311-64AE-4F6B-8199-D64F32916BDF}">
      <dgm:prSet/>
      <dgm:spPr/>
      <dgm:t>
        <a:bodyPr/>
        <a:lstStyle/>
        <a:p>
          <a:r>
            <a:rPr lang="en-US" dirty="0">
              <a:latin typeface="+mj-lt"/>
            </a:rPr>
            <a:t>Megastores are huge, selling lots of products</a:t>
          </a:r>
        </a:p>
      </dgm:t>
    </dgm:pt>
    <dgm:pt modelId="{BB71BA63-DA14-4B71-9A7F-904CA8EA39A4}" type="parTrans" cxnId="{CF8ECBCB-E044-4D8D-983B-7BF61A1C3694}">
      <dgm:prSet/>
      <dgm:spPr/>
      <dgm:t>
        <a:bodyPr/>
        <a:lstStyle/>
        <a:p>
          <a:endParaRPr lang="es-ES"/>
        </a:p>
      </dgm:t>
    </dgm:pt>
    <dgm:pt modelId="{F5663568-8462-4EE1-8E08-B7BD5B4B9CDF}" type="sibTrans" cxnId="{CF8ECBCB-E044-4D8D-983B-7BF61A1C3694}">
      <dgm:prSet/>
      <dgm:spPr/>
      <dgm:t>
        <a:bodyPr/>
        <a:lstStyle/>
        <a:p>
          <a:endParaRPr lang="es-ES"/>
        </a:p>
      </dgm:t>
    </dgm:pt>
    <dgm:pt modelId="{C9D2D2B8-0DA4-494A-B48E-26E1304C5917}">
      <dgm:prSet/>
      <dgm:spPr/>
      <dgm:t>
        <a:bodyPr/>
        <a:lstStyle/>
        <a:p>
          <a:r>
            <a:rPr lang="en-US" dirty="0">
              <a:latin typeface="+mj-lt"/>
            </a:rPr>
            <a:t>Local stores are small, selling fewer products</a:t>
          </a:r>
        </a:p>
      </dgm:t>
    </dgm:pt>
    <dgm:pt modelId="{903C85EB-43AB-426E-BBB3-3118AFCA6529}" type="parTrans" cxnId="{A2114EF5-A202-4B55-9C54-0E2E920B940D}">
      <dgm:prSet/>
      <dgm:spPr/>
      <dgm:t>
        <a:bodyPr/>
        <a:lstStyle/>
        <a:p>
          <a:endParaRPr lang="es-ES"/>
        </a:p>
      </dgm:t>
    </dgm:pt>
    <dgm:pt modelId="{85F94F45-B21C-408F-8F72-3467AC72E9D5}" type="sibTrans" cxnId="{A2114EF5-A202-4B55-9C54-0E2E920B940D}">
      <dgm:prSet/>
      <dgm:spPr/>
      <dgm:t>
        <a:bodyPr/>
        <a:lstStyle/>
        <a:p>
          <a:endParaRPr lang="es-ES"/>
        </a:p>
      </dgm:t>
    </dgm:pt>
    <dgm:pt modelId="{340A169F-1D0E-4E01-886A-AA43F95060D3}">
      <dgm:prSet/>
      <dgm:spPr>
        <a:scene3d>
          <a:camera prst="orthographicFront"/>
          <a:lightRig rig="threePt" dir="t"/>
        </a:scene3d>
        <a:sp3d>
          <a:bevelT prst="angle"/>
        </a:sp3d>
      </dgm:spPr>
      <dgm:t>
        <a:bodyPr/>
        <a:lstStyle/>
        <a:p>
          <a:r>
            <a:rPr lang="en-US" dirty="0">
              <a:latin typeface="+mj-lt"/>
            </a:rPr>
            <a:t>Poor choice: TransactionDate</a:t>
          </a:r>
          <a:r>
            <a:rPr lang="en-US" baseline="40000" dirty="0">
              <a:latin typeface="+mj-lt"/>
            </a:rPr>
            <a:t>(*)</a:t>
          </a:r>
          <a:r>
            <a:rPr lang="en-US" dirty="0">
              <a:latin typeface="+mj-lt"/>
            </a:rPr>
            <a:t> for retailer</a:t>
          </a:r>
        </a:p>
      </dgm:t>
    </dgm:pt>
    <dgm:pt modelId="{9189F8EA-07C2-4B8F-9125-3DC70E459872}" type="parTrans" cxnId="{FA509170-A278-4755-92D8-624D932F0268}">
      <dgm:prSet/>
      <dgm:spPr/>
      <dgm:t>
        <a:bodyPr/>
        <a:lstStyle/>
        <a:p>
          <a:endParaRPr lang="es-ES"/>
        </a:p>
      </dgm:t>
    </dgm:pt>
    <dgm:pt modelId="{4EA18249-E5A9-4420-8DDB-DE5F42C8ED93}" type="sibTrans" cxnId="{FA509170-A278-4755-92D8-624D932F0268}">
      <dgm:prSet/>
      <dgm:spPr/>
      <dgm:t>
        <a:bodyPr/>
        <a:lstStyle/>
        <a:p>
          <a:endParaRPr lang="es-ES"/>
        </a:p>
      </dgm:t>
    </dgm:pt>
    <dgm:pt modelId="{55FDD662-F1CF-4FEE-A717-98969C12401E}">
      <dgm:prSet/>
      <dgm:spPr/>
      <dgm:t>
        <a:bodyPr/>
        <a:lstStyle/>
        <a:p>
          <a:r>
            <a:rPr lang="en-US" dirty="0">
              <a:latin typeface="+mj-lt"/>
            </a:rPr>
            <a:t>Black Friday sales are major proportion of overall yearly sales</a:t>
          </a:r>
        </a:p>
      </dgm:t>
    </dgm:pt>
    <dgm:pt modelId="{38540061-0958-4CF1-AC9E-89CF297FF606}" type="parTrans" cxnId="{D00673C3-0240-410E-924D-19AB220138A7}">
      <dgm:prSet/>
      <dgm:spPr/>
      <dgm:t>
        <a:bodyPr/>
        <a:lstStyle/>
        <a:p>
          <a:endParaRPr lang="es-ES"/>
        </a:p>
      </dgm:t>
    </dgm:pt>
    <dgm:pt modelId="{7124CE1F-86E1-4252-B88D-CE238254C3FD}" type="sibTrans" cxnId="{D00673C3-0240-410E-924D-19AB220138A7}">
      <dgm:prSet/>
      <dgm:spPr/>
      <dgm:t>
        <a:bodyPr/>
        <a:lstStyle/>
        <a:p>
          <a:endParaRPr lang="es-ES"/>
        </a:p>
      </dgm:t>
    </dgm:pt>
    <dgm:pt modelId="{4C270BFF-CB7E-43B9-B39B-9AE7AA9DD01B}">
      <dgm:prSet/>
      <dgm:spPr/>
      <dgm:t>
        <a:bodyPr/>
        <a:lstStyle/>
        <a:p>
          <a:r>
            <a:rPr lang="en-US" dirty="0">
              <a:latin typeface="+mj-lt"/>
            </a:rPr>
            <a:t>Large volatility, but majority of sales occur on select dates</a:t>
          </a:r>
          <a:endParaRPr lang="es-ES" dirty="0"/>
        </a:p>
      </dgm:t>
    </dgm:pt>
    <dgm:pt modelId="{2D47E8F3-E5E4-499C-BC27-B64367DB2497}" type="parTrans" cxnId="{E0D6CD64-0709-4A84-BE2B-54168E4556ED}">
      <dgm:prSet/>
      <dgm:spPr/>
      <dgm:t>
        <a:bodyPr/>
        <a:lstStyle/>
        <a:p>
          <a:endParaRPr lang="es-ES"/>
        </a:p>
      </dgm:t>
    </dgm:pt>
    <dgm:pt modelId="{27D74A42-AC00-4DA2-B1D8-08D63C274AF8}" type="sibTrans" cxnId="{E0D6CD64-0709-4A84-BE2B-54168E4556ED}">
      <dgm:prSet/>
      <dgm:spPr/>
      <dgm:t>
        <a:bodyPr/>
        <a:lstStyle/>
        <a:p>
          <a:endParaRPr lang="es-ES"/>
        </a:p>
      </dgm:t>
    </dgm:pt>
    <dgm:pt modelId="{F0AD24D5-87BF-4B55-A79F-73FCB1E85C35}" type="pres">
      <dgm:prSet presAssocID="{19BA7B7C-14E6-45EF-AD7A-79423EA17F5F}" presName="linear" presStyleCnt="0">
        <dgm:presLayoutVars>
          <dgm:dir/>
          <dgm:animLvl val="lvl"/>
          <dgm:resizeHandles val="exact"/>
        </dgm:presLayoutVars>
      </dgm:prSet>
      <dgm:spPr/>
    </dgm:pt>
    <dgm:pt modelId="{41980E3F-136E-4FD8-94CC-8AA80645698B}" type="pres">
      <dgm:prSet presAssocID="{13B77199-C222-4AA7-968A-FA0ADD155FAD}" presName="parentLin" presStyleCnt="0"/>
      <dgm:spPr/>
    </dgm:pt>
    <dgm:pt modelId="{D9840DFD-B130-41AB-8A0B-F0B595FCE387}" type="pres">
      <dgm:prSet presAssocID="{13B77199-C222-4AA7-968A-FA0ADD155FAD}" presName="parentLeftMargin" presStyleLbl="node1" presStyleIdx="0" presStyleCnt="2"/>
      <dgm:spPr/>
    </dgm:pt>
    <dgm:pt modelId="{D351B006-60F5-4A09-9460-F8456945FBB5}" type="pres">
      <dgm:prSet presAssocID="{13B77199-C222-4AA7-968A-FA0ADD155FAD}" presName="parentText" presStyleLbl="node1" presStyleIdx="0" presStyleCnt="2">
        <dgm:presLayoutVars>
          <dgm:chMax val="0"/>
          <dgm:bulletEnabled val="1"/>
        </dgm:presLayoutVars>
      </dgm:prSet>
      <dgm:spPr/>
    </dgm:pt>
    <dgm:pt modelId="{01430CAF-EFF2-4619-8915-69C1A26F222B}" type="pres">
      <dgm:prSet presAssocID="{13B77199-C222-4AA7-968A-FA0ADD155FAD}" presName="negativeSpace" presStyleCnt="0"/>
      <dgm:spPr/>
    </dgm:pt>
    <dgm:pt modelId="{B08A11ED-01D4-4B5D-9B67-55AC50828916}" type="pres">
      <dgm:prSet presAssocID="{13B77199-C222-4AA7-968A-FA0ADD155FAD}" presName="childText" presStyleLbl="conFgAcc1" presStyleIdx="0" presStyleCnt="2">
        <dgm:presLayoutVars>
          <dgm:bulletEnabled val="1"/>
        </dgm:presLayoutVars>
      </dgm:prSet>
      <dgm:spPr/>
    </dgm:pt>
    <dgm:pt modelId="{28F7E06D-5E43-4F0A-864C-E4B995B11F61}" type="pres">
      <dgm:prSet presAssocID="{3FAB2305-0C61-4D38-9EAE-B87705F9F636}" presName="spaceBetweenRectangles" presStyleCnt="0"/>
      <dgm:spPr/>
    </dgm:pt>
    <dgm:pt modelId="{22F85354-C8E1-4DCC-8ACB-8516698A9B1A}" type="pres">
      <dgm:prSet presAssocID="{340A169F-1D0E-4E01-886A-AA43F95060D3}" presName="parentLin" presStyleCnt="0"/>
      <dgm:spPr/>
    </dgm:pt>
    <dgm:pt modelId="{81352EE7-5761-42FB-A348-E910BACA5FB5}" type="pres">
      <dgm:prSet presAssocID="{340A169F-1D0E-4E01-886A-AA43F95060D3}" presName="parentLeftMargin" presStyleLbl="node1" presStyleIdx="0" presStyleCnt="2"/>
      <dgm:spPr/>
    </dgm:pt>
    <dgm:pt modelId="{F7D1CE7F-5733-4B44-A39C-9F1BC7DDF489}" type="pres">
      <dgm:prSet presAssocID="{340A169F-1D0E-4E01-886A-AA43F95060D3}" presName="parentText" presStyleLbl="node1" presStyleIdx="1" presStyleCnt="2">
        <dgm:presLayoutVars>
          <dgm:chMax val="0"/>
          <dgm:bulletEnabled val="1"/>
        </dgm:presLayoutVars>
      </dgm:prSet>
      <dgm:spPr/>
    </dgm:pt>
    <dgm:pt modelId="{669A0861-AA9E-4832-96AA-86A1BD4414CD}" type="pres">
      <dgm:prSet presAssocID="{340A169F-1D0E-4E01-886A-AA43F95060D3}" presName="negativeSpace" presStyleCnt="0"/>
      <dgm:spPr/>
    </dgm:pt>
    <dgm:pt modelId="{9758D2A9-DD46-4289-9C13-C3C2916D8818}" type="pres">
      <dgm:prSet presAssocID="{340A169F-1D0E-4E01-886A-AA43F95060D3}" presName="childText" presStyleLbl="conFgAcc1" presStyleIdx="1" presStyleCnt="2">
        <dgm:presLayoutVars>
          <dgm:bulletEnabled val="1"/>
        </dgm:presLayoutVars>
      </dgm:prSet>
      <dgm:spPr/>
    </dgm:pt>
  </dgm:ptLst>
  <dgm:cxnLst>
    <dgm:cxn modelId="{F2A0831D-7893-4BC2-BAE5-7A33A7EC889E}" type="presOf" srcId="{55FDD662-F1CF-4FEE-A717-98969C12401E}" destId="{9758D2A9-DD46-4289-9C13-C3C2916D8818}" srcOrd="0" destOrd="0" presId="urn:microsoft.com/office/officeart/2005/8/layout/list1"/>
    <dgm:cxn modelId="{A8168A24-BC0D-427F-A537-2197978B746B}" type="presOf" srcId="{2BCBA311-64AE-4F6B-8199-D64F32916BDF}" destId="{B08A11ED-01D4-4B5D-9B67-55AC50828916}" srcOrd="0" destOrd="0" presId="urn:microsoft.com/office/officeart/2005/8/layout/list1"/>
    <dgm:cxn modelId="{0B87A536-D2E7-4EC4-BADD-84936E894345}" type="presOf" srcId="{C9D2D2B8-0DA4-494A-B48E-26E1304C5917}" destId="{B08A11ED-01D4-4B5D-9B67-55AC50828916}" srcOrd="0" destOrd="1" presId="urn:microsoft.com/office/officeart/2005/8/layout/list1"/>
    <dgm:cxn modelId="{E0D6CD64-0709-4A84-BE2B-54168E4556ED}" srcId="{340A169F-1D0E-4E01-886A-AA43F95060D3}" destId="{4C270BFF-CB7E-43B9-B39B-9AE7AA9DD01B}" srcOrd="1" destOrd="0" parTransId="{2D47E8F3-E5E4-499C-BC27-B64367DB2497}" sibTransId="{27D74A42-AC00-4DA2-B1D8-08D63C274AF8}"/>
    <dgm:cxn modelId="{ECA1B946-DE88-42BF-9C06-B81BD341902E}" type="presOf" srcId="{340A169F-1D0E-4E01-886A-AA43F95060D3}" destId="{81352EE7-5761-42FB-A348-E910BACA5FB5}" srcOrd="0" destOrd="0" presId="urn:microsoft.com/office/officeart/2005/8/layout/list1"/>
    <dgm:cxn modelId="{79B61269-2FD8-42F0-88A1-0D9B3D1F333F}" type="presOf" srcId="{340A169F-1D0E-4E01-886A-AA43F95060D3}" destId="{F7D1CE7F-5733-4B44-A39C-9F1BC7DDF489}" srcOrd="1" destOrd="0" presId="urn:microsoft.com/office/officeart/2005/8/layout/list1"/>
    <dgm:cxn modelId="{03D6374F-5D2B-45FF-A4DF-17AF2390D99D}" srcId="{19BA7B7C-14E6-45EF-AD7A-79423EA17F5F}" destId="{13B77199-C222-4AA7-968A-FA0ADD155FAD}" srcOrd="0" destOrd="0" parTransId="{23C832BB-4C90-4DA5-BF4D-0C35072BBE98}" sibTransId="{3FAB2305-0C61-4D38-9EAE-B87705F9F636}"/>
    <dgm:cxn modelId="{FA509170-A278-4755-92D8-624D932F0268}" srcId="{19BA7B7C-14E6-45EF-AD7A-79423EA17F5F}" destId="{340A169F-1D0E-4E01-886A-AA43F95060D3}" srcOrd="1" destOrd="0" parTransId="{9189F8EA-07C2-4B8F-9125-3DC70E459872}" sibTransId="{4EA18249-E5A9-4420-8DDB-DE5F42C8ED93}"/>
    <dgm:cxn modelId="{FDCFC481-6203-4C0C-A54E-098B7A1C15EB}" type="presOf" srcId="{19BA7B7C-14E6-45EF-AD7A-79423EA17F5F}" destId="{F0AD24D5-87BF-4B55-A79F-73FCB1E85C35}" srcOrd="0" destOrd="0" presId="urn:microsoft.com/office/officeart/2005/8/layout/list1"/>
    <dgm:cxn modelId="{D00673C3-0240-410E-924D-19AB220138A7}" srcId="{340A169F-1D0E-4E01-886A-AA43F95060D3}" destId="{55FDD662-F1CF-4FEE-A717-98969C12401E}" srcOrd="0" destOrd="0" parTransId="{38540061-0958-4CF1-AC9E-89CF297FF606}" sibTransId="{7124CE1F-86E1-4252-B88D-CE238254C3FD}"/>
    <dgm:cxn modelId="{CF8ECBCB-E044-4D8D-983B-7BF61A1C3694}" srcId="{13B77199-C222-4AA7-968A-FA0ADD155FAD}" destId="{2BCBA311-64AE-4F6B-8199-D64F32916BDF}" srcOrd="0" destOrd="0" parTransId="{BB71BA63-DA14-4B71-9A7F-904CA8EA39A4}" sibTransId="{F5663568-8462-4EE1-8E08-B7BD5B4B9CDF}"/>
    <dgm:cxn modelId="{23C7A8DB-1382-49B6-BD76-A2BCF4CDFF84}" type="presOf" srcId="{13B77199-C222-4AA7-968A-FA0ADD155FAD}" destId="{D351B006-60F5-4A09-9460-F8456945FBB5}" srcOrd="1" destOrd="0" presId="urn:microsoft.com/office/officeart/2005/8/layout/list1"/>
    <dgm:cxn modelId="{2A090BEF-74AE-4763-B61A-D1EB13AD8903}" type="presOf" srcId="{4C270BFF-CB7E-43B9-B39B-9AE7AA9DD01B}" destId="{9758D2A9-DD46-4289-9C13-C3C2916D8818}" srcOrd="0" destOrd="1" presId="urn:microsoft.com/office/officeart/2005/8/layout/list1"/>
    <dgm:cxn modelId="{455982F0-57A3-46B4-8A33-B5A3DD112965}" type="presOf" srcId="{13B77199-C222-4AA7-968A-FA0ADD155FAD}" destId="{D9840DFD-B130-41AB-8A0B-F0B595FCE387}" srcOrd="0" destOrd="0" presId="urn:microsoft.com/office/officeart/2005/8/layout/list1"/>
    <dgm:cxn modelId="{A2114EF5-A202-4B55-9C54-0E2E920B940D}" srcId="{13B77199-C222-4AA7-968A-FA0ADD155FAD}" destId="{C9D2D2B8-0DA4-494A-B48E-26E1304C5917}" srcOrd="1" destOrd="0" parTransId="{903C85EB-43AB-426E-BBB3-3118AFCA6529}" sibTransId="{85F94F45-B21C-408F-8F72-3467AC72E9D5}"/>
    <dgm:cxn modelId="{F1284553-62F4-4A93-8FA2-7A56DC6BDBD1}" type="presParOf" srcId="{F0AD24D5-87BF-4B55-A79F-73FCB1E85C35}" destId="{41980E3F-136E-4FD8-94CC-8AA80645698B}" srcOrd="0" destOrd="0" presId="urn:microsoft.com/office/officeart/2005/8/layout/list1"/>
    <dgm:cxn modelId="{8D604141-99D4-4A16-BB7E-2AA778E4DFD2}" type="presParOf" srcId="{41980E3F-136E-4FD8-94CC-8AA80645698B}" destId="{D9840DFD-B130-41AB-8A0B-F0B595FCE387}" srcOrd="0" destOrd="0" presId="urn:microsoft.com/office/officeart/2005/8/layout/list1"/>
    <dgm:cxn modelId="{9F3E2F12-9A66-4A71-8841-781C48A01EB9}" type="presParOf" srcId="{41980E3F-136E-4FD8-94CC-8AA80645698B}" destId="{D351B006-60F5-4A09-9460-F8456945FBB5}" srcOrd="1" destOrd="0" presId="urn:microsoft.com/office/officeart/2005/8/layout/list1"/>
    <dgm:cxn modelId="{F7EBCA5C-B38E-4F79-975B-B0D53CD0E798}" type="presParOf" srcId="{F0AD24D5-87BF-4B55-A79F-73FCB1E85C35}" destId="{01430CAF-EFF2-4619-8915-69C1A26F222B}" srcOrd="1" destOrd="0" presId="urn:microsoft.com/office/officeart/2005/8/layout/list1"/>
    <dgm:cxn modelId="{45CFF085-C755-4757-A7AD-ABE855CC40FB}" type="presParOf" srcId="{F0AD24D5-87BF-4B55-A79F-73FCB1E85C35}" destId="{B08A11ED-01D4-4B5D-9B67-55AC50828916}" srcOrd="2" destOrd="0" presId="urn:microsoft.com/office/officeart/2005/8/layout/list1"/>
    <dgm:cxn modelId="{C94A2141-8338-4B14-B44C-BB476120FE28}" type="presParOf" srcId="{F0AD24D5-87BF-4B55-A79F-73FCB1E85C35}" destId="{28F7E06D-5E43-4F0A-864C-E4B995B11F61}" srcOrd="3" destOrd="0" presId="urn:microsoft.com/office/officeart/2005/8/layout/list1"/>
    <dgm:cxn modelId="{47AF8ECA-73ED-41D1-A284-D907AB0BED96}" type="presParOf" srcId="{F0AD24D5-87BF-4B55-A79F-73FCB1E85C35}" destId="{22F85354-C8E1-4DCC-8ACB-8516698A9B1A}" srcOrd="4" destOrd="0" presId="urn:microsoft.com/office/officeart/2005/8/layout/list1"/>
    <dgm:cxn modelId="{8A901AD4-0A71-47DA-B0A3-686E10E43043}" type="presParOf" srcId="{22F85354-C8E1-4DCC-8ACB-8516698A9B1A}" destId="{81352EE7-5761-42FB-A348-E910BACA5FB5}" srcOrd="0" destOrd="0" presId="urn:microsoft.com/office/officeart/2005/8/layout/list1"/>
    <dgm:cxn modelId="{764272FE-8CB8-4627-BEC5-65E42E8665AE}" type="presParOf" srcId="{22F85354-C8E1-4DCC-8ACB-8516698A9B1A}" destId="{F7D1CE7F-5733-4B44-A39C-9F1BC7DDF489}" srcOrd="1" destOrd="0" presId="urn:microsoft.com/office/officeart/2005/8/layout/list1"/>
    <dgm:cxn modelId="{F3067ECE-D43A-4A4F-AA12-774585EB90F7}" type="presParOf" srcId="{F0AD24D5-87BF-4B55-A79F-73FCB1E85C35}" destId="{669A0861-AA9E-4832-96AA-86A1BD4414CD}" srcOrd="5" destOrd="0" presId="urn:microsoft.com/office/officeart/2005/8/layout/list1"/>
    <dgm:cxn modelId="{DF60C0B7-1C97-4B5B-A3A2-23061DE6F638}" type="presParOf" srcId="{F0AD24D5-87BF-4B55-A79F-73FCB1E85C35}" destId="{9758D2A9-DD46-4289-9C13-C3C2916D8818}"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F35993-D09C-4C46-95EC-6B9E84F306AE}">
      <dsp:nvSpPr>
        <dsp:cNvPr id="0" name=""/>
        <dsp:cNvSpPr/>
      </dsp:nvSpPr>
      <dsp:spPr>
        <a:xfrm>
          <a:off x="0" y="445049"/>
          <a:ext cx="11099800" cy="12168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glow rad="63500">
            <a:schemeClr val="accent2">
              <a:satMod val="175000"/>
              <a:alpha val="40000"/>
            </a:schemeClr>
          </a:glow>
        </a:effectLst>
        <a:scene3d>
          <a:camera prst="perspective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b="0" i="0" kern="1200" dirty="0"/>
            <a:t>Azure Synapse uses Azure Storage to store data</a:t>
          </a:r>
          <a:endParaRPr lang="en-US" sz="2400" kern="1200" dirty="0"/>
        </a:p>
      </dsp:txBody>
      <dsp:txXfrm>
        <a:off x="59399" y="504448"/>
        <a:ext cx="10981002" cy="1098002"/>
      </dsp:txXfrm>
    </dsp:sp>
    <dsp:sp modelId="{68D77F7B-9425-4D9F-9060-DD2D87535ECA}">
      <dsp:nvSpPr>
        <dsp:cNvPr id="0" name=""/>
        <dsp:cNvSpPr/>
      </dsp:nvSpPr>
      <dsp:spPr>
        <a:xfrm>
          <a:off x="0" y="1849050"/>
          <a:ext cx="11099800" cy="121680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glow rad="63500">
            <a:schemeClr val="accent2">
              <a:satMod val="175000"/>
              <a:alpha val="40000"/>
            </a:schemeClr>
          </a:glow>
        </a:effectLst>
        <a:scene3d>
          <a:camera prst="perspective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The data is sharded into distributions to optimize the performance of the system</a:t>
          </a:r>
          <a:endParaRPr lang="en-US" sz="2400" kern="1200" noProof="0" dirty="0"/>
        </a:p>
      </dsp:txBody>
      <dsp:txXfrm>
        <a:off x="59399" y="1908449"/>
        <a:ext cx="10981002" cy="1098002"/>
      </dsp:txXfrm>
    </dsp:sp>
    <dsp:sp modelId="{DD155D51-D2E8-4BE3-A71C-599840356C9E}">
      <dsp:nvSpPr>
        <dsp:cNvPr id="0" name=""/>
        <dsp:cNvSpPr/>
      </dsp:nvSpPr>
      <dsp:spPr>
        <a:xfrm>
          <a:off x="0" y="3253050"/>
          <a:ext cx="11099800" cy="121680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glow rad="63500">
            <a:schemeClr val="accent2">
              <a:satMod val="175000"/>
              <a:alpha val="40000"/>
            </a:schemeClr>
          </a:glow>
        </a:effectLst>
        <a:scene3d>
          <a:camera prst="perspective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The </a:t>
          </a:r>
          <a:r>
            <a:rPr lang="en-US" sz="2400" kern="1200" noProof="0" dirty="0" err="1"/>
            <a:t>sharding</a:t>
          </a:r>
          <a:r>
            <a:rPr lang="en-US" sz="2400" kern="1200" noProof="0" dirty="0"/>
            <a:t> pattern can be chosen at table definition</a:t>
          </a:r>
        </a:p>
      </dsp:txBody>
      <dsp:txXfrm>
        <a:off x="59399" y="3312449"/>
        <a:ext cx="10981002"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E2080A-FDB3-433D-A757-0BEC1E4439C8}">
      <dsp:nvSpPr>
        <dsp:cNvPr id="0" name=""/>
        <dsp:cNvSpPr/>
      </dsp:nvSpPr>
      <dsp:spPr>
        <a:xfrm>
          <a:off x="0" y="95614"/>
          <a:ext cx="10591799" cy="760639"/>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GB" sz="3000" kern="1200" dirty="0"/>
            <a:t>Detecting Data Skew </a:t>
          </a:r>
          <a:endParaRPr lang="es-ES" sz="3000" kern="1200" dirty="0"/>
        </a:p>
      </dsp:txBody>
      <dsp:txXfrm>
        <a:off x="37131" y="132745"/>
        <a:ext cx="10517537" cy="686377"/>
      </dsp:txXfrm>
    </dsp:sp>
    <dsp:sp modelId="{685AD1B2-246D-4BBB-976D-BEA80EEA9323}">
      <dsp:nvSpPr>
        <dsp:cNvPr id="0" name=""/>
        <dsp:cNvSpPr/>
      </dsp:nvSpPr>
      <dsp:spPr>
        <a:xfrm>
          <a:off x="0" y="856254"/>
          <a:ext cx="10591799" cy="761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290"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GB" sz="2300" kern="1200" dirty="0"/>
            <a:t>DBCC PDW_SHOWSPACEUSED(&lt;Table_Name&gt;)</a:t>
          </a:r>
        </a:p>
      </dsp:txBody>
      <dsp:txXfrm>
        <a:off x="0" y="856254"/>
        <a:ext cx="10591799" cy="76176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E2080A-FDB3-433D-A757-0BEC1E4439C8}">
      <dsp:nvSpPr>
        <dsp:cNvPr id="0" name=""/>
        <dsp:cNvSpPr/>
      </dsp:nvSpPr>
      <dsp:spPr>
        <a:xfrm>
          <a:off x="0" y="13530"/>
          <a:ext cx="10591799" cy="709528"/>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GB" sz="3000" kern="1200" dirty="0"/>
            <a:t>Detecting Data Skew </a:t>
          </a:r>
          <a:endParaRPr lang="es-ES" sz="3000" kern="1200" dirty="0"/>
        </a:p>
      </dsp:txBody>
      <dsp:txXfrm>
        <a:off x="34636" y="48166"/>
        <a:ext cx="10522527" cy="640256"/>
      </dsp:txXfrm>
    </dsp:sp>
    <dsp:sp modelId="{685AD1B2-246D-4BBB-976D-BEA80EEA9323}">
      <dsp:nvSpPr>
        <dsp:cNvPr id="0" name=""/>
        <dsp:cNvSpPr/>
      </dsp:nvSpPr>
      <dsp:spPr>
        <a:xfrm>
          <a:off x="0" y="723058"/>
          <a:ext cx="10591799" cy="977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290" tIns="29210" rIns="163576" bIns="29210" numCol="1" spcCol="1270" anchor="t" anchorCtr="0">
          <a:noAutofit/>
        </a:bodyPr>
        <a:lstStyle/>
        <a:p>
          <a:pPr marL="228600" lvl="1" indent="-228600" algn="l" defTabSz="1022350">
            <a:lnSpc>
              <a:spcPct val="90000"/>
            </a:lnSpc>
            <a:spcBef>
              <a:spcPct val="0"/>
            </a:spcBef>
            <a:spcAft>
              <a:spcPct val="20000"/>
            </a:spcAft>
            <a:buChar char="•"/>
          </a:pPr>
          <a:r>
            <a:rPr lang="en-GB" sz="2300" kern="1200" dirty="0">
              <a:solidFill>
                <a:srgbClr val="000000">
                  <a:hueOff val="0"/>
                  <a:satOff val="0"/>
                  <a:lumOff val="0"/>
                  <a:alphaOff val="0"/>
                </a:srgbClr>
              </a:solidFill>
              <a:latin typeface="Segoe UI" panose="020B0502040204020203" pitchFamily="34" charset="0"/>
              <a:ea typeface="+mn-ea"/>
              <a:cs typeface="Segoe UI" panose="020B0502040204020203" pitchFamily="34" charset="0"/>
            </a:rPr>
            <a:t>Identify tables with more that 10% data skew</a:t>
          </a:r>
        </a:p>
        <a:p>
          <a:pPr marL="228600" lvl="1" indent="-228600" algn="l" defTabSz="1022350">
            <a:lnSpc>
              <a:spcPct val="90000"/>
            </a:lnSpc>
            <a:spcBef>
              <a:spcPct val="0"/>
            </a:spcBef>
            <a:spcAft>
              <a:spcPct val="20000"/>
            </a:spcAft>
            <a:buChar char="•"/>
          </a:pPr>
          <a:r>
            <a:rPr lang="en-GB" sz="2300" kern="1200" dirty="0">
              <a:solidFill>
                <a:schemeClr val="tx1"/>
              </a:solidFill>
              <a:latin typeface="Segoe UI" panose="020B0502040204020203" pitchFamily="34" charset="0"/>
              <a:ea typeface="+mn-ea"/>
              <a:cs typeface="Segoe UI" panose="020B0502040204020203" pitchFamily="34" charset="0"/>
            </a:rPr>
            <a:t>Create the vTableSizes view (available on docs) and run the code below</a:t>
          </a:r>
        </a:p>
      </dsp:txBody>
      <dsp:txXfrm>
        <a:off x="0" y="723058"/>
        <a:ext cx="10591799" cy="9770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B9C1AF-1EC7-48D2-9D88-174F0F471AD7}">
      <dsp:nvSpPr>
        <dsp:cNvPr id="0" name=""/>
        <dsp:cNvSpPr/>
      </dsp:nvSpPr>
      <dsp:spPr>
        <a:xfrm>
          <a:off x="0" y="188400"/>
          <a:ext cx="11201401" cy="13689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dirty="0"/>
            <a:t>Hash Key Cardinality: Multiply 60 distributions times 10</a:t>
          </a:r>
          <a:endParaRPr lang="es-ES" sz="3200" kern="1200" dirty="0"/>
        </a:p>
      </dsp:txBody>
      <dsp:txXfrm>
        <a:off x="66824" y="255224"/>
        <a:ext cx="11067753" cy="1235252"/>
      </dsp:txXfrm>
    </dsp:sp>
    <dsp:sp modelId="{3E7E0749-3349-4FB9-B67B-177881FADCE2}">
      <dsp:nvSpPr>
        <dsp:cNvPr id="0" name=""/>
        <dsp:cNvSpPr/>
      </dsp:nvSpPr>
      <dsp:spPr>
        <a:xfrm>
          <a:off x="0" y="1557300"/>
          <a:ext cx="11201401"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44"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GB" sz="2800" kern="1200" dirty="0"/>
            <a:t>60 x 10 = 600 distinct values, minimum</a:t>
          </a:r>
        </a:p>
      </dsp:txBody>
      <dsp:txXfrm>
        <a:off x="0" y="1557300"/>
        <a:ext cx="11201401" cy="1076400"/>
      </dsp:txXfrm>
    </dsp:sp>
    <dsp:sp modelId="{611B0449-C729-40D8-A30D-C2A30D4957DD}">
      <dsp:nvSpPr>
        <dsp:cNvPr id="0" name=""/>
        <dsp:cNvSpPr/>
      </dsp:nvSpPr>
      <dsp:spPr>
        <a:xfrm>
          <a:off x="0" y="2633700"/>
          <a:ext cx="11201401" cy="136890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dirty="0"/>
            <a:t>A column with 600+ distinct values will help ensure an even distribution and help ensure optimal performance</a:t>
          </a:r>
        </a:p>
      </dsp:txBody>
      <dsp:txXfrm>
        <a:off x="66824" y="2700524"/>
        <a:ext cx="11067753" cy="123525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7DF839-9CD8-4677-84E7-7C11BED60A87}">
      <dsp:nvSpPr>
        <dsp:cNvPr id="0" name=""/>
        <dsp:cNvSpPr/>
      </dsp:nvSpPr>
      <dsp:spPr>
        <a:xfrm>
          <a:off x="0" y="350910"/>
          <a:ext cx="11528402" cy="77962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4732" tIns="374904" rIns="894732"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a:t>Makes use of MPP Architecture</a:t>
          </a:r>
          <a:endParaRPr lang="en-US" sz="1800" kern="1200"/>
        </a:p>
      </dsp:txBody>
      <dsp:txXfrm>
        <a:off x="0" y="350910"/>
        <a:ext cx="11528402" cy="779625"/>
      </dsp:txXfrm>
    </dsp:sp>
    <dsp:sp modelId="{DF7EDB4A-EBC3-4E52-937B-DE72FE726970}">
      <dsp:nvSpPr>
        <dsp:cNvPr id="0" name=""/>
        <dsp:cNvSpPr/>
      </dsp:nvSpPr>
      <dsp:spPr>
        <a:xfrm>
          <a:off x="576420" y="85230"/>
          <a:ext cx="9384949"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022" tIns="0" rIns="305022" bIns="0" numCol="1" spcCol="1270" anchor="ctr" anchorCtr="0">
          <a:noAutofit/>
        </a:bodyPr>
        <a:lstStyle/>
        <a:p>
          <a:pPr marL="0" lvl="0" indent="0" algn="l" defTabSz="1066800">
            <a:lnSpc>
              <a:spcPct val="90000"/>
            </a:lnSpc>
            <a:spcBef>
              <a:spcPct val="0"/>
            </a:spcBef>
            <a:spcAft>
              <a:spcPct val="35000"/>
            </a:spcAft>
            <a:buNone/>
          </a:pPr>
          <a:r>
            <a:rPr lang="en-GB" sz="2400" kern="1200" dirty="0"/>
            <a:t>Ensure broadly equal data processed across distributions</a:t>
          </a:r>
          <a:endParaRPr lang="en-US" sz="2400" kern="1200" dirty="0"/>
        </a:p>
      </dsp:txBody>
      <dsp:txXfrm>
        <a:off x="602359" y="111169"/>
        <a:ext cx="9333071" cy="479482"/>
      </dsp:txXfrm>
    </dsp:sp>
    <dsp:sp modelId="{81FD64A5-45EF-4460-BC4D-85DDD5C5B851}">
      <dsp:nvSpPr>
        <dsp:cNvPr id="0" name=""/>
        <dsp:cNvSpPr/>
      </dsp:nvSpPr>
      <dsp:spPr>
        <a:xfrm>
          <a:off x="0" y="1493415"/>
          <a:ext cx="11528402" cy="110565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4732" tIns="374904" rIns="894732"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a:t>High Skew can imply unbalanced execution</a:t>
          </a:r>
          <a:endParaRPr lang="en-US" sz="1800" kern="1200"/>
        </a:p>
        <a:p>
          <a:pPr marL="171450" lvl="1" indent="-171450" algn="l" defTabSz="800100">
            <a:lnSpc>
              <a:spcPct val="90000"/>
            </a:lnSpc>
            <a:spcBef>
              <a:spcPct val="0"/>
            </a:spcBef>
            <a:spcAft>
              <a:spcPct val="15000"/>
            </a:spcAft>
            <a:buChar char="•"/>
          </a:pPr>
          <a:r>
            <a:rPr lang="en-GB" sz="1800" kern="1200"/>
            <a:t>High Skew with balanced execution can be a result of NULL / Default values in HASH column</a:t>
          </a:r>
          <a:endParaRPr lang="en-US" sz="1800" kern="1200"/>
        </a:p>
      </dsp:txBody>
      <dsp:txXfrm>
        <a:off x="0" y="1493415"/>
        <a:ext cx="11528402" cy="1105650"/>
      </dsp:txXfrm>
    </dsp:sp>
    <dsp:sp modelId="{0E6F3D24-B913-45BF-BD4D-A942002DC0E0}">
      <dsp:nvSpPr>
        <dsp:cNvPr id="0" name=""/>
        <dsp:cNvSpPr/>
      </dsp:nvSpPr>
      <dsp:spPr>
        <a:xfrm>
          <a:off x="576420" y="1227735"/>
          <a:ext cx="9407302"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022" tIns="0" rIns="305022" bIns="0" numCol="1" spcCol="1270" anchor="ctr" anchorCtr="0">
          <a:noAutofit/>
        </a:bodyPr>
        <a:lstStyle/>
        <a:p>
          <a:pPr marL="0" lvl="0" indent="0" algn="l" defTabSz="1066800">
            <a:lnSpc>
              <a:spcPct val="90000"/>
            </a:lnSpc>
            <a:spcBef>
              <a:spcPct val="0"/>
            </a:spcBef>
            <a:spcAft>
              <a:spcPct val="35000"/>
            </a:spcAft>
            <a:buNone/>
          </a:pPr>
          <a:r>
            <a:rPr lang="en-GB" sz="2400" kern="1200" dirty="0"/>
            <a:t>Can be closely tied to Skew</a:t>
          </a:r>
          <a:endParaRPr lang="en-US" sz="2400" kern="1200" dirty="0"/>
        </a:p>
      </dsp:txBody>
      <dsp:txXfrm>
        <a:off x="602359" y="1253674"/>
        <a:ext cx="9355424" cy="479482"/>
      </dsp:txXfrm>
    </dsp:sp>
    <dsp:sp modelId="{E77E21CB-624D-449C-AAF6-3C7BB786DBC2}">
      <dsp:nvSpPr>
        <dsp:cNvPr id="0" name=""/>
        <dsp:cNvSpPr/>
      </dsp:nvSpPr>
      <dsp:spPr>
        <a:xfrm>
          <a:off x="0" y="2961945"/>
          <a:ext cx="11528402" cy="77962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4732" tIns="374904" rIns="894732"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a:t>Data is returned from single or limited distributions</a:t>
          </a:r>
          <a:endParaRPr lang="en-US" sz="1800" kern="1200"/>
        </a:p>
      </dsp:txBody>
      <dsp:txXfrm>
        <a:off x="0" y="2961945"/>
        <a:ext cx="11528402" cy="779625"/>
      </dsp:txXfrm>
    </dsp:sp>
    <dsp:sp modelId="{A9003BB0-6861-4059-8744-6D0AE91E64DC}">
      <dsp:nvSpPr>
        <dsp:cNvPr id="0" name=""/>
        <dsp:cNvSpPr/>
      </dsp:nvSpPr>
      <dsp:spPr>
        <a:xfrm>
          <a:off x="576420" y="2696265"/>
          <a:ext cx="9461935"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022" tIns="0" rIns="305022" bIns="0" numCol="1" spcCol="1270" anchor="ctr" anchorCtr="0">
          <a:noAutofit/>
        </a:bodyPr>
        <a:lstStyle/>
        <a:p>
          <a:pPr marL="0" lvl="0" indent="0" algn="l" defTabSz="1066800">
            <a:lnSpc>
              <a:spcPct val="90000"/>
            </a:lnSpc>
            <a:spcBef>
              <a:spcPct val="0"/>
            </a:spcBef>
            <a:spcAft>
              <a:spcPct val="35000"/>
            </a:spcAft>
            <a:buNone/>
          </a:pPr>
          <a:r>
            <a:rPr lang="en-GB" sz="2400" kern="1200" dirty="0"/>
            <a:t>WHERE on HASH Key is likely to cause unbalanced execution</a:t>
          </a:r>
          <a:endParaRPr lang="en-US" sz="2400" kern="1200" dirty="0"/>
        </a:p>
      </dsp:txBody>
      <dsp:txXfrm>
        <a:off x="602359" y="2722204"/>
        <a:ext cx="9410057" cy="479482"/>
      </dsp:txXfrm>
    </dsp:sp>
    <dsp:sp modelId="{89CA404B-0023-479F-848E-C175A02F6797}">
      <dsp:nvSpPr>
        <dsp:cNvPr id="0" name=""/>
        <dsp:cNvSpPr/>
      </dsp:nvSpPr>
      <dsp:spPr>
        <a:xfrm>
          <a:off x="0" y="4104450"/>
          <a:ext cx="11528402" cy="110565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4732" tIns="374904" rIns="894732"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a:t>Potentially causing unbalanced execution</a:t>
          </a:r>
          <a:endParaRPr lang="en-US" sz="1800" kern="1200"/>
        </a:p>
        <a:p>
          <a:pPr marL="171450" lvl="1" indent="-171450" algn="l" defTabSz="800100">
            <a:lnSpc>
              <a:spcPct val="90000"/>
            </a:lnSpc>
            <a:spcBef>
              <a:spcPct val="0"/>
            </a:spcBef>
            <a:spcAft>
              <a:spcPct val="15000"/>
            </a:spcAft>
            <a:buChar char="•"/>
          </a:pPr>
          <a:r>
            <a:rPr lang="en-GB" sz="1800" kern="1200"/>
            <a:t>Check DMVs for rowcounts from each distribution on each step to investigate</a:t>
          </a:r>
          <a:endParaRPr lang="en-US" sz="1800" kern="1200"/>
        </a:p>
      </dsp:txBody>
      <dsp:txXfrm>
        <a:off x="0" y="4104450"/>
        <a:ext cx="11528402" cy="1105650"/>
      </dsp:txXfrm>
    </dsp:sp>
    <dsp:sp modelId="{A306BC2A-AF6F-4D8C-90EB-6CC48621B427}">
      <dsp:nvSpPr>
        <dsp:cNvPr id="0" name=""/>
        <dsp:cNvSpPr/>
      </dsp:nvSpPr>
      <dsp:spPr>
        <a:xfrm>
          <a:off x="576420" y="3838770"/>
          <a:ext cx="9439501"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022" tIns="0" rIns="305022" bIns="0" numCol="1" spcCol="1270" anchor="ctr" anchorCtr="0">
          <a:noAutofit/>
        </a:bodyPr>
        <a:lstStyle/>
        <a:p>
          <a:pPr marL="0" lvl="0" indent="0" algn="l" defTabSz="1066800">
            <a:lnSpc>
              <a:spcPct val="90000"/>
            </a:lnSpc>
            <a:spcBef>
              <a:spcPct val="0"/>
            </a:spcBef>
            <a:spcAft>
              <a:spcPct val="35000"/>
            </a:spcAft>
            <a:buNone/>
          </a:pPr>
          <a:r>
            <a:rPr lang="en-GB" sz="2400" kern="1200" dirty="0"/>
            <a:t>SKEW can be re-introduced by Data Movement at execution time</a:t>
          </a:r>
          <a:endParaRPr lang="en-US" sz="2400" kern="1200" dirty="0"/>
        </a:p>
      </dsp:txBody>
      <dsp:txXfrm>
        <a:off x="602359" y="3864709"/>
        <a:ext cx="9387623" cy="47948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CC9776-5DD1-4A86-96DC-E8D78CBEB894}">
      <dsp:nvSpPr>
        <dsp:cNvPr id="0" name=""/>
        <dsp:cNvSpPr/>
      </dsp:nvSpPr>
      <dsp:spPr>
        <a:xfrm>
          <a:off x="0" y="191430"/>
          <a:ext cx="11340654" cy="12168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dirty="0"/>
            <a:t>Each table is divided evenly across 60 distributions</a:t>
          </a:r>
          <a:endParaRPr lang="es-ES" sz="2400" kern="1200" dirty="0"/>
        </a:p>
      </dsp:txBody>
      <dsp:txXfrm>
        <a:off x="59399" y="250829"/>
        <a:ext cx="11221856" cy="1098002"/>
      </dsp:txXfrm>
    </dsp:sp>
    <dsp:sp modelId="{93CE6FEB-60A4-47CA-8BE5-80C14FEE7E6E}">
      <dsp:nvSpPr>
        <dsp:cNvPr id="0" name=""/>
        <dsp:cNvSpPr/>
      </dsp:nvSpPr>
      <dsp:spPr>
        <a:xfrm>
          <a:off x="0" y="1595430"/>
          <a:ext cx="11340654" cy="1216800"/>
        </a:xfrm>
        <a:prstGeom prst="round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dirty="0"/>
            <a:t>Data distributed in round robin fashion across the distributions</a:t>
          </a:r>
        </a:p>
      </dsp:txBody>
      <dsp:txXfrm>
        <a:off x="59399" y="1654829"/>
        <a:ext cx="11221856" cy="1098002"/>
      </dsp:txXfrm>
    </dsp:sp>
    <dsp:sp modelId="{7007CED2-132A-47A5-8A97-2A9D79144FAC}">
      <dsp:nvSpPr>
        <dsp:cNvPr id="0" name=""/>
        <dsp:cNvSpPr/>
      </dsp:nvSpPr>
      <dsp:spPr>
        <a:xfrm>
          <a:off x="0" y="2999430"/>
          <a:ext cx="11340654" cy="1216800"/>
        </a:xfrm>
        <a:prstGeom prst="round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dirty="0"/>
            <a:t>Each distribution holds unique data</a:t>
          </a:r>
        </a:p>
      </dsp:txBody>
      <dsp:txXfrm>
        <a:off x="59399" y="3058829"/>
        <a:ext cx="11221856" cy="1098002"/>
      </dsp:txXfrm>
    </dsp:sp>
    <dsp:sp modelId="{C2C7D9FB-695B-4805-8476-3064DC1FF396}">
      <dsp:nvSpPr>
        <dsp:cNvPr id="0" name=""/>
        <dsp:cNvSpPr/>
      </dsp:nvSpPr>
      <dsp:spPr>
        <a:xfrm>
          <a:off x="0" y="4403430"/>
          <a:ext cx="11340654" cy="121680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dirty="0"/>
            <a:t>Round robin tables can be partitioned – each distribution has its own partitioned table</a:t>
          </a:r>
        </a:p>
      </dsp:txBody>
      <dsp:txXfrm>
        <a:off x="59399" y="4462829"/>
        <a:ext cx="11221856"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9D014-79F5-4E64-B726-482C27FCC9B3}">
      <dsp:nvSpPr>
        <dsp:cNvPr id="0" name=""/>
        <dsp:cNvSpPr/>
      </dsp:nvSpPr>
      <dsp:spPr>
        <a:xfrm>
          <a:off x="0" y="81190"/>
          <a:ext cx="11340654" cy="131961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dirty="0"/>
            <a:t>Round-Robin will almost always incur in Data Movement.</a:t>
          </a:r>
          <a:endParaRPr lang="es-ES" sz="3200" kern="1200" dirty="0"/>
        </a:p>
      </dsp:txBody>
      <dsp:txXfrm>
        <a:off x="64418" y="145608"/>
        <a:ext cx="11211818" cy="1190783"/>
      </dsp:txXfrm>
    </dsp:sp>
    <dsp:sp modelId="{D91F3BBA-73A5-41B3-96CC-94B0CF30896B}">
      <dsp:nvSpPr>
        <dsp:cNvPr id="0" name=""/>
        <dsp:cNvSpPr/>
      </dsp:nvSpPr>
      <dsp:spPr>
        <a:xfrm>
          <a:off x="0" y="1588009"/>
          <a:ext cx="11340654"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dirty="0"/>
            <a:t>Exceptions:</a:t>
          </a:r>
          <a:endParaRPr lang="es-ES" sz="3200" kern="1200" dirty="0"/>
        </a:p>
      </dsp:txBody>
      <dsp:txXfrm>
        <a:off x="59399" y="1647408"/>
        <a:ext cx="11221856" cy="1098002"/>
      </dsp:txXfrm>
    </dsp:sp>
    <dsp:sp modelId="{C914B26D-81F8-4ABE-B57D-049438510551}">
      <dsp:nvSpPr>
        <dsp:cNvPr id="0" name=""/>
        <dsp:cNvSpPr/>
      </dsp:nvSpPr>
      <dsp:spPr>
        <a:xfrm>
          <a:off x="0" y="2804809"/>
          <a:ext cx="11340654"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06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GB" sz="2400" kern="1200" dirty="0"/>
            <a:t>JOIN to REPLICATED Tables</a:t>
          </a:r>
        </a:p>
        <a:p>
          <a:pPr marL="228600" lvl="1" indent="-228600" algn="l" defTabSz="1066800">
            <a:lnSpc>
              <a:spcPct val="90000"/>
            </a:lnSpc>
            <a:spcBef>
              <a:spcPct val="0"/>
            </a:spcBef>
            <a:spcAft>
              <a:spcPct val="20000"/>
            </a:spcAft>
            <a:buChar char="•"/>
          </a:pPr>
          <a:r>
            <a:rPr lang="en-GB" sz="2400" kern="1200" dirty="0"/>
            <a:t>Single table SELECT</a:t>
          </a:r>
        </a:p>
      </dsp:txBody>
      <dsp:txXfrm>
        <a:off x="0" y="2804809"/>
        <a:ext cx="11340654" cy="10764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71052D-B7CC-46B0-B357-7D5BD0704EDE}">
      <dsp:nvSpPr>
        <dsp:cNvPr id="0" name=""/>
        <dsp:cNvSpPr/>
      </dsp:nvSpPr>
      <dsp:spPr>
        <a:xfrm>
          <a:off x="0" y="1240800"/>
          <a:ext cx="10515600" cy="8064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10627DD-4BF7-4D8F-AEB5-589A9E6C9B94}">
      <dsp:nvSpPr>
        <dsp:cNvPr id="0" name=""/>
        <dsp:cNvSpPr/>
      </dsp:nvSpPr>
      <dsp:spPr>
        <a:xfrm>
          <a:off x="525780" y="768479"/>
          <a:ext cx="7360920" cy="9446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1422400">
            <a:lnSpc>
              <a:spcPct val="90000"/>
            </a:lnSpc>
            <a:spcBef>
              <a:spcPct val="0"/>
            </a:spcBef>
            <a:spcAft>
              <a:spcPct val="35000"/>
            </a:spcAft>
            <a:buNone/>
          </a:pPr>
          <a:r>
            <a:rPr lang="en-GB" sz="3200" kern="1200" dirty="0"/>
            <a:t>Not an issue with Round Robin tables</a:t>
          </a:r>
          <a:endParaRPr lang="es-ES" sz="3200" kern="1200" dirty="0"/>
        </a:p>
      </dsp:txBody>
      <dsp:txXfrm>
        <a:off x="571894" y="814593"/>
        <a:ext cx="7268692" cy="852412"/>
      </dsp:txXfrm>
    </dsp:sp>
    <dsp:sp modelId="{D088DBAD-AA03-4A9F-A995-3AA0DBB1B240}">
      <dsp:nvSpPr>
        <dsp:cNvPr id="0" name=""/>
        <dsp:cNvSpPr/>
      </dsp:nvSpPr>
      <dsp:spPr>
        <a:xfrm>
          <a:off x="0" y="2692320"/>
          <a:ext cx="10515600" cy="8064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3C11FA-A400-417B-9A7B-8B442842268C}">
      <dsp:nvSpPr>
        <dsp:cNvPr id="0" name=""/>
        <dsp:cNvSpPr/>
      </dsp:nvSpPr>
      <dsp:spPr>
        <a:xfrm>
          <a:off x="525780" y="2220000"/>
          <a:ext cx="7360920" cy="9446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1422400">
            <a:lnSpc>
              <a:spcPct val="90000"/>
            </a:lnSpc>
            <a:spcBef>
              <a:spcPct val="0"/>
            </a:spcBef>
            <a:spcAft>
              <a:spcPct val="35000"/>
            </a:spcAft>
            <a:buNone/>
          </a:pPr>
          <a:r>
            <a:rPr lang="en-GB" sz="3200" kern="1200" dirty="0"/>
            <a:t>No way to influence Distribution</a:t>
          </a:r>
        </a:p>
      </dsp:txBody>
      <dsp:txXfrm>
        <a:off x="571894" y="2266114"/>
        <a:ext cx="7268692" cy="852412"/>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347F6C-73BF-4CA6-9155-8536AF465042}">
      <dsp:nvSpPr>
        <dsp:cNvPr id="0" name=""/>
        <dsp:cNvSpPr/>
      </dsp:nvSpPr>
      <dsp:spPr>
        <a:xfrm>
          <a:off x="0" y="404579"/>
          <a:ext cx="11811001" cy="52920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5AD6FE-D79E-4CAD-8A26-1157A978EE02}">
      <dsp:nvSpPr>
        <dsp:cNvPr id="0" name=""/>
        <dsp:cNvSpPr/>
      </dsp:nvSpPr>
      <dsp:spPr>
        <a:xfrm>
          <a:off x="590550" y="94619"/>
          <a:ext cx="10379272" cy="6199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499" tIns="0" rIns="312499" bIns="0" numCol="1" spcCol="1270" anchor="ctr" anchorCtr="0">
          <a:noAutofit/>
        </a:bodyPr>
        <a:lstStyle/>
        <a:p>
          <a:pPr marL="0" lvl="0" indent="0" algn="l" defTabSz="977900">
            <a:lnSpc>
              <a:spcPct val="90000"/>
            </a:lnSpc>
            <a:spcBef>
              <a:spcPct val="0"/>
            </a:spcBef>
            <a:spcAft>
              <a:spcPct val="35000"/>
            </a:spcAft>
            <a:buNone/>
          </a:pPr>
          <a:r>
            <a:rPr lang="en-US" sz="2200" kern="1200" noProof="0" dirty="0"/>
            <a:t>Table is initially stored as a round-robin table</a:t>
          </a:r>
        </a:p>
      </dsp:txBody>
      <dsp:txXfrm>
        <a:off x="620812" y="124881"/>
        <a:ext cx="10318748" cy="559396"/>
      </dsp:txXfrm>
    </dsp:sp>
    <dsp:sp modelId="{4F51AE5C-782C-427C-897A-6AC06E0F1D23}">
      <dsp:nvSpPr>
        <dsp:cNvPr id="0" name=""/>
        <dsp:cNvSpPr/>
      </dsp:nvSpPr>
      <dsp:spPr>
        <a:xfrm>
          <a:off x="0" y="1357140"/>
          <a:ext cx="11811001" cy="529200"/>
        </a:xfrm>
        <a:prstGeom prst="rect">
          <a:avLst/>
        </a:prstGeom>
        <a:solidFill>
          <a:schemeClr val="lt1">
            <a:alpha val="90000"/>
            <a:hueOff val="0"/>
            <a:satOff val="0"/>
            <a:lumOff val="0"/>
            <a:alphaOff val="0"/>
          </a:schemeClr>
        </a:solidFill>
        <a:ln w="12700" cap="flat" cmpd="sng" algn="ctr">
          <a:solidFill>
            <a:schemeClr val="accent2">
              <a:shade val="80000"/>
              <a:hueOff val="76808"/>
              <a:satOff val="-7688"/>
              <a:lumOff val="7886"/>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EC695E-A653-499E-B62D-D3C824CBC590}">
      <dsp:nvSpPr>
        <dsp:cNvPr id="0" name=""/>
        <dsp:cNvSpPr/>
      </dsp:nvSpPr>
      <dsp:spPr>
        <a:xfrm>
          <a:off x="590550" y="1047180"/>
          <a:ext cx="10429209" cy="619920"/>
        </a:xfrm>
        <a:prstGeom prst="roundRect">
          <a:avLst/>
        </a:prstGeom>
        <a:solidFill>
          <a:schemeClr val="accent2">
            <a:shade val="80000"/>
            <a:hueOff val="76808"/>
            <a:satOff val="-7688"/>
            <a:lumOff val="78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499" tIns="0" rIns="312499" bIns="0" numCol="1" spcCol="1270" anchor="ctr" anchorCtr="0">
          <a:noAutofit/>
        </a:bodyPr>
        <a:lstStyle/>
        <a:p>
          <a:pPr marL="0" lvl="0" indent="0" algn="l" defTabSz="977900">
            <a:lnSpc>
              <a:spcPct val="90000"/>
            </a:lnSpc>
            <a:spcBef>
              <a:spcPct val="0"/>
            </a:spcBef>
            <a:spcAft>
              <a:spcPct val="35000"/>
            </a:spcAft>
            <a:buNone/>
          </a:pPr>
          <a:r>
            <a:rPr lang="en-GB" sz="2200" kern="1200" dirty="0"/>
            <a:t>Data is replicated (cached) to each compute node</a:t>
          </a:r>
          <a:endParaRPr lang="es-ES" sz="2200" kern="1200" dirty="0"/>
        </a:p>
      </dsp:txBody>
      <dsp:txXfrm>
        <a:off x="620812" y="1077442"/>
        <a:ext cx="10368685" cy="559396"/>
      </dsp:txXfrm>
    </dsp:sp>
    <dsp:sp modelId="{F0834611-C656-411C-A4F8-A5A10C47AA12}">
      <dsp:nvSpPr>
        <dsp:cNvPr id="0" name=""/>
        <dsp:cNvSpPr/>
      </dsp:nvSpPr>
      <dsp:spPr>
        <a:xfrm>
          <a:off x="0" y="2309700"/>
          <a:ext cx="11811001" cy="529200"/>
        </a:xfrm>
        <a:prstGeom prst="rect">
          <a:avLst/>
        </a:prstGeom>
        <a:solidFill>
          <a:schemeClr val="lt1">
            <a:alpha val="90000"/>
            <a:hueOff val="0"/>
            <a:satOff val="0"/>
            <a:lumOff val="0"/>
            <a:alphaOff val="0"/>
          </a:schemeClr>
        </a:solidFill>
        <a:ln w="12700" cap="flat" cmpd="sng" algn="ctr">
          <a:solidFill>
            <a:schemeClr val="accent2">
              <a:shade val="80000"/>
              <a:hueOff val="153616"/>
              <a:satOff val="-15376"/>
              <a:lumOff val="15772"/>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3D35FA-31B3-4641-9632-352F66AC9170}">
      <dsp:nvSpPr>
        <dsp:cNvPr id="0" name=""/>
        <dsp:cNvSpPr/>
      </dsp:nvSpPr>
      <dsp:spPr>
        <a:xfrm>
          <a:off x="590550" y="1999740"/>
          <a:ext cx="10429209" cy="619920"/>
        </a:xfrm>
        <a:prstGeom prst="roundRect">
          <a:avLst/>
        </a:prstGeom>
        <a:solidFill>
          <a:schemeClr val="accent2">
            <a:shade val="80000"/>
            <a:hueOff val="153616"/>
            <a:satOff val="-15376"/>
            <a:lumOff val="157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499" tIns="0" rIns="312499" bIns="0" numCol="1" spcCol="1270" anchor="ctr" anchorCtr="0">
          <a:noAutofit/>
        </a:bodyPr>
        <a:lstStyle/>
        <a:p>
          <a:pPr marL="0" lvl="0" indent="0" algn="l" defTabSz="977900">
            <a:lnSpc>
              <a:spcPct val="90000"/>
            </a:lnSpc>
            <a:spcBef>
              <a:spcPct val="0"/>
            </a:spcBef>
            <a:spcAft>
              <a:spcPct val="35000"/>
            </a:spcAft>
            <a:buNone/>
          </a:pPr>
          <a:r>
            <a:rPr lang="en-GB" sz="2200" kern="1200" dirty="0"/>
            <a:t>The cached copy of the table is a complete copy of the entire table</a:t>
          </a:r>
        </a:p>
      </dsp:txBody>
      <dsp:txXfrm>
        <a:off x="620812" y="2030002"/>
        <a:ext cx="10368685" cy="559396"/>
      </dsp:txXfrm>
    </dsp:sp>
    <dsp:sp modelId="{CB89E389-4229-4CA4-AE95-BF1F59768C23}">
      <dsp:nvSpPr>
        <dsp:cNvPr id="0" name=""/>
        <dsp:cNvSpPr/>
      </dsp:nvSpPr>
      <dsp:spPr>
        <a:xfrm>
          <a:off x="0" y="3262260"/>
          <a:ext cx="11811001" cy="529200"/>
        </a:xfrm>
        <a:prstGeom prst="rect">
          <a:avLst/>
        </a:prstGeom>
        <a:solidFill>
          <a:schemeClr val="lt1">
            <a:alpha val="90000"/>
            <a:hueOff val="0"/>
            <a:satOff val="0"/>
            <a:lumOff val="0"/>
            <a:alphaOff val="0"/>
          </a:schemeClr>
        </a:solidFill>
        <a:ln w="12700" cap="flat" cmpd="sng" algn="ctr">
          <a:solidFill>
            <a:schemeClr val="accent2">
              <a:shade val="80000"/>
              <a:hueOff val="230424"/>
              <a:satOff val="-23063"/>
              <a:lumOff val="2365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C47C20-2CDB-417E-A3C9-6D67C3668440}">
      <dsp:nvSpPr>
        <dsp:cNvPr id="0" name=""/>
        <dsp:cNvSpPr/>
      </dsp:nvSpPr>
      <dsp:spPr>
        <a:xfrm>
          <a:off x="590550" y="2952300"/>
          <a:ext cx="10429209" cy="619920"/>
        </a:xfrm>
        <a:prstGeom prst="roundRect">
          <a:avLst/>
        </a:prstGeom>
        <a:solidFill>
          <a:schemeClr val="accent2">
            <a:shade val="80000"/>
            <a:hueOff val="230424"/>
            <a:satOff val="-23063"/>
            <a:lumOff val="236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499" tIns="0" rIns="312499" bIns="0" numCol="1" spcCol="1270" anchor="ctr" anchorCtr="0">
          <a:noAutofit/>
        </a:bodyPr>
        <a:lstStyle/>
        <a:p>
          <a:pPr marL="0" lvl="0" indent="0" algn="l" defTabSz="977900">
            <a:lnSpc>
              <a:spcPct val="90000"/>
            </a:lnSpc>
            <a:spcBef>
              <a:spcPct val="0"/>
            </a:spcBef>
            <a:spcAft>
              <a:spcPct val="35000"/>
            </a:spcAft>
            <a:buNone/>
          </a:pPr>
          <a:r>
            <a:rPr lang="en-GB" sz="2200" kern="1200" dirty="0"/>
            <a:t>Modifications to the table invalidate the cached copy</a:t>
          </a:r>
        </a:p>
      </dsp:txBody>
      <dsp:txXfrm>
        <a:off x="620812" y="2982562"/>
        <a:ext cx="10368685" cy="559396"/>
      </dsp:txXfrm>
    </dsp:sp>
    <dsp:sp modelId="{628C39E6-39B5-4E45-99D9-391009090BFE}">
      <dsp:nvSpPr>
        <dsp:cNvPr id="0" name=""/>
        <dsp:cNvSpPr/>
      </dsp:nvSpPr>
      <dsp:spPr>
        <a:xfrm>
          <a:off x="0" y="4214820"/>
          <a:ext cx="11811001" cy="529200"/>
        </a:xfrm>
        <a:prstGeom prst="rect">
          <a:avLst/>
        </a:prstGeom>
        <a:solidFill>
          <a:schemeClr val="lt1">
            <a:alpha val="90000"/>
            <a:hueOff val="0"/>
            <a:satOff val="0"/>
            <a:lumOff val="0"/>
            <a:alphaOff val="0"/>
          </a:schemeClr>
        </a:solidFill>
        <a:ln w="12700" cap="flat" cmpd="sng" algn="ctr">
          <a:solidFill>
            <a:schemeClr val="accent2">
              <a:shade val="80000"/>
              <a:hueOff val="307232"/>
              <a:satOff val="-30751"/>
              <a:lumOff val="3154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DA51C44-ACAC-4DB1-8D89-B6D9B43C5550}">
      <dsp:nvSpPr>
        <dsp:cNvPr id="0" name=""/>
        <dsp:cNvSpPr/>
      </dsp:nvSpPr>
      <dsp:spPr>
        <a:xfrm>
          <a:off x="590550" y="3904860"/>
          <a:ext cx="10429209" cy="619920"/>
        </a:xfrm>
        <a:prstGeom prst="roundRect">
          <a:avLst/>
        </a:prstGeom>
        <a:solidFill>
          <a:schemeClr val="accent2">
            <a:shade val="80000"/>
            <a:hueOff val="307232"/>
            <a:satOff val="-30751"/>
            <a:lumOff val="315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499" tIns="0" rIns="312499" bIns="0" numCol="1" spcCol="1270" anchor="ctr" anchorCtr="0">
          <a:noAutofit/>
        </a:bodyPr>
        <a:lstStyle/>
        <a:p>
          <a:pPr marL="0" lvl="0" indent="0" algn="l" defTabSz="977900">
            <a:lnSpc>
              <a:spcPct val="90000"/>
            </a:lnSpc>
            <a:spcBef>
              <a:spcPct val="0"/>
            </a:spcBef>
            <a:spcAft>
              <a:spcPct val="35000"/>
            </a:spcAft>
            <a:buNone/>
          </a:pPr>
          <a:r>
            <a:rPr lang="en-GB" sz="2200" kern="1200" dirty="0">
              <a:cs typeface="Segoe UI Light"/>
            </a:rPr>
            <a:t>Scaling the database invalidates the cached copy</a:t>
          </a:r>
        </a:p>
      </dsp:txBody>
      <dsp:txXfrm>
        <a:off x="620812" y="3935122"/>
        <a:ext cx="10368685" cy="559396"/>
      </dsp:txXfrm>
    </dsp:sp>
    <dsp:sp modelId="{CD5D26E0-1EBD-48A2-A198-9D0AE308EFE0}">
      <dsp:nvSpPr>
        <dsp:cNvPr id="0" name=""/>
        <dsp:cNvSpPr/>
      </dsp:nvSpPr>
      <dsp:spPr>
        <a:xfrm>
          <a:off x="0" y="5167380"/>
          <a:ext cx="11811001" cy="529200"/>
        </a:xfrm>
        <a:prstGeom prst="rect">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79EF4F-BFC8-4156-A2B0-4A77DDC7F7B9}">
      <dsp:nvSpPr>
        <dsp:cNvPr id="0" name=""/>
        <dsp:cNvSpPr/>
      </dsp:nvSpPr>
      <dsp:spPr>
        <a:xfrm>
          <a:off x="590550" y="4857420"/>
          <a:ext cx="10429209" cy="61992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499" tIns="0" rIns="312499" bIns="0" numCol="1" spcCol="1270" anchor="ctr" anchorCtr="0">
          <a:noAutofit/>
        </a:bodyPr>
        <a:lstStyle/>
        <a:p>
          <a:pPr marL="0" lvl="0" indent="0" algn="l" defTabSz="977900">
            <a:lnSpc>
              <a:spcPct val="90000"/>
            </a:lnSpc>
            <a:spcBef>
              <a:spcPct val="0"/>
            </a:spcBef>
            <a:spcAft>
              <a:spcPct val="35000"/>
            </a:spcAft>
            <a:buNone/>
          </a:pPr>
          <a:r>
            <a:rPr lang="en-GB" sz="2200" kern="1200" dirty="0"/>
            <a:t>Can be partitioned</a:t>
          </a:r>
          <a:endParaRPr lang="en-GB" sz="2200" kern="1200" dirty="0">
            <a:cs typeface="Segoe UI Light"/>
          </a:endParaRPr>
        </a:p>
      </dsp:txBody>
      <dsp:txXfrm>
        <a:off x="620812" y="4887682"/>
        <a:ext cx="10368685" cy="55939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590C6-2C8F-4BA7-BC29-78EA11BD9210}">
      <dsp:nvSpPr>
        <dsp:cNvPr id="0" name=""/>
        <dsp:cNvSpPr/>
      </dsp:nvSpPr>
      <dsp:spPr>
        <a:xfrm>
          <a:off x="0" y="980"/>
          <a:ext cx="10744200" cy="12168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Replicated tables should…</a:t>
          </a:r>
          <a:endParaRPr lang="es-ES" sz="3600" kern="1200" dirty="0"/>
        </a:p>
      </dsp:txBody>
      <dsp:txXfrm>
        <a:off x="59399" y="60379"/>
        <a:ext cx="10625402" cy="1098002"/>
      </dsp:txXfrm>
    </dsp:sp>
    <dsp:sp modelId="{FE83189F-161B-4D20-B504-72C053A21E91}">
      <dsp:nvSpPr>
        <dsp:cNvPr id="0" name=""/>
        <dsp:cNvSpPr/>
      </dsp:nvSpPr>
      <dsp:spPr>
        <a:xfrm>
          <a:off x="0" y="1302450"/>
          <a:ext cx="10744200" cy="242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1128"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latin typeface="+mn-lt"/>
            </a:rPr>
            <a:t>Be less than 2GB</a:t>
          </a:r>
        </a:p>
        <a:p>
          <a:pPr marL="285750" lvl="1" indent="-285750" algn="l" defTabSz="1244600">
            <a:lnSpc>
              <a:spcPct val="90000"/>
            </a:lnSpc>
            <a:spcBef>
              <a:spcPct val="0"/>
            </a:spcBef>
            <a:spcAft>
              <a:spcPct val="20000"/>
            </a:spcAft>
            <a:buChar char="•"/>
          </a:pPr>
          <a:r>
            <a:rPr lang="en-US" sz="2800" kern="1200" dirty="0">
              <a:latin typeface="+mn-lt"/>
            </a:rPr>
            <a:t>Be used to eliminate data movement due to distribution incompatibility </a:t>
          </a:r>
        </a:p>
        <a:p>
          <a:pPr marL="285750" lvl="1" indent="-285750" algn="l" defTabSz="1244600">
            <a:lnSpc>
              <a:spcPct val="90000"/>
            </a:lnSpc>
            <a:spcBef>
              <a:spcPct val="0"/>
            </a:spcBef>
            <a:spcAft>
              <a:spcPct val="20000"/>
            </a:spcAft>
            <a:buChar char="•"/>
          </a:pPr>
          <a:r>
            <a:rPr lang="en-US" sz="2800" kern="1200" dirty="0">
              <a:latin typeface="+mn-lt"/>
            </a:rPr>
            <a:t>Be used instead of Round Robin for small dimensions and other reference data sets</a:t>
          </a:r>
        </a:p>
      </dsp:txBody>
      <dsp:txXfrm>
        <a:off x="0" y="1302450"/>
        <a:ext cx="10744200" cy="24219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0CE856-2FF6-4EA6-97B0-8CC4C7BF5CDD}">
      <dsp:nvSpPr>
        <dsp:cNvPr id="0" name=""/>
        <dsp:cNvSpPr/>
      </dsp:nvSpPr>
      <dsp:spPr>
        <a:xfrm>
          <a:off x="0" y="238049"/>
          <a:ext cx="11125199" cy="12168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Avoid Replicated tables if…</a:t>
          </a:r>
          <a:endParaRPr lang="es-ES" sz="3600" kern="1200" dirty="0"/>
        </a:p>
      </dsp:txBody>
      <dsp:txXfrm>
        <a:off x="59399" y="297448"/>
        <a:ext cx="11006401" cy="1098002"/>
      </dsp:txXfrm>
    </dsp:sp>
    <dsp:sp modelId="{13FADA50-E7E4-4CCF-88E1-5EBC09048EFA}">
      <dsp:nvSpPr>
        <dsp:cNvPr id="0" name=""/>
        <dsp:cNvSpPr/>
      </dsp:nvSpPr>
      <dsp:spPr>
        <a:xfrm>
          <a:off x="0" y="1454849"/>
          <a:ext cx="11125199" cy="242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225"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latin typeface="+mn-lt"/>
            </a:rPr>
            <a:t>The table has frequent updates or deletes</a:t>
          </a:r>
        </a:p>
        <a:p>
          <a:pPr marL="285750" lvl="1" indent="-285750" algn="l" defTabSz="1244600">
            <a:lnSpc>
              <a:spcPct val="90000"/>
            </a:lnSpc>
            <a:spcBef>
              <a:spcPct val="0"/>
            </a:spcBef>
            <a:spcAft>
              <a:spcPct val="20000"/>
            </a:spcAft>
            <a:buChar char="•"/>
          </a:pPr>
          <a:r>
            <a:rPr lang="en-US" sz="2800" kern="1200" dirty="0">
              <a:latin typeface="+mn-lt"/>
            </a:rPr>
            <a:t>The SQL Pool instance will be scaled frequently</a:t>
          </a:r>
        </a:p>
        <a:p>
          <a:pPr marL="285750" lvl="1" indent="-285750" algn="l" defTabSz="1244600">
            <a:lnSpc>
              <a:spcPct val="90000"/>
            </a:lnSpc>
            <a:spcBef>
              <a:spcPct val="0"/>
            </a:spcBef>
            <a:spcAft>
              <a:spcPct val="20000"/>
            </a:spcAft>
            <a:buChar char="•"/>
          </a:pPr>
          <a:r>
            <a:rPr lang="en-US" sz="2800" kern="1200" dirty="0">
              <a:latin typeface="+mn-lt"/>
            </a:rPr>
            <a:t>The table has a large number of columns, with few referenced frequently (consider distributing and indexing on the commonly used columns)</a:t>
          </a:r>
        </a:p>
      </dsp:txBody>
      <dsp:txXfrm>
        <a:off x="0" y="1454849"/>
        <a:ext cx="11125199" cy="24219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839688-AB3D-4759-BF07-9FA9F5FA5E1F}">
      <dsp:nvSpPr>
        <dsp:cNvPr id="0" name=""/>
        <dsp:cNvSpPr/>
      </dsp:nvSpPr>
      <dsp:spPr>
        <a:xfrm>
          <a:off x="0" y="807000"/>
          <a:ext cx="6019800" cy="1216800"/>
        </a:xfrm>
        <a:prstGeom prst="roundRect">
          <a:avLst/>
        </a:prstGeom>
        <a:solidFill>
          <a:schemeClr val="accent2">
            <a:shade val="8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noProof="0" dirty="0"/>
            <a:t>SQL Pool maintains a master version of the table (round robin)</a:t>
          </a:r>
          <a:endParaRPr lang="en-US" sz="500" kern="1200" noProof="0" dirty="0"/>
        </a:p>
      </dsp:txBody>
      <dsp:txXfrm>
        <a:off x="59399" y="866399"/>
        <a:ext cx="5901002" cy="1098002"/>
      </dsp:txXfrm>
    </dsp:sp>
    <dsp:sp modelId="{222B1D7F-9A47-49AC-AA42-CF43CE87C4BF}">
      <dsp:nvSpPr>
        <dsp:cNvPr id="0" name=""/>
        <dsp:cNvSpPr/>
      </dsp:nvSpPr>
      <dsp:spPr>
        <a:xfrm>
          <a:off x="0" y="2211000"/>
          <a:ext cx="6019800" cy="1216800"/>
        </a:xfrm>
        <a:prstGeom prst="roundRect">
          <a:avLst/>
        </a:prstGeom>
        <a:solidFill>
          <a:schemeClr val="accent2">
            <a:shade val="80000"/>
            <a:hueOff val="192020"/>
            <a:satOff val="-19219"/>
            <a:lumOff val="1971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noProof="0" dirty="0"/>
            <a:t>The master version is copied to the first Distribution database on each node</a:t>
          </a:r>
        </a:p>
      </dsp:txBody>
      <dsp:txXfrm>
        <a:off x="59399" y="2270399"/>
        <a:ext cx="5901002" cy="1098002"/>
      </dsp:txXfrm>
    </dsp:sp>
    <dsp:sp modelId="{410E6469-587D-4CDB-9C4F-058604CDC5FA}">
      <dsp:nvSpPr>
        <dsp:cNvPr id="0" name=""/>
        <dsp:cNvSpPr/>
      </dsp:nvSpPr>
      <dsp:spPr>
        <a:xfrm>
          <a:off x="0" y="3615000"/>
          <a:ext cx="6019800" cy="1216800"/>
        </a:xfrm>
        <a:prstGeom prst="roundRect">
          <a:avLst/>
        </a:prstGeom>
        <a:solidFill>
          <a:schemeClr val="accent2">
            <a:shade val="80000"/>
            <a:hueOff val="384040"/>
            <a:satOff val="-38439"/>
            <a:lumOff val="3943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noProof="0" dirty="0"/>
            <a:t>A re-cache of a replicated table includes copying the table to each compute node and then building the indexes</a:t>
          </a:r>
          <a:r>
            <a:rPr lang="en-US" sz="500" kern="1200" noProof="0" dirty="0"/>
            <a:t>.</a:t>
          </a:r>
        </a:p>
      </dsp:txBody>
      <dsp:txXfrm>
        <a:off x="59399" y="3674399"/>
        <a:ext cx="5901002" cy="109800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1B8C1E-9208-48F0-BC1F-880BEDFB4D4A}">
      <dsp:nvSpPr>
        <dsp:cNvPr id="0" name=""/>
        <dsp:cNvSpPr/>
      </dsp:nvSpPr>
      <dsp:spPr>
        <a:xfrm>
          <a:off x="0" y="71517"/>
          <a:ext cx="11518711"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i="0" kern="1200" dirty="0"/>
            <a:t>Cache / Re-cache is required after:</a:t>
          </a:r>
          <a:endParaRPr lang="en-US" sz="2900" kern="1200" dirty="0"/>
        </a:p>
      </dsp:txBody>
      <dsp:txXfrm>
        <a:off x="36439" y="107956"/>
        <a:ext cx="11445833" cy="673582"/>
      </dsp:txXfrm>
    </dsp:sp>
    <dsp:sp modelId="{CBA5DA7A-F46E-42A3-A3E1-AFAA23A87CC0}">
      <dsp:nvSpPr>
        <dsp:cNvPr id="0" name=""/>
        <dsp:cNvSpPr/>
      </dsp:nvSpPr>
      <dsp:spPr>
        <a:xfrm>
          <a:off x="0" y="817977"/>
          <a:ext cx="11518711" cy="1290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571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Data is loaded or modified</a:t>
          </a:r>
        </a:p>
        <a:p>
          <a:pPr marL="228600" lvl="1" indent="-228600" algn="l" defTabSz="1022350">
            <a:lnSpc>
              <a:spcPct val="90000"/>
            </a:lnSpc>
            <a:spcBef>
              <a:spcPct val="0"/>
            </a:spcBef>
            <a:spcAft>
              <a:spcPct val="20000"/>
            </a:spcAft>
            <a:buChar char="•"/>
          </a:pPr>
          <a:r>
            <a:rPr lang="en-US" sz="2300" kern="1200" dirty="0"/>
            <a:t>Scaling operation on the Synapse database</a:t>
          </a:r>
        </a:p>
        <a:p>
          <a:pPr marL="228600" lvl="1" indent="-228600" algn="l" defTabSz="1022350">
            <a:lnSpc>
              <a:spcPct val="90000"/>
            </a:lnSpc>
            <a:spcBef>
              <a:spcPct val="0"/>
            </a:spcBef>
            <a:spcAft>
              <a:spcPct val="20000"/>
            </a:spcAft>
            <a:buChar char="•"/>
          </a:pPr>
          <a:r>
            <a:rPr lang="en-US" sz="2300" kern="1200" dirty="0"/>
            <a:t>Table definition change</a:t>
          </a:r>
        </a:p>
      </dsp:txBody>
      <dsp:txXfrm>
        <a:off x="0" y="817977"/>
        <a:ext cx="11518711" cy="1290645"/>
      </dsp:txXfrm>
    </dsp:sp>
    <dsp:sp modelId="{555631A5-FDCA-43F0-B568-C4287289428E}">
      <dsp:nvSpPr>
        <dsp:cNvPr id="0" name=""/>
        <dsp:cNvSpPr/>
      </dsp:nvSpPr>
      <dsp:spPr>
        <a:xfrm>
          <a:off x="0" y="2108622"/>
          <a:ext cx="11518711"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rtl="0">
            <a:lnSpc>
              <a:spcPct val="90000"/>
            </a:lnSpc>
            <a:spcBef>
              <a:spcPct val="0"/>
            </a:spcBef>
            <a:spcAft>
              <a:spcPct val="35000"/>
            </a:spcAft>
            <a:buNone/>
          </a:pPr>
          <a:r>
            <a:rPr lang="en-US" sz="2900" b="0" i="0" kern="1200" dirty="0"/>
            <a:t>Cache / re-cache</a:t>
          </a:r>
          <a:r>
            <a:rPr lang="en-US" sz="2900" kern="1200" dirty="0"/>
            <a:t> triggered by the first query that accesses the table.</a:t>
          </a:r>
          <a:r>
            <a:rPr lang="en-US" sz="2900" kern="1200" dirty="0">
              <a:latin typeface="Segoe UI Semibold"/>
            </a:rPr>
            <a:t> </a:t>
          </a:r>
          <a:endParaRPr lang="en-US" sz="2900" kern="1200" dirty="0"/>
        </a:p>
      </dsp:txBody>
      <dsp:txXfrm>
        <a:off x="36439" y="2145061"/>
        <a:ext cx="11445833" cy="673582"/>
      </dsp:txXfrm>
    </dsp:sp>
    <dsp:sp modelId="{AF68AF07-4757-42F6-BD7F-2275B2888699}">
      <dsp:nvSpPr>
        <dsp:cNvPr id="0" name=""/>
        <dsp:cNvSpPr/>
      </dsp:nvSpPr>
      <dsp:spPr>
        <a:xfrm>
          <a:off x="0" y="2855082"/>
          <a:ext cx="11518711"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571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SELECT TOP 1 * FROM </a:t>
          </a:r>
          <a:r>
            <a:rPr lang="en-US" sz="2300" kern="1200" dirty="0" err="1">
              <a:latin typeface="Segoe UI" panose="020B0502040204020203" pitchFamily="34" charset="0"/>
              <a:cs typeface="Segoe UI" panose="020B0502040204020203" pitchFamily="34" charset="0"/>
            </a:rPr>
            <a:t>ReplTable</a:t>
          </a:r>
        </a:p>
      </dsp:txBody>
      <dsp:txXfrm>
        <a:off x="0" y="2855082"/>
        <a:ext cx="11518711" cy="480240"/>
      </dsp:txXfrm>
    </dsp:sp>
    <dsp:sp modelId="{40E3F0B1-105B-4BAB-8E30-38863DF4CF39}">
      <dsp:nvSpPr>
        <dsp:cNvPr id="0" name=""/>
        <dsp:cNvSpPr/>
      </dsp:nvSpPr>
      <dsp:spPr>
        <a:xfrm>
          <a:off x="0" y="3335322"/>
          <a:ext cx="11518711"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i="0" kern="1200" dirty="0"/>
            <a:t>Cache / re-cache is synchronous</a:t>
          </a:r>
          <a:endParaRPr lang="en-US" sz="2900" kern="1200" dirty="0"/>
        </a:p>
      </dsp:txBody>
      <dsp:txXfrm>
        <a:off x="36439" y="3371761"/>
        <a:ext cx="11445833" cy="673582"/>
      </dsp:txXfrm>
    </dsp:sp>
    <dsp:sp modelId="{C09A73A9-7901-4338-9240-ED5897CA67C2}">
      <dsp:nvSpPr>
        <dsp:cNvPr id="0" name=""/>
        <dsp:cNvSpPr/>
      </dsp:nvSpPr>
      <dsp:spPr>
        <a:xfrm>
          <a:off x="0" y="4081782"/>
          <a:ext cx="11518711" cy="8554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571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The query that triggers the </a:t>
          </a:r>
          <a:r>
            <a:rPr lang="en-US" sz="2300" b="0" i="0" kern="1200" dirty="0"/>
            <a:t>re-cache</a:t>
          </a:r>
          <a:r>
            <a:rPr lang="en-US" sz="2300" kern="1200" dirty="0"/>
            <a:t> reads from the master version of the table</a:t>
          </a:r>
        </a:p>
        <a:p>
          <a:pPr marL="228600" lvl="1" indent="-228600" algn="l" defTabSz="1022350">
            <a:lnSpc>
              <a:spcPct val="90000"/>
            </a:lnSpc>
            <a:spcBef>
              <a:spcPct val="0"/>
            </a:spcBef>
            <a:spcAft>
              <a:spcPct val="20000"/>
            </a:spcAft>
            <a:buChar char="•"/>
          </a:pPr>
          <a:r>
            <a:rPr lang="en-US" sz="2300" kern="1200" dirty="0"/>
            <a:t>Subsequent queries also reads from the master version, until caching is completed.</a:t>
          </a:r>
        </a:p>
      </dsp:txBody>
      <dsp:txXfrm>
        <a:off x="0" y="4081782"/>
        <a:ext cx="11518711" cy="855427"/>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C886F4-72C2-4F6A-9144-D75CDA6D8D62}">
      <dsp:nvSpPr>
        <dsp:cNvPr id="0" name=""/>
        <dsp:cNvSpPr/>
      </dsp:nvSpPr>
      <dsp:spPr>
        <a:xfrm>
          <a:off x="0" y="57979"/>
          <a:ext cx="10363200" cy="1138318"/>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noProof="0" dirty="0"/>
            <a:t>Use DMV to monitor caching state</a:t>
          </a:r>
        </a:p>
      </dsp:txBody>
      <dsp:txXfrm>
        <a:off x="55568" y="113547"/>
        <a:ext cx="10252064" cy="1027182"/>
      </dsp:txXfrm>
    </dsp:sp>
    <dsp:sp modelId="{2BB96914-9A17-488A-A9EC-CE3F96851D6D}">
      <dsp:nvSpPr>
        <dsp:cNvPr id="0" name=""/>
        <dsp:cNvSpPr/>
      </dsp:nvSpPr>
      <dsp:spPr>
        <a:xfrm>
          <a:off x="0" y="1147087"/>
          <a:ext cx="10363200" cy="10069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9032"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US" sz="3200" kern="1200" noProof="0" dirty="0" err="1"/>
            <a:t>sys.pdw_replicated_table_cache_state</a:t>
          </a:r>
          <a:r>
            <a:rPr lang="en-US" sz="3200" kern="1200" noProof="0" dirty="0"/>
            <a:t> </a:t>
          </a:r>
          <a:endParaRPr lang="es-ES" sz="3200" kern="1200" dirty="0"/>
        </a:p>
      </dsp:txBody>
      <dsp:txXfrm>
        <a:off x="0" y="1147087"/>
        <a:ext cx="10363200" cy="1006973"/>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343B0-53D4-47A4-83AC-180DC722FBBC}">
      <dsp:nvSpPr>
        <dsp:cNvPr id="0" name=""/>
        <dsp:cNvSpPr/>
      </dsp:nvSpPr>
      <dsp:spPr>
        <a:xfrm>
          <a:off x="-4644089" y="-711971"/>
          <a:ext cx="5531919" cy="5531919"/>
        </a:xfrm>
        <a:prstGeom prst="blockArc">
          <a:avLst>
            <a:gd name="adj1" fmla="val 18900000"/>
            <a:gd name="adj2" fmla="val 2700000"/>
            <a:gd name="adj3" fmla="val 390"/>
          </a:avLst>
        </a:pr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BC8DF5-588B-400D-A829-8FDBD46AF547}">
      <dsp:nvSpPr>
        <dsp:cNvPr id="0" name=""/>
        <dsp:cNvSpPr/>
      </dsp:nvSpPr>
      <dsp:spPr>
        <a:xfrm>
          <a:off x="465010" y="315821"/>
          <a:ext cx="9867292" cy="631971"/>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501627"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The size of the table will determine the time taken to re-cache the replicated table</a:t>
          </a:r>
        </a:p>
      </dsp:txBody>
      <dsp:txXfrm>
        <a:off x="465010" y="315821"/>
        <a:ext cx="9867292" cy="631971"/>
      </dsp:txXfrm>
    </dsp:sp>
    <dsp:sp modelId="{F2908787-E8CB-42D2-9B74-4428F0C1FE59}">
      <dsp:nvSpPr>
        <dsp:cNvPr id="0" name=""/>
        <dsp:cNvSpPr/>
      </dsp:nvSpPr>
      <dsp:spPr>
        <a:xfrm>
          <a:off x="70028" y="236824"/>
          <a:ext cx="789963" cy="789963"/>
        </a:xfrm>
        <a:prstGeom prst="ellipse">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E0FD91A0-8361-4602-B5D1-F793FCF5079D}">
      <dsp:nvSpPr>
        <dsp:cNvPr id="0" name=""/>
        <dsp:cNvSpPr/>
      </dsp:nvSpPr>
      <dsp:spPr>
        <a:xfrm>
          <a:off x="827333" y="1263942"/>
          <a:ext cx="9504969" cy="631971"/>
        </a:xfrm>
        <a:prstGeom prst="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501627"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Each data modification requires the replicated copy to be re-cached</a:t>
          </a:r>
        </a:p>
      </dsp:txBody>
      <dsp:txXfrm>
        <a:off x="827333" y="1263942"/>
        <a:ext cx="9504969" cy="631971"/>
      </dsp:txXfrm>
    </dsp:sp>
    <dsp:sp modelId="{DD314253-A998-4C36-AF0A-1B3768E1F085}">
      <dsp:nvSpPr>
        <dsp:cNvPr id="0" name=""/>
        <dsp:cNvSpPr/>
      </dsp:nvSpPr>
      <dsp:spPr>
        <a:xfrm>
          <a:off x="432351" y="1184945"/>
          <a:ext cx="789963" cy="789963"/>
        </a:xfrm>
        <a:prstGeom prst="ellipse">
          <a:avLst/>
        </a:prstGeom>
        <a:solidFill>
          <a:schemeClr val="lt1">
            <a:hueOff val="0"/>
            <a:satOff val="0"/>
            <a:lumOff val="0"/>
            <a:alphaOff val="0"/>
          </a:schemeClr>
        </a:solidFill>
        <a:ln w="12700" cap="flat" cmpd="sng" algn="ctr">
          <a:solidFill>
            <a:schemeClr val="accent2">
              <a:shade val="80000"/>
              <a:hueOff val="128013"/>
              <a:satOff val="-12813"/>
              <a:lumOff val="13143"/>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9704CFF4-494B-4CBD-A23B-B3CAD6296D81}">
      <dsp:nvSpPr>
        <dsp:cNvPr id="0" name=""/>
        <dsp:cNvSpPr/>
      </dsp:nvSpPr>
      <dsp:spPr>
        <a:xfrm>
          <a:off x="827333" y="2212062"/>
          <a:ext cx="9504969" cy="631971"/>
        </a:xfrm>
        <a:prstGeom prst="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501627"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Each SQL Pool Scale operation requires the replicated copy to be re-cached</a:t>
          </a:r>
        </a:p>
      </dsp:txBody>
      <dsp:txXfrm>
        <a:off x="827333" y="2212062"/>
        <a:ext cx="9504969" cy="631971"/>
      </dsp:txXfrm>
    </dsp:sp>
    <dsp:sp modelId="{88698B88-63F6-4A03-98CE-43DEA8B1CACB}">
      <dsp:nvSpPr>
        <dsp:cNvPr id="0" name=""/>
        <dsp:cNvSpPr/>
      </dsp:nvSpPr>
      <dsp:spPr>
        <a:xfrm>
          <a:off x="432351" y="2133066"/>
          <a:ext cx="789963" cy="789963"/>
        </a:xfrm>
        <a:prstGeom prst="ellipse">
          <a:avLst/>
        </a:prstGeom>
        <a:solidFill>
          <a:schemeClr val="lt1">
            <a:hueOff val="0"/>
            <a:satOff val="0"/>
            <a:lumOff val="0"/>
            <a:alphaOff val="0"/>
          </a:schemeClr>
        </a:solidFill>
        <a:ln w="12700" cap="flat" cmpd="sng" algn="ctr">
          <a:solidFill>
            <a:schemeClr val="accent2">
              <a:shade val="80000"/>
              <a:hueOff val="256027"/>
              <a:satOff val="-25626"/>
              <a:lumOff val="26287"/>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6DE47EC2-5F05-49BB-8434-5565C6844557}">
      <dsp:nvSpPr>
        <dsp:cNvPr id="0" name=""/>
        <dsp:cNvSpPr/>
      </dsp:nvSpPr>
      <dsp:spPr>
        <a:xfrm>
          <a:off x="465010" y="3160183"/>
          <a:ext cx="9867292" cy="631971"/>
        </a:xfrm>
        <a:prstGeom prst="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501627" tIns="50800" rIns="50800" bIns="50800" numCol="1" spcCol="1270" anchor="ctr" anchorCtr="0">
          <a:noAutofit/>
        </a:bodyPr>
        <a:lstStyle/>
        <a:p>
          <a:pPr marL="0" lvl="0" indent="0" algn="l" defTabSz="889000">
            <a:lnSpc>
              <a:spcPct val="90000"/>
            </a:lnSpc>
            <a:spcBef>
              <a:spcPct val="0"/>
            </a:spcBef>
            <a:spcAft>
              <a:spcPct val="35000"/>
            </a:spcAft>
            <a:buNone/>
          </a:pPr>
          <a:r>
            <a:rPr lang="en-US" sz="2000" b="0" i="0" kern="1200"/>
            <a:t>Replicated tables are cached to the first Distribution on each Compute Node</a:t>
          </a:r>
          <a:endParaRPr lang="en-US" sz="2000" kern="1200"/>
        </a:p>
      </dsp:txBody>
      <dsp:txXfrm>
        <a:off x="465010" y="3160183"/>
        <a:ext cx="9867292" cy="631971"/>
      </dsp:txXfrm>
    </dsp:sp>
    <dsp:sp modelId="{FE59AE7E-F918-427E-8B8C-C7DA7646FE43}">
      <dsp:nvSpPr>
        <dsp:cNvPr id="0" name=""/>
        <dsp:cNvSpPr/>
      </dsp:nvSpPr>
      <dsp:spPr>
        <a:xfrm>
          <a:off x="70028" y="3081187"/>
          <a:ext cx="789963" cy="789963"/>
        </a:xfrm>
        <a:prstGeom prst="ellipse">
          <a:avLst/>
        </a:prstGeom>
        <a:solidFill>
          <a:schemeClr val="lt1">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0205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What are the different table geometries in Synapse SQL Pool?</a:t>
          </a:r>
          <a:endParaRPr lang="en-US" sz="2000" kern="1200"/>
        </a:p>
      </dsp:txBody>
      <dsp:txXfrm>
        <a:off x="0" y="1208231"/>
        <a:ext cx="3100581" cy="1208231"/>
      </dsp:txXfrm>
    </dsp:sp>
    <dsp:sp modelId="{41B5F4A1-82D4-4720-8B78-273D2F9A3449}">
      <dsp:nvSpPr>
        <dsp:cNvPr id="0" name=""/>
        <dsp:cNvSpPr/>
      </dsp:nvSpPr>
      <dsp:spPr>
        <a:xfrm>
          <a:off x="1047364"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4" cy="453086"/>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baseline="0" dirty="0"/>
            <a:t>If you have a 100B row table, of order details, what geometry would you pick?</a:t>
          </a:r>
          <a:endParaRPr lang="en-US" sz="18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baseline="0" dirty="0"/>
            <a:t>If you have a table of product details, what geometry would you pick?</a:t>
          </a:r>
          <a:endParaRPr lang="en-US" sz="19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baseline="0" dirty="0"/>
            <a:t>When would you use a Round-Robin table?</a:t>
          </a:r>
          <a:endParaRPr lang="en-US" sz="22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020577"/>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at are the 3 criteria for picking a HASH Distribution key?</a:t>
          </a:r>
          <a:endParaRPr lang="en-US" sz="2000" kern="1200" dirty="0"/>
        </a:p>
      </dsp:txBody>
      <dsp:txXfrm>
        <a:off x="0" y="1208231"/>
        <a:ext cx="3100581" cy="1208231"/>
      </dsp:txXfrm>
    </dsp:sp>
    <dsp:sp modelId="{41B5F4A1-82D4-4720-8B78-273D2F9A3449}">
      <dsp:nvSpPr>
        <dsp:cNvPr id="0" name=""/>
        <dsp:cNvSpPr/>
      </dsp:nvSpPr>
      <dsp:spPr>
        <a:xfrm>
          <a:off x="1047364"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4" cy="453086"/>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654C68-5099-44E2-BD02-B0AE625E356C}">
      <dsp:nvSpPr>
        <dsp:cNvPr id="0" name=""/>
        <dsp:cNvSpPr/>
      </dsp:nvSpPr>
      <dsp:spPr>
        <a:xfrm>
          <a:off x="2727" y="68927"/>
          <a:ext cx="3226631" cy="796974"/>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es-ES" sz="3200" kern="1200" dirty="0"/>
            <a:t>Regular table</a:t>
          </a:r>
        </a:p>
      </dsp:txBody>
      <dsp:txXfrm>
        <a:off x="26070" y="92270"/>
        <a:ext cx="3179945" cy="750288"/>
      </dsp:txXfrm>
    </dsp:sp>
    <dsp:sp modelId="{40148002-4173-4B65-8486-8D99B20F452B}">
      <dsp:nvSpPr>
        <dsp:cNvPr id="0" name=""/>
        <dsp:cNvSpPr/>
      </dsp:nvSpPr>
      <dsp:spPr>
        <a:xfrm>
          <a:off x="325390" y="865902"/>
          <a:ext cx="322663" cy="891392"/>
        </a:xfrm>
        <a:custGeom>
          <a:avLst/>
          <a:gdLst/>
          <a:ahLst/>
          <a:cxnLst/>
          <a:rect l="0" t="0" r="0" b="0"/>
          <a:pathLst>
            <a:path>
              <a:moveTo>
                <a:pt x="0" y="0"/>
              </a:moveTo>
              <a:lnTo>
                <a:pt x="0" y="891392"/>
              </a:lnTo>
              <a:lnTo>
                <a:pt x="322663" y="89139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287AC9D-AF88-4688-9791-19C5B64A177C}">
      <dsp:nvSpPr>
        <dsp:cNvPr id="0" name=""/>
        <dsp:cNvSpPr/>
      </dsp:nvSpPr>
      <dsp:spPr>
        <a:xfrm>
          <a:off x="648053" y="1065146"/>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0" i="0" kern="1200" dirty="0"/>
            <a:t>Stores data as regular SQL tables</a:t>
          </a:r>
          <a:endParaRPr lang="es-ES" sz="2000" kern="1200" dirty="0"/>
        </a:p>
      </dsp:txBody>
      <dsp:txXfrm>
        <a:off x="688598" y="1105691"/>
        <a:ext cx="2685890" cy="1303206"/>
      </dsp:txXfrm>
    </dsp:sp>
    <dsp:sp modelId="{34202962-BB46-49E1-BB87-E0644603F589}">
      <dsp:nvSpPr>
        <dsp:cNvPr id="0" name=""/>
        <dsp:cNvSpPr/>
      </dsp:nvSpPr>
      <dsp:spPr>
        <a:xfrm>
          <a:off x="325390" y="865902"/>
          <a:ext cx="322663" cy="2474932"/>
        </a:xfrm>
        <a:custGeom>
          <a:avLst/>
          <a:gdLst/>
          <a:ahLst/>
          <a:cxnLst/>
          <a:rect l="0" t="0" r="0" b="0"/>
          <a:pathLst>
            <a:path>
              <a:moveTo>
                <a:pt x="0" y="0"/>
              </a:moveTo>
              <a:lnTo>
                <a:pt x="0" y="2474932"/>
              </a:lnTo>
              <a:lnTo>
                <a:pt x="322663" y="247493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B5D612-88AF-42E1-A1D0-541825523E0C}">
      <dsp:nvSpPr>
        <dsp:cNvPr id="0" name=""/>
        <dsp:cNvSpPr/>
      </dsp:nvSpPr>
      <dsp:spPr>
        <a:xfrm>
          <a:off x="648053" y="2648686"/>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64007"/>
              <a:satOff val="-6407"/>
              <a:lumOff val="65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0" i="0" kern="1200" dirty="0"/>
            <a:t>Permanent, until deleted / modified</a:t>
          </a:r>
          <a:endParaRPr lang="es-ES" sz="2000" kern="1200" dirty="0"/>
        </a:p>
      </dsp:txBody>
      <dsp:txXfrm>
        <a:off x="688598" y="2689231"/>
        <a:ext cx="2685890" cy="1303206"/>
      </dsp:txXfrm>
    </dsp:sp>
    <dsp:sp modelId="{977580EA-2EB0-4312-9723-6FC21C527AA5}">
      <dsp:nvSpPr>
        <dsp:cNvPr id="0" name=""/>
        <dsp:cNvSpPr/>
      </dsp:nvSpPr>
      <dsp:spPr>
        <a:xfrm>
          <a:off x="3627845" y="68927"/>
          <a:ext cx="3226631" cy="796974"/>
        </a:xfrm>
        <a:prstGeom prst="roundRect">
          <a:avLst>
            <a:gd name="adj" fmla="val 10000"/>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en-US" sz="3200" kern="1200" noProof="0" dirty="0"/>
            <a:t>Temporary</a:t>
          </a:r>
          <a:r>
            <a:rPr lang="es-ES" sz="3200" kern="1200" dirty="0"/>
            <a:t> table</a:t>
          </a:r>
        </a:p>
      </dsp:txBody>
      <dsp:txXfrm>
        <a:off x="3651188" y="92270"/>
        <a:ext cx="3179945" cy="750288"/>
      </dsp:txXfrm>
    </dsp:sp>
    <dsp:sp modelId="{EF56F297-C60E-4B83-B22F-DDDBC89DD64A}">
      <dsp:nvSpPr>
        <dsp:cNvPr id="0" name=""/>
        <dsp:cNvSpPr/>
      </dsp:nvSpPr>
      <dsp:spPr>
        <a:xfrm>
          <a:off x="3950509" y="865902"/>
          <a:ext cx="322663" cy="891392"/>
        </a:xfrm>
        <a:custGeom>
          <a:avLst/>
          <a:gdLst/>
          <a:ahLst/>
          <a:cxnLst/>
          <a:rect l="0" t="0" r="0" b="0"/>
          <a:pathLst>
            <a:path>
              <a:moveTo>
                <a:pt x="0" y="0"/>
              </a:moveTo>
              <a:lnTo>
                <a:pt x="0" y="891392"/>
              </a:lnTo>
              <a:lnTo>
                <a:pt x="322663" y="89139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265FB-1B40-4F66-B066-841A9355ED7C}">
      <dsp:nvSpPr>
        <dsp:cNvPr id="0" name=""/>
        <dsp:cNvSpPr/>
      </dsp:nvSpPr>
      <dsp:spPr>
        <a:xfrm>
          <a:off x="4273172" y="1065146"/>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128013"/>
              <a:satOff val="-12813"/>
              <a:lumOff val="1314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0" i="0" kern="1200" dirty="0"/>
            <a:t>Utilize local SSD storage</a:t>
          </a:r>
          <a:endParaRPr lang="es-ES" sz="2000" kern="1200" dirty="0"/>
        </a:p>
      </dsp:txBody>
      <dsp:txXfrm>
        <a:off x="4313717" y="1105691"/>
        <a:ext cx="2685890" cy="1303206"/>
      </dsp:txXfrm>
    </dsp:sp>
    <dsp:sp modelId="{88FEEBF5-0738-45B1-BC6F-EDF04751048A}">
      <dsp:nvSpPr>
        <dsp:cNvPr id="0" name=""/>
        <dsp:cNvSpPr/>
      </dsp:nvSpPr>
      <dsp:spPr>
        <a:xfrm>
          <a:off x="3950509" y="865902"/>
          <a:ext cx="322663" cy="2474932"/>
        </a:xfrm>
        <a:custGeom>
          <a:avLst/>
          <a:gdLst/>
          <a:ahLst/>
          <a:cxnLst/>
          <a:rect l="0" t="0" r="0" b="0"/>
          <a:pathLst>
            <a:path>
              <a:moveTo>
                <a:pt x="0" y="0"/>
              </a:moveTo>
              <a:lnTo>
                <a:pt x="0" y="2474932"/>
              </a:lnTo>
              <a:lnTo>
                <a:pt x="322663" y="247493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4147FB-5FB1-400E-83B8-E14351CA50DB}">
      <dsp:nvSpPr>
        <dsp:cNvPr id="0" name=""/>
        <dsp:cNvSpPr/>
      </dsp:nvSpPr>
      <dsp:spPr>
        <a:xfrm>
          <a:off x="4273172" y="2648686"/>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192020"/>
              <a:satOff val="-19219"/>
              <a:lumOff val="197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0" i="0" kern="1200" dirty="0"/>
            <a:t>Only exists for the duration of the session</a:t>
          </a:r>
          <a:endParaRPr lang="es-ES" sz="2000" kern="1200" dirty="0"/>
        </a:p>
      </dsp:txBody>
      <dsp:txXfrm>
        <a:off x="4313717" y="2689231"/>
        <a:ext cx="2685890" cy="1303206"/>
      </dsp:txXfrm>
    </dsp:sp>
    <dsp:sp modelId="{D767CE5B-DA7E-49A6-9B80-EAEFC99C471D}">
      <dsp:nvSpPr>
        <dsp:cNvPr id="0" name=""/>
        <dsp:cNvSpPr/>
      </dsp:nvSpPr>
      <dsp:spPr>
        <a:xfrm>
          <a:off x="7252964" y="68927"/>
          <a:ext cx="3226631" cy="796974"/>
        </a:xfrm>
        <a:prstGeom prst="roundRect">
          <a:avLst>
            <a:gd name="adj" fmla="val 10000"/>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en-US" sz="3200" kern="1200" noProof="0" dirty="0"/>
            <a:t>External</a:t>
          </a:r>
          <a:r>
            <a:rPr lang="es-ES" sz="3200" kern="1200" dirty="0"/>
            <a:t> table</a:t>
          </a:r>
        </a:p>
      </dsp:txBody>
      <dsp:txXfrm>
        <a:off x="7276307" y="92270"/>
        <a:ext cx="3179945" cy="750288"/>
      </dsp:txXfrm>
    </dsp:sp>
    <dsp:sp modelId="{DAFFBD0C-1021-4285-9212-8357E66A9E72}">
      <dsp:nvSpPr>
        <dsp:cNvPr id="0" name=""/>
        <dsp:cNvSpPr/>
      </dsp:nvSpPr>
      <dsp:spPr>
        <a:xfrm>
          <a:off x="7575627" y="865902"/>
          <a:ext cx="322663" cy="891392"/>
        </a:xfrm>
        <a:custGeom>
          <a:avLst/>
          <a:gdLst/>
          <a:ahLst/>
          <a:cxnLst/>
          <a:rect l="0" t="0" r="0" b="0"/>
          <a:pathLst>
            <a:path>
              <a:moveTo>
                <a:pt x="0" y="0"/>
              </a:moveTo>
              <a:lnTo>
                <a:pt x="0" y="891392"/>
              </a:lnTo>
              <a:lnTo>
                <a:pt x="322663" y="89139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709311-9493-4838-AE16-8343D4787DBD}">
      <dsp:nvSpPr>
        <dsp:cNvPr id="0" name=""/>
        <dsp:cNvSpPr/>
      </dsp:nvSpPr>
      <dsp:spPr>
        <a:xfrm>
          <a:off x="7898290" y="1065146"/>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256027"/>
              <a:satOff val="-25626"/>
              <a:lumOff val="262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0" i="0" kern="1200" dirty="0"/>
            <a:t>References data in external files</a:t>
          </a:r>
          <a:endParaRPr lang="es-ES" sz="2000" kern="1200" dirty="0"/>
        </a:p>
      </dsp:txBody>
      <dsp:txXfrm>
        <a:off x="7938835" y="1105691"/>
        <a:ext cx="2685890" cy="1303206"/>
      </dsp:txXfrm>
    </dsp:sp>
    <dsp:sp modelId="{CDEE10CD-8005-41A6-8847-4E2C26A5152C}">
      <dsp:nvSpPr>
        <dsp:cNvPr id="0" name=""/>
        <dsp:cNvSpPr/>
      </dsp:nvSpPr>
      <dsp:spPr>
        <a:xfrm>
          <a:off x="7575627" y="865902"/>
          <a:ext cx="322663" cy="2474932"/>
        </a:xfrm>
        <a:custGeom>
          <a:avLst/>
          <a:gdLst/>
          <a:ahLst/>
          <a:cxnLst/>
          <a:rect l="0" t="0" r="0" b="0"/>
          <a:pathLst>
            <a:path>
              <a:moveTo>
                <a:pt x="0" y="0"/>
              </a:moveTo>
              <a:lnTo>
                <a:pt x="0" y="2474932"/>
              </a:lnTo>
              <a:lnTo>
                <a:pt x="322663" y="2474932"/>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DDE452-A3DC-49EE-BA77-FEB2A814FEAA}">
      <dsp:nvSpPr>
        <dsp:cNvPr id="0" name=""/>
        <dsp:cNvSpPr/>
      </dsp:nvSpPr>
      <dsp:spPr>
        <a:xfrm>
          <a:off x="7898290" y="2648686"/>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320033"/>
              <a:satOff val="-32032"/>
              <a:lumOff val="3285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0" i="0" kern="1200" dirty="0"/>
            <a:t>Persistence is controlled by external processes</a:t>
          </a:r>
          <a:endParaRPr lang="es-ES" sz="2000" kern="1200" dirty="0"/>
        </a:p>
      </dsp:txBody>
      <dsp:txXfrm>
        <a:off x="7938835" y="2689231"/>
        <a:ext cx="2685890" cy="1303206"/>
      </dsp:txXfrm>
    </dsp:sp>
    <dsp:sp modelId="{E9D069D1-11AB-426E-9EE6-220B3D631DB7}">
      <dsp:nvSpPr>
        <dsp:cNvPr id="0" name=""/>
        <dsp:cNvSpPr/>
      </dsp:nvSpPr>
      <dsp:spPr>
        <a:xfrm>
          <a:off x="7575627" y="865902"/>
          <a:ext cx="322663" cy="4058473"/>
        </a:xfrm>
        <a:custGeom>
          <a:avLst/>
          <a:gdLst/>
          <a:ahLst/>
          <a:cxnLst/>
          <a:rect l="0" t="0" r="0" b="0"/>
          <a:pathLst>
            <a:path>
              <a:moveTo>
                <a:pt x="0" y="0"/>
              </a:moveTo>
              <a:lnTo>
                <a:pt x="0" y="4058473"/>
              </a:lnTo>
              <a:lnTo>
                <a:pt x="322663" y="4058473"/>
              </a:lnTo>
            </a:path>
          </a:pathLst>
        </a:cu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BA32CC-E265-4730-A5F7-304921AC5A78}">
      <dsp:nvSpPr>
        <dsp:cNvPr id="0" name=""/>
        <dsp:cNvSpPr/>
      </dsp:nvSpPr>
      <dsp:spPr>
        <a:xfrm>
          <a:off x="7898290" y="4232227"/>
          <a:ext cx="2766980" cy="1384296"/>
        </a:xfrm>
        <a:prstGeom prst="roundRect">
          <a:avLst>
            <a:gd name="adj" fmla="val 10000"/>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noProof="0" dirty="0"/>
            <a:t>Archival / Cold data </a:t>
          </a:r>
        </a:p>
      </dsp:txBody>
      <dsp:txXfrm>
        <a:off x="7938835" y="4272772"/>
        <a:ext cx="2685890" cy="1303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9399DF-23C7-4DFE-9542-30092B216D19}">
      <dsp:nvSpPr>
        <dsp:cNvPr id="0" name=""/>
        <dsp:cNvSpPr/>
      </dsp:nvSpPr>
      <dsp:spPr>
        <a:xfrm>
          <a:off x="3468" y="753881"/>
          <a:ext cx="3381970" cy="119466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noProof="0" dirty="0"/>
            <a:t>Round-robin Tables</a:t>
          </a:r>
        </a:p>
      </dsp:txBody>
      <dsp:txXfrm>
        <a:off x="3468" y="753881"/>
        <a:ext cx="3381970" cy="1194667"/>
      </dsp:txXfrm>
    </dsp:sp>
    <dsp:sp modelId="{823BB3E5-FD46-4A2E-A44E-98008B15C4B2}">
      <dsp:nvSpPr>
        <dsp:cNvPr id="0" name=""/>
        <dsp:cNvSpPr/>
      </dsp:nvSpPr>
      <dsp:spPr>
        <a:xfrm>
          <a:off x="3468" y="1948548"/>
          <a:ext cx="3381970" cy="221247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b="0" i="0" kern="1200" dirty="0">
              <a:solidFill>
                <a:srgbClr val="000000">
                  <a:hueOff val="0"/>
                  <a:satOff val="0"/>
                  <a:lumOff val="0"/>
                  <a:alphaOff val="0"/>
                </a:srgbClr>
              </a:solidFill>
              <a:latin typeface="Segoe UI"/>
              <a:ea typeface="+mn-ea"/>
              <a:cs typeface="+mn-cs"/>
            </a:rPr>
            <a:t>Distributes table rows evenly across all distributions. </a:t>
          </a:r>
          <a:endParaRPr lang="es-ES" sz="2400" b="0" i="0" kern="1200" dirty="0">
            <a:solidFill>
              <a:srgbClr val="000000">
                <a:hueOff val="0"/>
                <a:satOff val="0"/>
                <a:lumOff val="0"/>
                <a:alphaOff val="0"/>
              </a:srgbClr>
            </a:solidFill>
            <a:latin typeface="Segoe UI"/>
            <a:ea typeface="+mn-ea"/>
            <a:cs typeface="+mn-cs"/>
          </a:endParaRPr>
        </a:p>
        <a:p>
          <a:pPr marL="228600" lvl="1" indent="-228600" algn="l" defTabSz="1066800">
            <a:lnSpc>
              <a:spcPct val="90000"/>
            </a:lnSpc>
            <a:spcBef>
              <a:spcPct val="0"/>
            </a:spcBef>
            <a:spcAft>
              <a:spcPct val="15000"/>
            </a:spcAft>
            <a:buChar char="•"/>
          </a:pPr>
          <a:r>
            <a:rPr lang="en-US" sz="2400" b="0" i="0" kern="1200" dirty="0">
              <a:solidFill>
                <a:srgbClr val="000000">
                  <a:hueOff val="0"/>
                  <a:satOff val="0"/>
                  <a:lumOff val="0"/>
                  <a:alphaOff val="0"/>
                </a:srgbClr>
              </a:solidFill>
              <a:latin typeface="Segoe UI"/>
              <a:ea typeface="+mn-ea"/>
              <a:cs typeface="+mn-cs"/>
            </a:rPr>
            <a:t>The rows are distributed randomly</a:t>
          </a:r>
          <a:endParaRPr lang="es-ES" sz="2400" b="0" i="0" kern="1200" dirty="0">
            <a:solidFill>
              <a:srgbClr val="000000">
                <a:hueOff val="0"/>
                <a:satOff val="0"/>
                <a:lumOff val="0"/>
                <a:alphaOff val="0"/>
              </a:srgbClr>
            </a:solidFill>
            <a:latin typeface="Segoe UI"/>
            <a:ea typeface="+mn-ea"/>
            <a:cs typeface="+mn-cs"/>
          </a:endParaRPr>
        </a:p>
      </dsp:txBody>
      <dsp:txXfrm>
        <a:off x="3468" y="1948548"/>
        <a:ext cx="3381970" cy="2212470"/>
      </dsp:txXfrm>
    </dsp:sp>
    <dsp:sp modelId="{CEF6E40E-9078-4BEC-9B3C-60F64F3BBD3A}">
      <dsp:nvSpPr>
        <dsp:cNvPr id="0" name=""/>
        <dsp:cNvSpPr/>
      </dsp:nvSpPr>
      <dsp:spPr>
        <a:xfrm>
          <a:off x="3858914" y="753881"/>
          <a:ext cx="3381970" cy="119466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noProof="0" dirty="0"/>
            <a:t>Hash-distributed tables</a:t>
          </a:r>
        </a:p>
      </dsp:txBody>
      <dsp:txXfrm>
        <a:off x="3858914" y="753881"/>
        <a:ext cx="3381970" cy="1194667"/>
      </dsp:txXfrm>
    </dsp:sp>
    <dsp:sp modelId="{2CE4898E-D4B3-4770-B51A-AA84B598529F}">
      <dsp:nvSpPr>
        <dsp:cNvPr id="0" name=""/>
        <dsp:cNvSpPr/>
      </dsp:nvSpPr>
      <dsp:spPr>
        <a:xfrm>
          <a:off x="3858914" y="1948548"/>
          <a:ext cx="3381970" cy="221247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b="0" i="0" kern="1200" dirty="0"/>
            <a:t>Distributes rows based on the value in the distribution column</a:t>
          </a:r>
          <a:endParaRPr lang="es-ES" sz="2400" kern="1200" dirty="0"/>
        </a:p>
      </dsp:txBody>
      <dsp:txXfrm>
        <a:off x="3858914" y="1948548"/>
        <a:ext cx="3381970" cy="2212470"/>
      </dsp:txXfrm>
    </dsp:sp>
    <dsp:sp modelId="{14B2050A-3814-4E64-9E6C-B44AE8B635EC}">
      <dsp:nvSpPr>
        <dsp:cNvPr id="0" name=""/>
        <dsp:cNvSpPr/>
      </dsp:nvSpPr>
      <dsp:spPr>
        <a:xfrm>
          <a:off x="7714361" y="753881"/>
          <a:ext cx="3381970" cy="119466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noProof="0" dirty="0"/>
            <a:t>Replicated Tables</a:t>
          </a:r>
          <a:endParaRPr lang="es-ES" sz="2800" kern="1200" dirty="0"/>
        </a:p>
      </dsp:txBody>
      <dsp:txXfrm>
        <a:off x="7714361" y="753881"/>
        <a:ext cx="3381970" cy="1194667"/>
      </dsp:txXfrm>
    </dsp:sp>
    <dsp:sp modelId="{5C8230CB-236B-4BC3-AF11-71C29F28DABA}">
      <dsp:nvSpPr>
        <dsp:cNvPr id="0" name=""/>
        <dsp:cNvSpPr/>
      </dsp:nvSpPr>
      <dsp:spPr>
        <a:xfrm>
          <a:off x="7714361" y="1948548"/>
          <a:ext cx="3381970" cy="221247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b="0" i="0" kern="1200" dirty="0"/>
            <a:t>A full copy of the table is available on each compute node</a:t>
          </a:r>
          <a:endParaRPr lang="es-ES" sz="2400" kern="1200" dirty="0"/>
        </a:p>
      </dsp:txBody>
      <dsp:txXfrm>
        <a:off x="7714361" y="1948548"/>
        <a:ext cx="3381970" cy="2212470"/>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3D0A68-F73A-44D3-9C69-83546643E8AA}">
      <dsp:nvSpPr>
        <dsp:cNvPr id="0" name=""/>
        <dsp:cNvSpPr/>
      </dsp:nvSpPr>
      <dsp:spPr>
        <a:xfrm>
          <a:off x="-5615956" y="-859859"/>
          <a:ext cx="6687503" cy="6687503"/>
        </a:xfrm>
        <a:prstGeom prst="blockArc">
          <a:avLst>
            <a:gd name="adj1" fmla="val 18900000"/>
            <a:gd name="adj2" fmla="val 2700000"/>
            <a:gd name="adj3" fmla="val 323"/>
          </a:avLst>
        </a:pr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3E7CD55-81C3-44AD-8968-6D563316A8EB}">
      <dsp:nvSpPr>
        <dsp:cNvPr id="0" name=""/>
        <dsp:cNvSpPr/>
      </dsp:nvSpPr>
      <dsp:spPr>
        <a:xfrm>
          <a:off x="689528" y="496778"/>
          <a:ext cx="9904844" cy="993557"/>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863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b="0" i="0" kern="1200" dirty="0"/>
            <a:t>Stored in local SSD rather than remote storage, potentially better performance</a:t>
          </a:r>
          <a:endParaRPr lang="en-US" sz="2800" kern="1200" dirty="0"/>
        </a:p>
      </dsp:txBody>
      <dsp:txXfrm>
        <a:off x="689528" y="496778"/>
        <a:ext cx="9904844" cy="993557"/>
      </dsp:txXfrm>
    </dsp:sp>
    <dsp:sp modelId="{67B4405F-9C37-403B-AC4F-2722B0669585}">
      <dsp:nvSpPr>
        <dsp:cNvPr id="0" name=""/>
        <dsp:cNvSpPr/>
      </dsp:nvSpPr>
      <dsp:spPr>
        <a:xfrm>
          <a:off x="68555" y="372583"/>
          <a:ext cx="1241946" cy="1241946"/>
        </a:xfrm>
        <a:prstGeom prst="ellipse">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1573DD-D10D-483F-9575-51D0517218B8}">
      <dsp:nvSpPr>
        <dsp:cNvPr id="0" name=""/>
        <dsp:cNvSpPr/>
      </dsp:nvSpPr>
      <dsp:spPr>
        <a:xfrm>
          <a:off x="1050686" y="1987114"/>
          <a:ext cx="9543686" cy="993557"/>
        </a:xfrm>
        <a:prstGeom prst="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863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b="0" i="0" kern="1200" dirty="0"/>
            <a:t>Scoped to the session in which they were created, dropped when that session ends</a:t>
          </a:r>
          <a:endParaRPr lang="en-US" sz="2800" kern="1200" dirty="0"/>
        </a:p>
      </dsp:txBody>
      <dsp:txXfrm>
        <a:off x="1050686" y="1987114"/>
        <a:ext cx="9543686" cy="993557"/>
      </dsp:txXfrm>
    </dsp:sp>
    <dsp:sp modelId="{A3C3655B-4060-427A-83D0-26278DC83493}">
      <dsp:nvSpPr>
        <dsp:cNvPr id="0" name=""/>
        <dsp:cNvSpPr/>
      </dsp:nvSpPr>
      <dsp:spPr>
        <a:xfrm>
          <a:off x="429713" y="1862919"/>
          <a:ext cx="1241946" cy="1241946"/>
        </a:xfrm>
        <a:prstGeom prst="ellipse">
          <a:avLst/>
        </a:prstGeom>
        <a:solidFill>
          <a:schemeClr val="lt1">
            <a:hueOff val="0"/>
            <a:satOff val="0"/>
            <a:lumOff val="0"/>
            <a:alphaOff val="0"/>
          </a:schemeClr>
        </a:solidFill>
        <a:ln w="12700" cap="flat" cmpd="sng" algn="ctr">
          <a:solidFill>
            <a:schemeClr val="accent2">
              <a:shade val="80000"/>
              <a:hueOff val="192020"/>
              <a:satOff val="-19219"/>
              <a:lumOff val="19715"/>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1B8771-0198-456E-845F-D44422DC62EB}">
      <dsp:nvSpPr>
        <dsp:cNvPr id="0" name=""/>
        <dsp:cNvSpPr/>
      </dsp:nvSpPr>
      <dsp:spPr>
        <a:xfrm>
          <a:off x="689528" y="3477449"/>
          <a:ext cx="9904844" cy="993557"/>
        </a:xfrm>
        <a:prstGeom prst="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863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b="0" i="0" kern="1200" dirty="0"/>
            <a:t>May be used outside of the procedure that created them. </a:t>
          </a:r>
          <a:endParaRPr lang="en-US" sz="2800" kern="1200" dirty="0"/>
        </a:p>
      </dsp:txBody>
      <dsp:txXfrm>
        <a:off x="689528" y="3477449"/>
        <a:ext cx="9904844" cy="993557"/>
      </dsp:txXfrm>
    </dsp:sp>
    <dsp:sp modelId="{B609696B-E2D8-4D55-9B62-58ABD26FF651}">
      <dsp:nvSpPr>
        <dsp:cNvPr id="0" name=""/>
        <dsp:cNvSpPr/>
      </dsp:nvSpPr>
      <dsp:spPr>
        <a:xfrm>
          <a:off x="68555" y="3353254"/>
          <a:ext cx="1241946" cy="1241946"/>
        </a:xfrm>
        <a:prstGeom prst="ellipse">
          <a:avLst/>
        </a:prstGeom>
        <a:solidFill>
          <a:schemeClr val="lt1">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E1925B-1E8A-4A4C-BED8-3A1950283B93}">
      <dsp:nvSpPr>
        <dsp:cNvPr id="0" name=""/>
        <dsp:cNvSpPr/>
      </dsp:nvSpPr>
      <dsp:spPr>
        <a:xfrm rot="10800000">
          <a:off x="2211270" y="1495"/>
          <a:ext cx="7347585" cy="1442250"/>
        </a:xfrm>
        <a:prstGeom prst="homePlate">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992"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Consider / test performance of statistics on Temp tables</a:t>
          </a:r>
        </a:p>
      </dsp:txBody>
      <dsp:txXfrm rot="10800000">
        <a:off x="2571832" y="1495"/>
        <a:ext cx="6987023" cy="1442250"/>
      </dsp:txXfrm>
    </dsp:sp>
    <dsp:sp modelId="{84BFE3BC-B229-4D15-AC42-4F533056DAB9}">
      <dsp:nvSpPr>
        <dsp:cNvPr id="0" name=""/>
        <dsp:cNvSpPr/>
      </dsp:nvSpPr>
      <dsp:spPr>
        <a:xfrm>
          <a:off x="1490144" y="1495"/>
          <a:ext cx="1442250" cy="1442250"/>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80B6F42-4A44-4CD2-A306-DC8616EEDE89}">
      <dsp:nvSpPr>
        <dsp:cNvPr id="0" name=""/>
        <dsp:cNvSpPr/>
      </dsp:nvSpPr>
      <dsp:spPr>
        <a:xfrm rot="10800000">
          <a:off x="2211270" y="1874268"/>
          <a:ext cx="7347585" cy="1442250"/>
        </a:xfrm>
        <a:prstGeom prst="homePlate">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992"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Overhead of stats creation may be outweighed by performance gains</a:t>
          </a:r>
        </a:p>
      </dsp:txBody>
      <dsp:txXfrm rot="10800000">
        <a:off x="2571832" y="1874268"/>
        <a:ext cx="6987023" cy="1442250"/>
      </dsp:txXfrm>
    </dsp:sp>
    <dsp:sp modelId="{6C28621C-6B0B-467E-BACA-885FEF1D1089}">
      <dsp:nvSpPr>
        <dsp:cNvPr id="0" name=""/>
        <dsp:cNvSpPr/>
      </dsp:nvSpPr>
      <dsp:spPr>
        <a:xfrm>
          <a:off x="1490144" y="1874268"/>
          <a:ext cx="1442250" cy="1442250"/>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00965B-08E9-4B07-A124-28F1E8441EEA}">
      <dsp:nvSpPr>
        <dsp:cNvPr id="0" name=""/>
        <dsp:cNvSpPr/>
      </dsp:nvSpPr>
      <dsp:spPr>
        <a:xfrm rot="10800000">
          <a:off x="2211270" y="3747041"/>
          <a:ext cx="7347585" cy="1442250"/>
        </a:xfrm>
        <a:prstGeom prst="homePlate">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992"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tatistics Auto-create does not include Temp tables</a:t>
          </a:r>
        </a:p>
      </dsp:txBody>
      <dsp:txXfrm rot="10800000">
        <a:off x="2571832" y="3747041"/>
        <a:ext cx="6987023" cy="1442250"/>
      </dsp:txXfrm>
    </dsp:sp>
    <dsp:sp modelId="{DA8D3A24-0599-4287-83FE-52DDC74A57E6}">
      <dsp:nvSpPr>
        <dsp:cNvPr id="0" name=""/>
        <dsp:cNvSpPr/>
      </dsp:nvSpPr>
      <dsp:spPr>
        <a:xfrm>
          <a:off x="1490144" y="3747041"/>
          <a:ext cx="1442250" cy="1442250"/>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78DE9C-2690-47AC-9E64-4DCEA9714A61}">
      <dsp:nvSpPr>
        <dsp:cNvPr id="0" name=""/>
        <dsp:cNvSpPr/>
      </dsp:nvSpPr>
      <dsp:spPr>
        <a:xfrm>
          <a:off x="0" y="630824"/>
          <a:ext cx="10731051" cy="79794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Can be used to load data into SQL Pool</a:t>
          </a:r>
        </a:p>
      </dsp:txBody>
      <dsp:txXfrm>
        <a:off x="38952" y="669776"/>
        <a:ext cx="10653147" cy="720036"/>
      </dsp:txXfrm>
    </dsp:sp>
    <dsp:sp modelId="{6C501E96-417C-43EE-A157-B88F116BF800}">
      <dsp:nvSpPr>
        <dsp:cNvPr id="0" name=""/>
        <dsp:cNvSpPr/>
      </dsp:nvSpPr>
      <dsp:spPr>
        <a:xfrm>
          <a:off x="0" y="1518044"/>
          <a:ext cx="10731051" cy="79794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External Tables are references to the data in external storage</a:t>
          </a:r>
        </a:p>
      </dsp:txBody>
      <dsp:txXfrm>
        <a:off x="38952" y="1556996"/>
        <a:ext cx="10653147" cy="720036"/>
      </dsp:txXfrm>
    </dsp:sp>
    <dsp:sp modelId="{2E8D5F13-C174-4702-A8BC-D9769480C70F}">
      <dsp:nvSpPr>
        <dsp:cNvPr id="0" name=""/>
        <dsp:cNvSpPr/>
      </dsp:nvSpPr>
      <dsp:spPr>
        <a:xfrm>
          <a:off x="0" y="2405264"/>
          <a:ext cx="10731051" cy="79794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Defining External tables includes:</a:t>
          </a:r>
        </a:p>
      </dsp:txBody>
      <dsp:txXfrm>
        <a:off x="38952" y="2444216"/>
        <a:ext cx="10653147" cy="720036"/>
      </dsp:txXfrm>
    </dsp:sp>
    <dsp:sp modelId="{3953DB35-A2EC-4D57-A6D5-7A658ECBFC38}">
      <dsp:nvSpPr>
        <dsp:cNvPr id="0" name=""/>
        <dsp:cNvSpPr/>
      </dsp:nvSpPr>
      <dsp:spPr>
        <a:xfrm>
          <a:off x="0" y="3203204"/>
          <a:ext cx="10731051" cy="1347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0711"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noProof="0"/>
            <a:t>Specifying the data source</a:t>
          </a:r>
          <a:endParaRPr lang="en-US" sz="2400" kern="1200" dirty="0"/>
        </a:p>
        <a:p>
          <a:pPr marL="228600" lvl="1" indent="-228600" algn="l" defTabSz="1066800">
            <a:lnSpc>
              <a:spcPct val="90000"/>
            </a:lnSpc>
            <a:spcBef>
              <a:spcPct val="0"/>
            </a:spcBef>
            <a:spcAft>
              <a:spcPct val="20000"/>
            </a:spcAft>
            <a:buChar char="•"/>
          </a:pPr>
          <a:r>
            <a:rPr lang="en-US" sz="2400" kern="1200" noProof="0" dirty="0"/>
            <a:t>Specifying the format of the files</a:t>
          </a:r>
        </a:p>
        <a:p>
          <a:pPr marL="228600" lvl="1" indent="-228600" algn="l" defTabSz="1066800">
            <a:lnSpc>
              <a:spcPct val="90000"/>
            </a:lnSpc>
            <a:spcBef>
              <a:spcPct val="0"/>
            </a:spcBef>
            <a:spcAft>
              <a:spcPct val="20000"/>
            </a:spcAft>
            <a:buChar char="•"/>
          </a:pPr>
          <a:r>
            <a:rPr lang="en-US" sz="2400" kern="1200" noProof="0" dirty="0"/>
            <a:t>Specifying the table definition</a:t>
          </a:r>
        </a:p>
      </dsp:txBody>
      <dsp:txXfrm>
        <a:off x="0" y="3203204"/>
        <a:ext cx="10731051" cy="134757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825534"/>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ere are stored temporary tables?</a:t>
          </a:r>
          <a:endParaRPr lang="en-US" sz="2000" kern="1200" dirty="0"/>
        </a:p>
      </dsp:txBody>
      <dsp:txXfrm>
        <a:off x="0" y="1530213"/>
        <a:ext cx="3100581" cy="1530213"/>
      </dsp:txXfrm>
    </dsp:sp>
    <dsp:sp modelId="{41B5F4A1-82D4-4720-8B78-273D2F9A3449}">
      <dsp:nvSpPr>
        <dsp:cNvPr id="0" name=""/>
        <dsp:cNvSpPr/>
      </dsp:nvSpPr>
      <dsp:spPr>
        <a:xfrm>
          <a:off x="913339" y="229532"/>
          <a:ext cx="1273902" cy="127390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60427"/>
          <a:ext cx="2852534" cy="573830"/>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82553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baseline="0" dirty="0"/>
            <a:t>If </a:t>
          </a:r>
          <a:r>
            <a:rPr lang="en-US" sz="1800" kern="1200" baseline="0" dirty="0" err="1"/>
            <a:t>auto_create_statistics</a:t>
          </a:r>
          <a:r>
            <a:rPr lang="en-US" sz="1800" kern="1200" baseline="0" dirty="0"/>
            <a:t> is On, statistics are created automatically on temporary or external tables?</a:t>
          </a:r>
          <a:endParaRPr lang="en-US" sz="1800" kern="1200" dirty="0"/>
        </a:p>
      </dsp:txBody>
      <dsp:txXfrm>
        <a:off x="0" y="1530213"/>
        <a:ext cx="3100579" cy="1530213"/>
      </dsp:txXfrm>
    </dsp:sp>
    <dsp:sp modelId="{41B5F4A1-82D4-4720-8B78-273D2F9A3449}">
      <dsp:nvSpPr>
        <dsp:cNvPr id="0" name=""/>
        <dsp:cNvSpPr/>
      </dsp:nvSpPr>
      <dsp:spPr>
        <a:xfrm>
          <a:off x="913338" y="229532"/>
          <a:ext cx="1273902" cy="127390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60427"/>
          <a:ext cx="2852532" cy="573830"/>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825534"/>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Is the storage and persistence of external tables controlled by the SQL Pool?</a:t>
          </a:r>
        </a:p>
      </dsp:txBody>
      <dsp:txXfrm>
        <a:off x="0" y="1530213"/>
        <a:ext cx="3100579" cy="1530213"/>
      </dsp:txXfrm>
    </dsp:sp>
    <dsp:sp modelId="{41B5F4A1-82D4-4720-8B78-273D2F9A3449}">
      <dsp:nvSpPr>
        <dsp:cNvPr id="0" name=""/>
        <dsp:cNvSpPr/>
      </dsp:nvSpPr>
      <dsp:spPr>
        <a:xfrm>
          <a:off x="913338" y="229532"/>
          <a:ext cx="1273902" cy="127390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60427"/>
          <a:ext cx="2852532" cy="573830"/>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351B19-08F0-4C2C-8F63-989223C386D2}">
      <dsp:nvSpPr>
        <dsp:cNvPr id="0" name=""/>
        <dsp:cNvSpPr/>
      </dsp:nvSpPr>
      <dsp:spPr>
        <a:xfrm>
          <a:off x="5388" y="238296"/>
          <a:ext cx="2756268" cy="10766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76200" rIns="213360" bIns="76200" numCol="1" spcCol="1270" anchor="ctr" anchorCtr="0">
          <a:noAutofit/>
        </a:bodyPr>
        <a:lstStyle/>
        <a:p>
          <a:pPr marL="0" lvl="0" indent="0" algn="r" defTabSz="1333500">
            <a:lnSpc>
              <a:spcPct val="90000"/>
            </a:lnSpc>
            <a:spcBef>
              <a:spcPct val="0"/>
            </a:spcBef>
            <a:spcAft>
              <a:spcPct val="35000"/>
            </a:spcAft>
            <a:buNone/>
          </a:pPr>
          <a:r>
            <a:rPr lang="en-US" sz="3000" kern="1200" dirty="0"/>
            <a:t>SQL Server Views</a:t>
          </a:r>
          <a:endParaRPr lang="es-ES" sz="3000" kern="1200" dirty="0"/>
        </a:p>
      </dsp:txBody>
      <dsp:txXfrm>
        <a:off x="5388" y="238296"/>
        <a:ext cx="2756268" cy="1076625"/>
      </dsp:txXfrm>
    </dsp:sp>
    <dsp:sp modelId="{7762F982-9F6D-4E5B-BE3C-F544ABAA2BEC}">
      <dsp:nvSpPr>
        <dsp:cNvPr id="0" name=""/>
        <dsp:cNvSpPr/>
      </dsp:nvSpPr>
      <dsp:spPr>
        <a:xfrm>
          <a:off x="2761657" y="154184"/>
          <a:ext cx="551253" cy="1244847"/>
        </a:xfrm>
        <a:prstGeom prst="leftBrace">
          <a:avLst>
            <a:gd name="adj1" fmla="val 35000"/>
            <a:gd name="adj2" fmla="val 50000"/>
          </a:avLst>
        </a:prstGeom>
        <a:no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7B5C5A0-4510-4DA4-9067-F2D67665D8B2}">
      <dsp:nvSpPr>
        <dsp:cNvPr id="0" name=""/>
        <dsp:cNvSpPr/>
      </dsp:nvSpPr>
      <dsp:spPr>
        <a:xfrm>
          <a:off x="3533412" y="154184"/>
          <a:ext cx="7497050" cy="1244847"/>
        </a:xfrm>
        <a:prstGeom prst="rect">
          <a:avLst/>
        </a:prstGeom>
        <a:solidFill>
          <a:schemeClr val="accent2">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285750" lvl="1" indent="-285750" algn="l" defTabSz="1333500">
            <a:lnSpc>
              <a:spcPct val="90000"/>
            </a:lnSpc>
            <a:spcBef>
              <a:spcPct val="0"/>
            </a:spcBef>
            <a:spcAft>
              <a:spcPct val="15000"/>
            </a:spcAft>
            <a:buNone/>
          </a:pPr>
          <a:r>
            <a:rPr lang="en-US" sz="3000" kern="1200" dirty="0">
              <a:latin typeface="+mn-lt"/>
            </a:rPr>
            <a:t>Are ‘compiled’ objects</a:t>
          </a:r>
          <a:endParaRPr lang="es-ES" sz="3000" kern="1200" dirty="0">
            <a:latin typeface="+mn-lt"/>
          </a:endParaRPr>
        </a:p>
        <a:p>
          <a:pPr marL="285750" lvl="1" indent="-285750" algn="l" defTabSz="1333500">
            <a:lnSpc>
              <a:spcPct val="90000"/>
            </a:lnSpc>
            <a:spcBef>
              <a:spcPct val="0"/>
            </a:spcBef>
            <a:spcAft>
              <a:spcPct val="15000"/>
            </a:spcAft>
            <a:buChar char="•"/>
          </a:pPr>
          <a:r>
            <a:rPr lang="en-US" sz="3000" kern="1200" dirty="0">
              <a:latin typeface="+mn-lt"/>
            </a:rPr>
            <a:t>Tied to the referenced tables / views</a:t>
          </a:r>
        </a:p>
      </dsp:txBody>
      <dsp:txXfrm>
        <a:off x="3533412" y="154184"/>
        <a:ext cx="7497050" cy="1244847"/>
      </dsp:txXfrm>
    </dsp:sp>
    <dsp:sp modelId="{A459BC2A-8F98-4BCA-905D-41EB4D1B6C1E}">
      <dsp:nvSpPr>
        <dsp:cNvPr id="0" name=""/>
        <dsp:cNvSpPr/>
      </dsp:nvSpPr>
      <dsp:spPr>
        <a:xfrm>
          <a:off x="5388" y="2315661"/>
          <a:ext cx="2756268" cy="1522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76200" rIns="213360" bIns="76200" numCol="1" spcCol="1270" anchor="ctr" anchorCtr="0">
          <a:noAutofit/>
        </a:bodyPr>
        <a:lstStyle/>
        <a:p>
          <a:pPr marL="0" lvl="0" indent="0" algn="r" defTabSz="1333500">
            <a:lnSpc>
              <a:spcPct val="90000"/>
            </a:lnSpc>
            <a:spcBef>
              <a:spcPct val="0"/>
            </a:spcBef>
            <a:spcAft>
              <a:spcPct val="35000"/>
            </a:spcAft>
            <a:buNone/>
          </a:pPr>
          <a:r>
            <a:rPr lang="en-US" sz="3000" kern="1200" dirty="0"/>
            <a:t>SQL Pool Standard Views</a:t>
          </a:r>
        </a:p>
      </dsp:txBody>
      <dsp:txXfrm>
        <a:off x="5388" y="2315661"/>
        <a:ext cx="2756268" cy="1522125"/>
      </dsp:txXfrm>
    </dsp:sp>
    <dsp:sp modelId="{675219C7-64B9-4A3B-9DB4-49E5E68F3DE9}">
      <dsp:nvSpPr>
        <dsp:cNvPr id="0" name=""/>
        <dsp:cNvSpPr/>
      </dsp:nvSpPr>
      <dsp:spPr>
        <a:xfrm>
          <a:off x="2761657" y="1507032"/>
          <a:ext cx="551253" cy="3139382"/>
        </a:xfrm>
        <a:prstGeom prst="leftBrace">
          <a:avLst>
            <a:gd name="adj1" fmla="val 35000"/>
            <a:gd name="adj2" fmla="val 50000"/>
          </a:avLst>
        </a:prstGeom>
        <a:no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A41E63-2623-4D9F-B6E1-66BD9A6325EE}">
      <dsp:nvSpPr>
        <dsp:cNvPr id="0" name=""/>
        <dsp:cNvSpPr/>
      </dsp:nvSpPr>
      <dsp:spPr>
        <a:xfrm>
          <a:off x="3533412" y="1507032"/>
          <a:ext cx="7497050" cy="3139382"/>
        </a:xfrm>
        <a:prstGeom prst="rect">
          <a:avLst/>
        </a:prstGeom>
        <a:solidFill>
          <a:schemeClr val="accent2">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a:latin typeface="+mn-lt"/>
            </a:rPr>
            <a:t>Are conceptualized as defined subqueries</a:t>
          </a:r>
        </a:p>
        <a:p>
          <a:pPr marL="285750" lvl="1" indent="-285750" algn="l" defTabSz="1333500">
            <a:lnSpc>
              <a:spcPct val="90000"/>
            </a:lnSpc>
            <a:spcBef>
              <a:spcPct val="0"/>
            </a:spcBef>
            <a:spcAft>
              <a:spcPct val="15000"/>
            </a:spcAft>
            <a:buChar char="•"/>
          </a:pPr>
          <a:r>
            <a:rPr lang="en-US" sz="3000" kern="1200" dirty="0">
              <a:latin typeface="+mn-lt"/>
            </a:rPr>
            <a:t>Are not compiled and tied to the referenced tables / views</a:t>
          </a:r>
        </a:p>
        <a:p>
          <a:pPr marL="285750" lvl="1" indent="-285750" algn="l" defTabSz="1333500">
            <a:lnSpc>
              <a:spcPct val="90000"/>
            </a:lnSpc>
            <a:spcBef>
              <a:spcPct val="0"/>
            </a:spcBef>
            <a:spcAft>
              <a:spcPct val="15000"/>
            </a:spcAft>
            <a:buChar char="•"/>
          </a:pPr>
          <a:r>
            <a:rPr lang="en-US" sz="3000" kern="1200" dirty="0">
              <a:latin typeface="+mn-lt"/>
            </a:rPr>
            <a:t>SQL Pool Views are fully expanded by the MPP Query optimizer when creating the distributed query plan</a:t>
          </a:r>
        </a:p>
      </dsp:txBody>
      <dsp:txXfrm>
        <a:off x="3533412" y="1507032"/>
        <a:ext cx="7497050" cy="3139382"/>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BB23B-F526-4CC5-A793-70B42E7A7579}">
      <dsp:nvSpPr>
        <dsp:cNvPr id="0" name=""/>
        <dsp:cNvSpPr/>
      </dsp:nvSpPr>
      <dsp:spPr>
        <a:xfrm>
          <a:off x="0" y="499965"/>
          <a:ext cx="10667999" cy="8494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Reusability requires avoiding business logic duplication</a:t>
          </a:r>
          <a:endParaRPr lang="es-ES" sz="3300" kern="1200" dirty="0"/>
        </a:p>
      </dsp:txBody>
      <dsp:txXfrm>
        <a:off x="41465" y="541430"/>
        <a:ext cx="10585069" cy="766490"/>
      </dsp:txXfrm>
    </dsp:sp>
    <dsp:sp modelId="{A38D388C-190E-4E96-97B1-611B962DAED3}">
      <dsp:nvSpPr>
        <dsp:cNvPr id="0" name=""/>
        <dsp:cNvSpPr/>
      </dsp:nvSpPr>
      <dsp:spPr>
        <a:xfrm>
          <a:off x="0" y="1349385"/>
          <a:ext cx="10667999" cy="1366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709"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Avoid combining all variations of business logic into single view</a:t>
          </a:r>
        </a:p>
        <a:p>
          <a:pPr marL="228600" lvl="1" indent="-228600" algn="l" defTabSz="1155700">
            <a:lnSpc>
              <a:spcPct val="90000"/>
            </a:lnSpc>
            <a:spcBef>
              <a:spcPct val="0"/>
            </a:spcBef>
            <a:spcAft>
              <a:spcPct val="20000"/>
            </a:spcAft>
            <a:buChar char="•"/>
          </a:pPr>
          <a:r>
            <a:rPr lang="en-US" sz="2600" kern="1200" dirty="0"/>
            <a:t>Avoid creating create a complex view, with large number of columns ( ‘Omnibus’ View)</a:t>
          </a:r>
        </a:p>
      </dsp:txBody>
      <dsp:txXfrm>
        <a:off x="0" y="1349385"/>
        <a:ext cx="10667999" cy="1366200"/>
      </dsp:txXfrm>
    </dsp:sp>
    <dsp:sp modelId="{528195A0-CDFC-44ED-8C55-150349881DF4}">
      <dsp:nvSpPr>
        <dsp:cNvPr id="0" name=""/>
        <dsp:cNvSpPr/>
      </dsp:nvSpPr>
      <dsp:spPr>
        <a:xfrm>
          <a:off x="0" y="2715585"/>
          <a:ext cx="10667999" cy="84942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Omnibus Views can cause excessive Data Movement</a:t>
          </a:r>
        </a:p>
      </dsp:txBody>
      <dsp:txXfrm>
        <a:off x="41465" y="2757050"/>
        <a:ext cx="10585069" cy="766490"/>
      </dsp:txXfrm>
    </dsp:sp>
    <dsp:sp modelId="{037B6061-F788-4E0C-ABE1-D539B532FF40}">
      <dsp:nvSpPr>
        <dsp:cNvPr id="0" name=""/>
        <dsp:cNvSpPr/>
      </dsp:nvSpPr>
      <dsp:spPr>
        <a:xfrm>
          <a:off x="0" y="3565005"/>
          <a:ext cx="10667999" cy="888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709"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latin typeface="+mn-lt"/>
            </a:rPr>
            <a:t>MPP Query optimizer may move all view columns, even if only a small subset is needed</a:t>
          </a:r>
        </a:p>
      </dsp:txBody>
      <dsp:txXfrm>
        <a:off x="0" y="3565005"/>
        <a:ext cx="10667999" cy="888030"/>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E05B11-E180-41D4-8238-1015FF79F296}">
      <dsp:nvSpPr>
        <dsp:cNvPr id="0" name=""/>
        <dsp:cNvSpPr/>
      </dsp:nvSpPr>
      <dsp:spPr>
        <a:xfrm>
          <a:off x="0" y="112800"/>
          <a:ext cx="10959651" cy="87516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Avoid the creation of Omnibus Views, if possible.</a:t>
          </a:r>
          <a:endParaRPr lang="es-ES" sz="3400" kern="1200" dirty="0"/>
        </a:p>
      </dsp:txBody>
      <dsp:txXfrm>
        <a:off x="42722" y="155522"/>
        <a:ext cx="10874207" cy="789716"/>
      </dsp:txXfrm>
    </dsp:sp>
    <dsp:sp modelId="{59784C39-C425-4E6F-909C-1B9E18432563}">
      <dsp:nvSpPr>
        <dsp:cNvPr id="0" name=""/>
        <dsp:cNvSpPr/>
      </dsp:nvSpPr>
      <dsp:spPr>
        <a:xfrm>
          <a:off x="0" y="1085880"/>
          <a:ext cx="10959651" cy="87516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Create focused views with fewer columns</a:t>
          </a:r>
        </a:p>
      </dsp:txBody>
      <dsp:txXfrm>
        <a:off x="42722" y="1128602"/>
        <a:ext cx="10874207" cy="789716"/>
      </dsp:txXfrm>
    </dsp:sp>
    <dsp:sp modelId="{93287258-1A23-4E35-A4B5-8DEFEF0DE40F}">
      <dsp:nvSpPr>
        <dsp:cNvPr id="0" name=""/>
        <dsp:cNvSpPr/>
      </dsp:nvSpPr>
      <dsp:spPr>
        <a:xfrm>
          <a:off x="0" y="2058960"/>
          <a:ext cx="10959651" cy="87516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Use views to abstract tables for loading / maintenance</a:t>
          </a:r>
        </a:p>
      </dsp:txBody>
      <dsp:txXfrm>
        <a:off x="42722" y="2101682"/>
        <a:ext cx="10874207" cy="789716"/>
      </dsp:txXfrm>
    </dsp:sp>
    <dsp:sp modelId="{3B8F708E-DD22-41DB-9724-F4C54F1A1771}">
      <dsp:nvSpPr>
        <dsp:cNvPr id="0" name=""/>
        <dsp:cNvSpPr/>
      </dsp:nvSpPr>
      <dsp:spPr>
        <a:xfrm>
          <a:off x="0" y="2934120"/>
          <a:ext cx="10959651" cy="1829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969"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As a ‘defined subquery’ concept, views are not tied to the referenced tables</a:t>
          </a:r>
        </a:p>
        <a:p>
          <a:pPr marL="228600" lvl="1" indent="-228600" algn="l" defTabSz="1200150">
            <a:lnSpc>
              <a:spcPct val="90000"/>
            </a:lnSpc>
            <a:spcBef>
              <a:spcPct val="0"/>
            </a:spcBef>
            <a:spcAft>
              <a:spcPct val="20000"/>
            </a:spcAft>
            <a:buChar char="•"/>
          </a:pPr>
          <a:r>
            <a:rPr lang="en-US" sz="2700" kern="1200" dirty="0"/>
            <a:t>Referenced tables can be recreated / replaced by maintenance tasks without invalidating the View.</a:t>
          </a:r>
        </a:p>
      </dsp:txBody>
      <dsp:txXfrm>
        <a:off x="0" y="2934120"/>
        <a:ext cx="10959651" cy="1829880"/>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3FE6E5-C8FC-4E21-9733-98BF0B5146BD}">
      <dsp:nvSpPr>
        <dsp:cNvPr id="0" name=""/>
        <dsp:cNvSpPr/>
      </dsp:nvSpPr>
      <dsp:spPr>
        <a:xfrm>
          <a:off x="6968" y="289097"/>
          <a:ext cx="4876562" cy="6872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noProof="0" dirty="0"/>
            <a:t>Standard Views</a:t>
          </a:r>
        </a:p>
      </dsp:txBody>
      <dsp:txXfrm>
        <a:off x="6968" y="289097"/>
        <a:ext cx="4876562" cy="687277"/>
      </dsp:txXfrm>
    </dsp:sp>
    <dsp:sp modelId="{62665BD0-4CEA-4104-A566-930822A9879F}">
      <dsp:nvSpPr>
        <dsp:cNvPr id="0" name=""/>
        <dsp:cNvSpPr/>
      </dsp:nvSpPr>
      <dsp:spPr>
        <a:xfrm>
          <a:off x="3420" y="976374"/>
          <a:ext cx="4883658" cy="3687529"/>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noProof="0" dirty="0"/>
            <a:t>View definition stored in SQL Pool</a:t>
          </a:r>
        </a:p>
        <a:p>
          <a:pPr marL="228600" lvl="1" indent="-228600" algn="l" defTabSz="889000">
            <a:lnSpc>
              <a:spcPct val="90000"/>
            </a:lnSpc>
            <a:spcBef>
              <a:spcPct val="0"/>
            </a:spcBef>
            <a:spcAft>
              <a:spcPct val="15000"/>
            </a:spcAft>
            <a:buChar char="•"/>
          </a:pPr>
          <a:r>
            <a:rPr lang="en-US" sz="2000" kern="1200" noProof="0" dirty="0"/>
            <a:t>View content generated each time the view is used (by executing the associated query)</a:t>
          </a:r>
        </a:p>
        <a:p>
          <a:pPr marL="228600" lvl="1" indent="-228600" algn="l" defTabSz="889000">
            <a:lnSpc>
              <a:spcPct val="90000"/>
            </a:lnSpc>
            <a:spcBef>
              <a:spcPct val="0"/>
            </a:spcBef>
            <a:spcAft>
              <a:spcPct val="15000"/>
            </a:spcAft>
            <a:buChar char="•"/>
          </a:pPr>
          <a:r>
            <a:rPr lang="en-US" sz="2000" kern="1200" noProof="0" dirty="0"/>
            <a:t>No performance benefit to retrieve view data from complex queries</a:t>
          </a:r>
        </a:p>
        <a:p>
          <a:pPr marL="228600" lvl="1" indent="-228600" algn="l" defTabSz="889000">
            <a:lnSpc>
              <a:spcPct val="90000"/>
            </a:lnSpc>
            <a:spcBef>
              <a:spcPct val="0"/>
            </a:spcBef>
            <a:spcAft>
              <a:spcPct val="15000"/>
            </a:spcAft>
            <a:buChar char="•"/>
          </a:pPr>
          <a:r>
            <a:rPr lang="en-US" sz="2000" kern="1200" noProof="0" dirty="0"/>
            <a:t>Does not require additional storage</a:t>
          </a:r>
        </a:p>
      </dsp:txBody>
      <dsp:txXfrm>
        <a:off x="3420" y="976374"/>
        <a:ext cx="4883658" cy="3687529"/>
      </dsp:txXfrm>
    </dsp:sp>
    <dsp:sp modelId="{369D0B2C-E428-413E-B302-FB583B06092B}">
      <dsp:nvSpPr>
        <dsp:cNvPr id="0" name=""/>
        <dsp:cNvSpPr/>
      </dsp:nvSpPr>
      <dsp:spPr>
        <a:xfrm>
          <a:off x="5504114" y="289097"/>
          <a:ext cx="4703264" cy="6872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noProof="0" dirty="0"/>
            <a:t>Materialized Views</a:t>
          </a:r>
        </a:p>
      </dsp:txBody>
      <dsp:txXfrm>
        <a:off x="5504114" y="289097"/>
        <a:ext cx="4703264" cy="687277"/>
      </dsp:txXfrm>
    </dsp:sp>
    <dsp:sp modelId="{CEBA7AA9-03FA-44ED-833C-7A263122057E}">
      <dsp:nvSpPr>
        <dsp:cNvPr id="0" name=""/>
        <dsp:cNvSpPr/>
      </dsp:nvSpPr>
      <dsp:spPr>
        <a:xfrm>
          <a:off x="5504643" y="976374"/>
          <a:ext cx="4702206" cy="3687529"/>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noProof="0" dirty="0"/>
            <a:t>View definition stored in SQL Pool</a:t>
          </a:r>
        </a:p>
        <a:p>
          <a:pPr marL="228600" lvl="1" indent="-228600" algn="l" defTabSz="889000">
            <a:lnSpc>
              <a:spcPct val="90000"/>
            </a:lnSpc>
            <a:spcBef>
              <a:spcPct val="0"/>
            </a:spcBef>
            <a:spcAft>
              <a:spcPct val="15000"/>
            </a:spcAft>
            <a:buChar char="•"/>
          </a:pPr>
          <a:r>
            <a:rPr lang="en-US" sz="2000" kern="1200" noProof="0" dirty="0"/>
            <a:t>View content is pre-processed and stored in SQL Pool during view creation</a:t>
          </a:r>
        </a:p>
        <a:p>
          <a:pPr marL="228600" lvl="1" indent="-228600" algn="l" defTabSz="889000">
            <a:lnSpc>
              <a:spcPct val="90000"/>
            </a:lnSpc>
            <a:spcBef>
              <a:spcPct val="0"/>
            </a:spcBef>
            <a:spcAft>
              <a:spcPct val="15000"/>
            </a:spcAft>
            <a:buChar char="•"/>
          </a:pPr>
          <a:r>
            <a:rPr lang="en-US" sz="2000" kern="1200" noProof="0" dirty="0"/>
            <a:t>View content is updated as data gets modified in the underlying tables</a:t>
          </a:r>
        </a:p>
        <a:p>
          <a:pPr marL="228600" lvl="1" indent="-228600" algn="l" defTabSz="889000">
            <a:lnSpc>
              <a:spcPct val="90000"/>
            </a:lnSpc>
            <a:spcBef>
              <a:spcPct val="0"/>
            </a:spcBef>
            <a:spcAft>
              <a:spcPct val="15000"/>
            </a:spcAft>
            <a:buChar char="•"/>
          </a:pPr>
          <a:r>
            <a:rPr lang="en-US" sz="2000" kern="1200" noProof="0" dirty="0"/>
            <a:t>Fast to retrieve data from complex queries</a:t>
          </a:r>
        </a:p>
        <a:p>
          <a:pPr marL="228600" lvl="1" indent="-228600" algn="l" defTabSz="889000">
            <a:lnSpc>
              <a:spcPct val="90000"/>
            </a:lnSpc>
            <a:spcBef>
              <a:spcPct val="0"/>
            </a:spcBef>
            <a:spcAft>
              <a:spcPct val="15000"/>
            </a:spcAft>
            <a:buChar char="•"/>
          </a:pPr>
          <a:r>
            <a:rPr lang="en-US" sz="2000" kern="1200" noProof="0" dirty="0"/>
            <a:t>Requires extra storage</a:t>
          </a:r>
        </a:p>
      </dsp:txBody>
      <dsp:txXfrm>
        <a:off x="5504643" y="976374"/>
        <a:ext cx="4702206" cy="36875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875E4-C0CC-44D9-8791-3D70B8F8E8E6}">
      <dsp:nvSpPr>
        <dsp:cNvPr id="0" name=""/>
        <dsp:cNvSpPr/>
      </dsp:nvSpPr>
      <dsp:spPr>
        <a:xfrm rot="5400000">
          <a:off x="2262840" y="22785"/>
          <a:ext cx="3093929" cy="3585699"/>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Deterministic </a:t>
          </a:r>
        </a:p>
        <a:p>
          <a:pPr marL="228600" lvl="1" indent="-228600" algn="l" defTabSz="1066800">
            <a:lnSpc>
              <a:spcPct val="90000"/>
            </a:lnSpc>
            <a:spcBef>
              <a:spcPct val="0"/>
            </a:spcBef>
            <a:spcAft>
              <a:spcPct val="15000"/>
            </a:spcAft>
            <a:buChar char="•"/>
          </a:pPr>
          <a:r>
            <a:rPr lang="en-US" sz="2400" kern="1200" dirty="0"/>
            <a:t>Consistent across the whole database</a:t>
          </a:r>
        </a:p>
      </dsp:txBody>
      <dsp:txXfrm rot="-5400000">
        <a:off x="2016956" y="419703"/>
        <a:ext cx="3434666" cy="2791863"/>
      </dsp:txXfrm>
    </dsp:sp>
    <dsp:sp modelId="{8688B365-703D-4425-B132-39AED29BF5AB}">
      <dsp:nvSpPr>
        <dsp:cNvPr id="0" name=""/>
        <dsp:cNvSpPr/>
      </dsp:nvSpPr>
      <dsp:spPr>
        <a:xfrm>
          <a:off x="0" y="0"/>
          <a:ext cx="2016955" cy="363127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Hash Function is:</a:t>
          </a:r>
        </a:p>
      </dsp:txBody>
      <dsp:txXfrm>
        <a:off x="98460" y="98460"/>
        <a:ext cx="1820035" cy="3434350"/>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C9ADEF-DAA2-4470-B813-30DA51912AD3}">
      <dsp:nvSpPr>
        <dsp:cNvPr id="0" name=""/>
        <dsp:cNvSpPr/>
      </dsp:nvSpPr>
      <dsp:spPr>
        <a:xfrm>
          <a:off x="0" y="8797"/>
          <a:ext cx="11125199" cy="142857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Abstract complex and / or expensive aggregation query logic</a:t>
          </a:r>
          <a:endParaRPr lang="es-ES" sz="3300" kern="1200" dirty="0"/>
        </a:p>
      </dsp:txBody>
      <dsp:txXfrm>
        <a:off x="69737" y="78534"/>
        <a:ext cx="10985725" cy="1289096"/>
      </dsp:txXfrm>
    </dsp:sp>
    <dsp:sp modelId="{B86ED969-65CD-48CF-AA9E-EF0E9D8E0607}">
      <dsp:nvSpPr>
        <dsp:cNvPr id="0" name=""/>
        <dsp:cNvSpPr/>
      </dsp:nvSpPr>
      <dsp:spPr>
        <a:xfrm>
          <a:off x="0" y="1437368"/>
          <a:ext cx="11125199" cy="14686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225"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Eliminate run-time data movement</a:t>
          </a:r>
        </a:p>
        <a:p>
          <a:pPr marL="228600" lvl="1" indent="-228600" algn="l" defTabSz="1155700">
            <a:lnSpc>
              <a:spcPct val="90000"/>
            </a:lnSpc>
            <a:spcBef>
              <a:spcPct val="0"/>
            </a:spcBef>
            <a:spcAft>
              <a:spcPct val="20000"/>
            </a:spcAft>
            <a:buChar char="•"/>
          </a:pPr>
          <a:r>
            <a:rPr lang="en-US" sz="2600" kern="1200" dirty="0"/>
            <a:t>Reduction in run-time execution time</a:t>
          </a:r>
        </a:p>
        <a:p>
          <a:pPr marL="228600" lvl="1" indent="-228600" algn="l" defTabSz="1155700">
            <a:lnSpc>
              <a:spcPct val="90000"/>
            </a:lnSpc>
            <a:spcBef>
              <a:spcPct val="0"/>
            </a:spcBef>
            <a:spcAft>
              <a:spcPct val="20000"/>
            </a:spcAft>
            <a:buChar char="•"/>
          </a:pPr>
          <a:r>
            <a:rPr lang="en-US" sz="2600" kern="1200" dirty="0"/>
            <a:t>Reduction in run-time query cost</a:t>
          </a:r>
        </a:p>
      </dsp:txBody>
      <dsp:txXfrm>
        <a:off x="0" y="1437368"/>
        <a:ext cx="11125199" cy="1468665"/>
      </dsp:txXfrm>
    </dsp:sp>
    <dsp:sp modelId="{7840B855-7552-408D-AEE7-A7668BDEA598}">
      <dsp:nvSpPr>
        <dsp:cNvPr id="0" name=""/>
        <dsp:cNvSpPr/>
      </dsp:nvSpPr>
      <dsp:spPr>
        <a:xfrm>
          <a:off x="0" y="2906033"/>
          <a:ext cx="11125199" cy="142857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Performance Tuning of existing queries, without refactoring</a:t>
          </a:r>
        </a:p>
      </dsp:txBody>
      <dsp:txXfrm>
        <a:off x="69737" y="2975770"/>
        <a:ext cx="10985725" cy="1289096"/>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2A5516-93D7-4316-8B2C-C43B8EC2F6CE}">
      <dsp:nvSpPr>
        <dsp:cNvPr id="0" name=""/>
        <dsp:cNvSpPr/>
      </dsp:nvSpPr>
      <dsp:spPr>
        <a:xfrm>
          <a:off x="0" y="151005"/>
          <a:ext cx="10820398" cy="7207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CREATE MATERIALIZED VIEW AS SELECT …  </a:t>
          </a:r>
          <a:endParaRPr lang="es-ES" sz="2800" kern="1200" dirty="0"/>
        </a:p>
      </dsp:txBody>
      <dsp:txXfrm>
        <a:off x="35183" y="186188"/>
        <a:ext cx="10750032" cy="650354"/>
      </dsp:txXfrm>
    </dsp:sp>
    <dsp:sp modelId="{DF007FE1-6BDB-4E6E-BB56-B0D8EF9019C0}">
      <dsp:nvSpPr>
        <dsp:cNvPr id="0" name=""/>
        <dsp:cNvSpPr/>
      </dsp:nvSpPr>
      <dsp:spPr>
        <a:xfrm>
          <a:off x="0" y="952365"/>
          <a:ext cx="10820398" cy="720720"/>
        </a:xfrm>
        <a:prstGeom prst="roundRect">
          <a:avLst/>
        </a:prstGeom>
        <a:solidFill>
          <a:schemeClr val="accent2">
            <a:shade val="80000"/>
            <a:hueOff val="96010"/>
            <a:satOff val="-9610"/>
            <a:lumOff val="9858"/>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View must be defined as Distributed</a:t>
          </a:r>
        </a:p>
      </dsp:txBody>
      <dsp:txXfrm>
        <a:off x="35183" y="987548"/>
        <a:ext cx="10750032" cy="650354"/>
      </dsp:txXfrm>
    </dsp:sp>
    <dsp:sp modelId="{9413C77D-EACE-43BB-B7BB-4AE6769B1BDA}">
      <dsp:nvSpPr>
        <dsp:cNvPr id="0" name=""/>
        <dsp:cNvSpPr/>
      </dsp:nvSpPr>
      <dsp:spPr>
        <a:xfrm>
          <a:off x="0" y="1673085"/>
          <a:ext cx="10820398"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3548"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HASH distributed</a:t>
          </a:r>
        </a:p>
        <a:p>
          <a:pPr marL="228600" lvl="1" indent="-228600" algn="l" defTabSz="977900">
            <a:lnSpc>
              <a:spcPct val="90000"/>
            </a:lnSpc>
            <a:spcBef>
              <a:spcPct val="0"/>
            </a:spcBef>
            <a:spcAft>
              <a:spcPct val="20000"/>
            </a:spcAft>
            <a:buChar char="•"/>
          </a:pPr>
          <a:r>
            <a:rPr lang="en-US" sz="2200" kern="1200" dirty="0"/>
            <a:t>ROUND-ROBIN distributed</a:t>
          </a:r>
        </a:p>
      </dsp:txBody>
      <dsp:txXfrm>
        <a:off x="0" y="1673085"/>
        <a:ext cx="10820398" cy="825930"/>
      </dsp:txXfrm>
    </dsp:sp>
    <dsp:sp modelId="{E238C0E2-CBDB-4083-92BC-38160797212D}">
      <dsp:nvSpPr>
        <dsp:cNvPr id="0" name=""/>
        <dsp:cNvSpPr/>
      </dsp:nvSpPr>
      <dsp:spPr>
        <a:xfrm>
          <a:off x="0" y="2499015"/>
          <a:ext cx="10820398" cy="72072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istribution can be on different key to source tables</a:t>
          </a:r>
        </a:p>
      </dsp:txBody>
      <dsp:txXfrm>
        <a:off x="35183" y="2534198"/>
        <a:ext cx="10750032" cy="650354"/>
      </dsp:txXfrm>
    </dsp:sp>
    <dsp:sp modelId="{651837E0-6CF1-4031-B85C-94A1AE582733}">
      <dsp:nvSpPr>
        <dsp:cNvPr id="0" name=""/>
        <dsp:cNvSpPr/>
      </dsp:nvSpPr>
      <dsp:spPr>
        <a:xfrm>
          <a:off x="0" y="3300375"/>
          <a:ext cx="10820398" cy="720720"/>
        </a:xfrm>
        <a:prstGeom prst="roundRect">
          <a:avLst/>
        </a:prstGeom>
        <a:solidFill>
          <a:schemeClr val="accent2">
            <a:shade val="80000"/>
            <a:hueOff val="288030"/>
            <a:satOff val="-28829"/>
            <a:lumOff val="29573"/>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Always created as a CCI – no option to define the storage format.</a:t>
          </a:r>
        </a:p>
      </dsp:txBody>
      <dsp:txXfrm>
        <a:off x="35183" y="3335558"/>
        <a:ext cx="10750032" cy="650354"/>
      </dsp:txXfrm>
    </dsp:sp>
    <dsp:sp modelId="{BE98165C-9DB3-4BC5-B58D-CAD26C8CBDD0}">
      <dsp:nvSpPr>
        <dsp:cNvPr id="0" name=""/>
        <dsp:cNvSpPr/>
      </dsp:nvSpPr>
      <dsp:spPr>
        <a:xfrm>
          <a:off x="0" y="4101735"/>
          <a:ext cx="10820398" cy="72072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Cannot reference another view, Standard or Materialized</a:t>
          </a:r>
          <a:endParaRPr lang="es-ES" sz="2800" kern="1200" dirty="0"/>
        </a:p>
      </dsp:txBody>
      <dsp:txXfrm>
        <a:off x="35183" y="4136918"/>
        <a:ext cx="10750032" cy="650354"/>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60E9B-5922-4B26-9EEE-C3B59EAD339A}">
      <dsp:nvSpPr>
        <dsp:cNvPr id="0" name=""/>
        <dsp:cNvSpPr/>
      </dsp:nvSpPr>
      <dsp:spPr>
        <a:xfrm>
          <a:off x="-6175330" y="-944761"/>
          <a:ext cx="7350924" cy="7350924"/>
        </a:xfrm>
        <a:prstGeom prst="blockArc">
          <a:avLst>
            <a:gd name="adj1" fmla="val 18900000"/>
            <a:gd name="adj2" fmla="val 2700000"/>
            <a:gd name="adj3" fmla="val 294"/>
          </a:avLst>
        </a:pr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8A7234-0C79-48B8-8613-B47769C34991}">
      <dsp:nvSpPr>
        <dsp:cNvPr id="0" name=""/>
        <dsp:cNvSpPr/>
      </dsp:nvSpPr>
      <dsp:spPr>
        <a:xfrm>
          <a:off x="615248" y="419872"/>
          <a:ext cx="10267145" cy="840182"/>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66895" tIns="45720" rIns="45720" bIns="45720" numCol="1" spcCol="1270" anchor="ctr" anchorCtr="0">
          <a:noAutofit/>
        </a:bodyPr>
        <a:lstStyle/>
        <a:p>
          <a:pPr marL="0" lvl="0" indent="0" algn="l" defTabSz="800100">
            <a:lnSpc>
              <a:spcPct val="90000"/>
            </a:lnSpc>
            <a:spcBef>
              <a:spcPct val="0"/>
            </a:spcBef>
            <a:spcAft>
              <a:spcPct val="35000"/>
            </a:spcAft>
            <a:buNone/>
          </a:pPr>
          <a:r>
            <a:rPr lang="en-US" sz="1800" b="0" i="0" kern="1200" dirty="0"/>
            <a:t>Reduced execution time for complex queries with JOINs and aggregate functions.</a:t>
          </a:r>
          <a:endParaRPr lang="es-ES" sz="1800" kern="1200" dirty="0"/>
        </a:p>
      </dsp:txBody>
      <dsp:txXfrm>
        <a:off x="615248" y="419872"/>
        <a:ext cx="10267145" cy="840182"/>
      </dsp:txXfrm>
    </dsp:sp>
    <dsp:sp modelId="{366A2403-9B86-41B0-ADB6-6B098F1220AD}">
      <dsp:nvSpPr>
        <dsp:cNvPr id="0" name=""/>
        <dsp:cNvSpPr/>
      </dsp:nvSpPr>
      <dsp:spPr>
        <a:xfrm>
          <a:off x="90134" y="314849"/>
          <a:ext cx="1050227" cy="1050227"/>
        </a:xfrm>
        <a:prstGeom prst="ellipse">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CC064C74-8E7B-43F6-986E-E63D0EBF528A}">
      <dsp:nvSpPr>
        <dsp:cNvPr id="0" name=""/>
        <dsp:cNvSpPr/>
      </dsp:nvSpPr>
      <dsp:spPr>
        <a:xfrm>
          <a:off x="1096944" y="1680364"/>
          <a:ext cx="9785449" cy="840182"/>
        </a:xfrm>
        <a:prstGeom prst="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66895"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Real-time data refresh for updates to base tables.</a:t>
          </a:r>
          <a:endParaRPr lang="es-ES" sz="1800" kern="1200" dirty="0"/>
        </a:p>
      </dsp:txBody>
      <dsp:txXfrm>
        <a:off x="1096944" y="1680364"/>
        <a:ext cx="9785449" cy="840182"/>
      </dsp:txXfrm>
    </dsp:sp>
    <dsp:sp modelId="{AE20886A-BB74-436D-BB31-1E81364D7101}">
      <dsp:nvSpPr>
        <dsp:cNvPr id="0" name=""/>
        <dsp:cNvSpPr/>
      </dsp:nvSpPr>
      <dsp:spPr>
        <a:xfrm>
          <a:off x="571830" y="1575341"/>
          <a:ext cx="1050227" cy="1050227"/>
        </a:xfrm>
        <a:prstGeom prst="ellipse">
          <a:avLst/>
        </a:prstGeom>
        <a:solidFill>
          <a:schemeClr val="lt1">
            <a:hueOff val="0"/>
            <a:satOff val="0"/>
            <a:lumOff val="0"/>
            <a:alphaOff val="0"/>
          </a:schemeClr>
        </a:solidFill>
        <a:ln w="12700" cap="flat" cmpd="sng" algn="ctr">
          <a:solidFill>
            <a:schemeClr val="accent2">
              <a:shade val="80000"/>
              <a:hueOff val="128013"/>
              <a:satOff val="-12813"/>
              <a:lumOff val="13143"/>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D348662A-A46C-42DB-ABD7-53E159863628}">
      <dsp:nvSpPr>
        <dsp:cNvPr id="0" name=""/>
        <dsp:cNvSpPr/>
      </dsp:nvSpPr>
      <dsp:spPr>
        <a:xfrm>
          <a:off x="1096944" y="2940855"/>
          <a:ext cx="9785449" cy="840182"/>
        </a:xfrm>
        <a:prstGeom prst="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66895"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Broad aggregate function support:</a:t>
          </a:r>
        </a:p>
        <a:p>
          <a:pPr marL="0" lvl="0" indent="0" algn="l" defTabSz="800100">
            <a:lnSpc>
              <a:spcPct val="90000"/>
            </a:lnSpc>
            <a:spcBef>
              <a:spcPct val="0"/>
            </a:spcBef>
            <a:spcAft>
              <a:spcPct val="35000"/>
            </a:spcAft>
            <a:buNone/>
          </a:pPr>
          <a:r>
            <a:rPr lang="en-US" sz="1800" kern="1200" dirty="0">
              <a:latin typeface="+mj-lt"/>
            </a:rPr>
            <a:t>MAX</a:t>
          </a:r>
          <a:r>
            <a:rPr lang="en-US" sz="1800" kern="1200" baseline="0" dirty="0">
              <a:latin typeface="+mj-lt"/>
            </a:rPr>
            <a:t>, </a:t>
          </a:r>
          <a:r>
            <a:rPr lang="en-US" sz="1800" kern="1200" dirty="0">
              <a:latin typeface="+mj-lt"/>
            </a:rPr>
            <a:t>MIN, AVG, SUM, VAR, STDEV, COUNT, COUNT_BIG </a:t>
          </a:r>
          <a:endParaRPr lang="en-US" sz="1800" kern="1200" dirty="0"/>
        </a:p>
      </dsp:txBody>
      <dsp:txXfrm>
        <a:off x="1096944" y="2940855"/>
        <a:ext cx="9785449" cy="840182"/>
      </dsp:txXfrm>
    </dsp:sp>
    <dsp:sp modelId="{53CF598B-EF60-4693-93B7-B166734EEE73}">
      <dsp:nvSpPr>
        <dsp:cNvPr id="0" name=""/>
        <dsp:cNvSpPr/>
      </dsp:nvSpPr>
      <dsp:spPr>
        <a:xfrm>
          <a:off x="571830" y="2835832"/>
          <a:ext cx="1050227" cy="1050227"/>
        </a:xfrm>
        <a:prstGeom prst="ellipse">
          <a:avLst/>
        </a:prstGeom>
        <a:solidFill>
          <a:schemeClr val="lt1">
            <a:hueOff val="0"/>
            <a:satOff val="0"/>
            <a:lumOff val="0"/>
            <a:alphaOff val="0"/>
          </a:schemeClr>
        </a:solidFill>
        <a:ln w="12700" cap="flat" cmpd="sng" algn="ctr">
          <a:solidFill>
            <a:schemeClr val="accent2">
              <a:shade val="80000"/>
              <a:hueOff val="256027"/>
              <a:satOff val="-25626"/>
              <a:lumOff val="26287"/>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9CD728EB-A38A-485A-96B3-49BB157F531C}">
      <dsp:nvSpPr>
        <dsp:cNvPr id="0" name=""/>
        <dsp:cNvSpPr/>
      </dsp:nvSpPr>
      <dsp:spPr>
        <a:xfrm>
          <a:off x="615248" y="4201347"/>
          <a:ext cx="10267145" cy="840182"/>
        </a:xfrm>
        <a:prstGeom prst="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66895"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mj-lt"/>
            </a:rPr>
            <a:t>SQL Pool MPP query optimizer will use MVs, even if not referenced in the query.</a:t>
          </a:r>
        </a:p>
      </dsp:txBody>
      <dsp:txXfrm>
        <a:off x="615248" y="4201347"/>
        <a:ext cx="10267145" cy="840182"/>
      </dsp:txXfrm>
    </dsp:sp>
    <dsp:sp modelId="{CE4E800E-2A36-47E5-8632-2A6DC209A562}">
      <dsp:nvSpPr>
        <dsp:cNvPr id="0" name=""/>
        <dsp:cNvSpPr/>
      </dsp:nvSpPr>
      <dsp:spPr>
        <a:xfrm>
          <a:off x="90134" y="4096324"/>
          <a:ext cx="1050227" cy="1050227"/>
        </a:xfrm>
        <a:prstGeom prst="ellipse">
          <a:avLst/>
        </a:prstGeom>
        <a:solidFill>
          <a:schemeClr val="lt1">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972D94-540C-4C36-88E6-A9E85DD41302}">
      <dsp:nvSpPr>
        <dsp:cNvPr id="0" name=""/>
        <dsp:cNvSpPr/>
      </dsp:nvSpPr>
      <dsp:spPr>
        <a:xfrm>
          <a:off x="0" y="389069"/>
          <a:ext cx="10489306" cy="1003275"/>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4087" tIns="541528" rIns="814087" bIns="142240" numCol="1" spcCol="1270" anchor="t"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a:t>Incurs storage costs</a:t>
          </a:r>
          <a:endParaRPr lang="es-ES" sz="2800" kern="1200" dirty="0"/>
        </a:p>
      </dsp:txBody>
      <dsp:txXfrm>
        <a:off x="0" y="389069"/>
        <a:ext cx="10489306" cy="1003275"/>
      </dsp:txXfrm>
    </dsp:sp>
    <dsp:sp modelId="{8AF6147D-FA8C-4C4E-AC67-93F381B1FBB7}">
      <dsp:nvSpPr>
        <dsp:cNvPr id="0" name=""/>
        <dsp:cNvSpPr/>
      </dsp:nvSpPr>
      <dsp:spPr>
        <a:xfrm>
          <a:off x="524465" y="5309"/>
          <a:ext cx="7342514" cy="7675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77530" tIns="0" rIns="277530" bIns="0" numCol="1" spcCol="1270" anchor="ctr" anchorCtr="0">
          <a:noAutofit/>
        </a:bodyPr>
        <a:lstStyle/>
        <a:p>
          <a:pPr marL="0" lvl="0" indent="0" algn="l" defTabSz="1244600">
            <a:lnSpc>
              <a:spcPct val="90000"/>
            </a:lnSpc>
            <a:spcBef>
              <a:spcPct val="0"/>
            </a:spcBef>
            <a:spcAft>
              <a:spcPct val="35000"/>
            </a:spcAft>
            <a:buNone/>
          </a:pPr>
          <a:r>
            <a:rPr lang="en-US" sz="2800" kern="1200" dirty="0"/>
            <a:t>MVs are stored on disk</a:t>
          </a:r>
          <a:endParaRPr lang="es-ES" sz="2800" kern="1200" dirty="0"/>
        </a:p>
      </dsp:txBody>
      <dsp:txXfrm>
        <a:off x="561932" y="42776"/>
        <a:ext cx="7267580" cy="692586"/>
      </dsp:txXfrm>
    </dsp:sp>
    <dsp:sp modelId="{ECA1CB98-5F4C-44CC-BCDF-4B87A3216E3F}">
      <dsp:nvSpPr>
        <dsp:cNvPr id="0" name=""/>
        <dsp:cNvSpPr/>
      </dsp:nvSpPr>
      <dsp:spPr>
        <a:xfrm>
          <a:off x="0" y="1916505"/>
          <a:ext cx="10489306" cy="1003275"/>
        </a:xfrm>
        <a:prstGeom prst="rect">
          <a:avLst/>
        </a:prstGeom>
        <a:solidFill>
          <a:schemeClr val="lt1">
            <a:alpha val="90000"/>
            <a:hueOff val="0"/>
            <a:satOff val="0"/>
            <a:lumOff val="0"/>
            <a:alphaOff val="0"/>
          </a:schemeClr>
        </a:solidFill>
        <a:ln w="12700" cap="flat" cmpd="sng" algn="ctr">
          <a:solidFill>
            <a:schemeClr val="accent2">
              <a:shade val="80000"/>
              <a:hueOff val="192020"/>
              <a:satOff val="-19219"/>
              <a:lumOff val="197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4087" tIns="541528" rIns="814087"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Incurs processing overhead for the UPDATE query(s)</a:t>
          </a:r>
        </a:p>
      </dsp:txBody>
      <dsp:txXfrm>
        <a:off x="0" y="1916505"/>
        <a:ext cx="10489306" cy="1003275"/>
      </dsp:txXfrm>
    </dsp:sp>
    <dsp:sp modelId="{5B904CA9-F58A-4CAD-955F-952678340F78}">
      <dsp:nvSpPr>
        <dsp:cNvPr id="0" name=""/>
        <dsp:cNvSpPr/>
      </dsp:nvSpPr>
      <dsp:spPr>
        <a:xfrm>
          <a:off x="524465" y="1532744"/>
          <a:ext cx="7342514" cy="76752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77530" tIns="0" rIns="277530" bIns="0" numCol="1" spcCol="1270" anchor="ctr" anchorCtr="0">
          <a:noAutofit/>
        </a:bodyPr>
        <a:lstStyle/>
        <a:p>
          <a:pPr marL="0" lvl="0" indent="0" algn="l" defTabSz="1244600">
            <a:lnSpc>
              <a:spcPct val="90000"/>
            </a:lnSpc>
            <a:spcBef>
              <a:spcPct val="0"/>
            </a:spcBef>
            <a:spcAft>
              <a:spcPct val="35000"/>
            </a:spcAft>
            <a:buNone/>
          </a:pPr>
          <a:r>
            <a:rPr lang="en-US" sz="2800" kern="1200" dirty="0"/>
            <a:t>MVs are recomputed in real time</a:t>
          </a:r>
        </a:p>
      </dsp:txBody>
      <dsp:txXfrm>
        <a:off x="561932" y="1570211"/>
        <a:ext cx="7267580" cy="692586"/>
      </dsp:txXfrm>
    </dsp:sp>
    <dsp:sp modelId="{D42ED197-D4ED-4B78-B830-352B3851C36C}">
      <dsp:nvSpPr>
        <dsp:cNvPr id="0" name=""/>
        <dsp:cNvSpPr/>
      </dsp:nvSpPr>
      <dsp:spPr>
        <a:xfrm>
          <a:off x="0" y="3443940"/>
          <a:ext cx="10489306" cy="1351350"/>
        </a:xfrm>
        <a:prstGeom prst="rect">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4087" tIns="541528" rIns="814087"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SPLIT/MERGE are supported</a:t>
          </a:r>
        </a:p>
        <a:p>
          <a:pPr marL="228600" lvl="1" indent="-228600" algn="l" defTabSz="889000">
            <a:lnSpc>
              <a:spcPct val="90000"/>
            </a:lnSpc>
            <a:spcBef>
              <a:spcPct val="0"/>
            </a:spcBef>
            <a:spcAft>
              <a:spcPct val="15000"/>
            </a:spcAft>
            <a:buChar char="•"/>
          </a:pPr>
          <a:r>
            <a:rPr lang="en-US" sz="2000" kern="1200" dirty="0"/>
            <a:t>SWITCH operations on the table are NOT supported</a:t>
          </a:r>
        </a:p>
      </dsp:txBody>
      <dsp:txXfrm>
        <a:off x="0" y="3443940"/>
        <a:ext cx="10489306" cy="1351350"/>
      </dsp:txXfrm>
    </dsp:sp>
    <dsp:sp modelId="{B2A76BAF-15C5-4AE8-8A8D-760DCECEF170}">
      <dsp:nvSpPr>
        <dsp:cNvPr id="0" name=""/>
        <dsp:cNvSpPr/>
      </dsp:nvSpPr>
      <dsp:spPr>
        <a:xfrm>
          <a:off x="524465" y="3060180"/>
          <a:ext cx="7342514" cy="76752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77530" tIns="0" rIns="277530" bIns="0" numCol="1" spcCol="1270" anchor="ctr" anchorCtr="0">
          <a:noAutofit/>
        </a:bodyPr>
        <a:lstStyle/>
        <a:p>
          <a:pPr marL="0" lvl="0" indent="0" algn="l" defTabSz="1244600">
            <a:lnSpc>
              <a:spcPct val="90000"/>
            </a:lnSpc>
            <a:spcBef>
              <a:spcPct val="0"/>
            </a:spcBef>
            <a:spcAft>
              <a:spcPct val="35000"/>
            </a:spcAft>
            <a:buNone/>
          </a:pPr>
          <a:r>
            <a:rPr lang="en-US" sz="2800" kern="1200" dirty="0"/>
            <a:t>MVs can be created on Partitioned tables</a:t>
          </a:r>
        </a:p>
      </dsp:txBody>
      <dsp:txXfrm>
        <a:off x="561932" y="3097647"/>
        <a:ext cx="7267580" cy="692586"/>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2BB63E-8767-4B88-A34D-9210156819D7}">
      <dsp:nvSpPr>
        <dsp:cNvPr id="0" name=""/>
        <dsp:cNvSpPr/>
      </dsp:nvSpPr>
      <dsp:spPr>
        <a:xfrm>
          <a:off x="0" y="420687"/>
          <a:ext cx="10972800" cy="229635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1124712"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a:effectLst/>
              <a:latin typeface="Segoe UI" panose="020B0502040204020203" pitchFamily="34" charset="0"/>
            </a:rPr>
            <a:t>BASE_VIEW_ROWS: Rows in the view’s clustered columnstore index</a:t>
          </a:r>
          <a:endParaRPr lang="es-ES" sz="2000" kern="1200" dirty="0"/>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TOTAL_ROWS: BASE_VIEW_ROWS + Tracking ROWS</a:t>
          </a:r>
          <a:endParaRPr lang="en-US" sz="2000" b="0" i="0" kern="1200" dirty="0">
            <a:effectLst/>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b="0" i="0" kern="1200" dirty="0">
              <a:effectLst/>
              <a:latin typeface="Segoe UI" panose="020B0502040204020203" pitchFamily="34" charset="0"/>
            </a:rPr>
            <a:t>OVERHEAD_RATIO: TOTAL_ROWS/MAX(1,BASE_VIEW_ROWS).</a:t>
          </a:r>
        </a:p>
      </dsp:txBody>
      <dsp:txXfrm>
        <a:off x="0" y="420687"/>
        <a:ext cx="10972800" cy="2296350"/>
      </dsp:txXfrm>
    </dsp:sp>
    <dsp:sp modelId="{C208BFC8-FA92-40B8-8211-B8A910F4E919}">
      <dsp:nvSpPr>
        <dsp:cNvPr id="0" name=""/>
        <dsp:cNvSpPr/>
      </dsp:nvSpPr>
      <dsp:spPr>
        <a:xfrm>
          <a:off x="548640" y="15122"/>
          <a:ext cx="8442988" cy="1202605"/>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1066800">
            <a:lnSpc>
              <a:spcPct val="90000"/>
            </a:lnSpc>
            <a:spcBef>
              <a:spcPct val="0"/>
            </a:spcBef>
            <a:spcAft>
              <a:spcPct val="35000"/>
            </a:spcAft>
            <a:buNone/>
          </a:pPr>
          <a:r>
            <a:rPr lang="en-US" sz="2400" kern="1200" noProof="0" dirty="0"/>
            <a:t>For checking materialized view overhead use </a:t>
          </a:r>
          <a:r>
            <a:rPr lang="es-ES" sz="2400" kern="1200" dirty="0"/>
            <a:t>DBCC_SHOWMATERIALIZEDVIEWOVERHEAD</a:t>
          </a:r>
        </a:p>
      </dsp:txBody>
      <dsp:txXfrm>
        <a:off x="607346" y="73828"/>
        <a:ext cx="8325576" cy="1085193"/>
      </dsp:txXfrm>
    </dsp:sp>
    <dsp:sp modelId="{6B1E65E5-0320-4811-BEA3-6602E2C0962E}">
      <dsp:nvSpPr>
        <dsp:cNvPr id="0" name=""/>
        <dsp:cNvSpPr/>
      </dsp:nvSpPr>
      <dsp:spPr>
        <a:xfrm>
          <a:off x="0" y="3805677"/>
          <a:ext cx="10972800" cy="1360800"/>
        </a:xfrm>
        <a:prstGeom prst="rect">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CAC4CF-9297-4C4F-9143-4EE589F31089}">
      <dsp:nvSpPr>
        <dsp:cNvPr id="0" name=""/>
        <dsp:cNvSpPr/>
      </dsp:nvSpPr>
      <dsp:spPr>
        <a:xfrm>
          <a:off x="548640" y="3008637"/>
          <a:ext cx="7680960" cy="159408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1066800">
            <a:lnSpc>
              <a:spcPct val="90000"/>
            </a:lnSpc>
            <a:spcBef>
              <a:spcPct val="0"/>
            </a:spcBef>
            <a:spcAft>
              <a:spcPct val="35000"/>
            </a:spcAft>
            <a:buNone/>
          </a:pPr>
          <a:r>
            <a:rPr lang="en-US" sz="2400" b="0" i="0" kern="1200" dirty="0"/>
            <a:t>After rebuilding a materialized view, all tracking rows for incremental data changes are eliminated and the view overhead ratio is reduced</a:t>
          </a:r>
          <a:endParaRPr lang="en-US" sz="2400" b="0" i="0" kern="1200" dirty="0">
            <a:effectLst/>
            <a:latin typeface="Segoe UI" panose="020B0502040204020203" pitchFamily="34" charset="0"/>
          </a:endParaRPr>
        </a:p>
      </dsp:txBody>
      <dsp:txXfrm>
        <a:off x="626457" y="3086454"/>
        <a:ext cx="7525326" cy="1438446"/>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774734"/>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What are the differences between standard and materialized views?</a:t>
          </a:r>
          <a:endParaRPr lang="en-US" sz="2400" kern="1200" dirty="0"/>
        </a:p>
      </dsp:txBody>
      <dsp:txXfrm>
        <a:off x="0" y="1509893"/>
        <a:ext cx="3100581" cy="1509893"/>
      </dsp:txXfrm>
    </dsp:sp>
    <dsp:sp modelId="{41B5F4A1-82D4-4720-8B78-273D2F9A3449}">
      <dsp:nvSpPr>
        <dsp:cNvPr id="0" name=""/>
        <dsp:cNvSpPr/>
      </dsp:nvSpPr>
      <dsp:spPr>
        <a:xfrm>
          <a:off x="921797" y="226484"/>
          <a:ext cx="1256986" cy="125698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19787"/>
          <a:ext cx="2852534" cy="566210"/>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77473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en-US" sz="2500" kern="1200" baseline="0" dirty="0"/>
            <a:t>What are the benefits of using materialized views?</a:t>
          </a:r>
          <a:endParaRPr lang="en-US" sz="2500" kern="1200" dirty="0"/>
        </a:p>
      </dsp:txBody>
      <dsp:txXfrm>
        <a:off x="0" y="1509893"/>
        <a:ext cx="3100579" cy="1509893"/>
      </dsp:txXfrm>
    </dsp:sp>
    <dsp:sp modelId="{41B5F4A1-82D4-4720-8B78-273D2F9A3449}">
      <dsp:nvSpPr>
        <dsp:cNvPr id="0" name=""/>
        <dsp:cNvSpPr/>
      </dsp:nvSpPr>
      <dsp:spPr>
        <a:xfrm>
          <a:off x="921796" y="226484"/>
          <a:ext cx="1256986" cy="1256986"/>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19787"/>
          <a:ext cx="2852532" cy="566210"/>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774734"/>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en-US" sz="2500" kern="1200" baseline="0" dirty="0"/>
            <a:t>How materialized view candidates can be identified?</a:t>
          </a:r>
          <a:endParaRPr lang="en-US" sz="2500" kern="1200" dirty="0"/>
        </a:p>
      </dsp:txBody>
      <dsp:txXfrm>
        <a:off x="0" y="1509893"/>
        <a:ext cx="3100579" cy="1509893"/>
      </dsp:txXfrm>
    </dsp:sp>
    <dsp:sp modelId="{41B5F4A1-82D4-4720-8B78-273D2F9A3449}">
      <dsp:nvSpPr>
        <dsp:cNvPr id="0" name=""/>
        <dsp:cNvSpPr/>
      </dsp:nvSpPr>
      <dsp:spPr>
        <a:xfrm>
          <a:off x="921796" y="226484"/>
          <a:ext cx="1256986" cy="125698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19787"/>
          <a:ext cx="2852532" cy="566210"/>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1C2A39-A480-4B8B-A0F6-3EA877FE38A9}">
      <dsp:nvSpPr>
        <dsp:cNvPr id="0" name=""/>
        <dsp:cNvSpPr/>
      </dsp:nvSpPr>
      <dsp:spPr>
        <a:xfrm rot="5400000">
          <a:off x="3577125" y="133276"/>
          <a:ext cx="2048905" cy="1782547"/>
        </a:xfrm>
        <a:prstGeom prst="hexagon">
          <a:avLst>
            <a:gd name="adj" fmla="val 25000"/>
            <a:gd name="vf" fmla="val 11547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noProof="0" dirty="0"/>
            <a:t>Size</a:t>
          </a:r>
        </a:p>
      </dsp:txBody>
      <dsp:txXfrm rot="-5400000">
        <a:off x="3988084" y="319385"/>
        <a:ext cx="1226987" cy="1410329"/>
      </dsp:txXfrm>
    </dsp:sp>
    <dsp:sp modelId="{A96F0FF6-6C0B-41BF-BB63-9696817E16EA}">
      <dsp:nvSpPr>
        <dsp:cNvPr id="0" name=""/>
        <dsp:cNvSpPr/>
      </dsp:nvSpPr>
      <dsp:spPr>
        <a:xfrm>
          <a:off x="5546942" y="409878"/>
          <a:ext cx="2286578" cy="12293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noProof="0" dirty="0"/>
            <a:t>Disk size above 2GB</a:t>
          </a:r>
        </a:p>
      </dsp:txBody>
      <dsp:txXfrm>
        <a:off x="5546942" y="409878"/>
        <a:ext cx="2286578" cy="1229343"/>
      </dsp:txXfrm>
    </dsp:sp>
    <dsp:sp modelId="{507DECE4-63FE-4579-A3AD-BB384930C673}">
      <dsp:nvSpPr>
        <dsp:cNvPr id="0" name=""/>
        <dsp:cNvSpPr/>
      </dsp:nvSpPr>
      <dsp:spPr>
        <a:xfrm rot="5400000">
          <a:off x="1651973" y="133276"/>
          <a:ext cx="2048905" cy="1782547"/>
        </a:xfrm>
        <a:prstGeom prst="hexagon">
          <a:avLst>
            <a:gd name="adj" fmla="val 25000"/>
            <a:gd name="vf" fmla="val 115470"/>
          </a:avLst>
        </a:prstGeom>
        <a:solidFill>
          <a:schemeClr val="accent2">
            <a:shade val="80000"/>
            <a:hueOff val="76808"/>
            <a:satOff val="-7688"/>
            <a:lumOff val="7886"/>
            <a:alphaOff val="0"/>
          </a:schemeClr>
        </a:solidFill>
        <a:ln w="12700" cap="flat" cmpd="sng" algn="ctr">
          <a:solidFill>
            <a:schemeClr val="lt1">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s-ES" sz="3600" kern="1200" dirty="0"/>
        </a:p>
      </dsp:txBody>
      <dsp:txXfrm rot="-5400000">
        <a:off x="2062932" y="319385"/>
        <a:ext cx="1226987" cy="1410329"/>
      </dsp:txXfrm>
    </dsp:sp>
    <dsp:sp modelId="{B88A5A58-1D34-493A-B8DE-79414348E73C}">
      <dsp:nvSpPr>
        <dsp:cNvPr id="0" name=""/>
        <dsp:cNvSpPr/>
      </dsp:nvSpPr>
      <dsp:spPr>
        <a:xfrm rot="5400000">
          <a:off x="2610861" y="1872387"/>
          <a:ext cx="2048905" cy="1782547"/>
        </a:xfrm>
        <a:prstGeom prst="hexagon">
          <a:avLst>
            <a:gd name="adj" fmla="val 25000"/>
            <a:gd name="vf" fmla="val 115470"/>
          </a:avLst>
        </a:prstGeom>
        <a:solidFill>
          <a:schemeClr val="accent2">
            <a:shade val="80000"/>
            <a:hueOff val="153616"/>
            <a:satOff val="-15376"/>
            <a:lumOff val="15772"/>
            <a:alphaOff val="0"/>
          </a:schemeClr>
        </a:solidFill>
        <a:ln w="12700" cap="flat" cmpd="sng" algn="ctr">
          <a:solidFill>
            <a:schemeClr val="lt1">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s-ES" sz="2200" kern="1200" dirty="0"/>
            <a:t>DML</a:t>
          </a:r>
        </a:p>
      </dsp:txBody>
      <dsp:txXfrm rot="-5400000">
        <a:off x="3021820" y="2058496"/>
        <a:ext cx="1226987" cy="1410329"/>
      </dsp:txXfrm>
    </dsp:sp>
    <dsp:sp modelId="{4F7BED0E-73D4-464F-83F7-8295F1B0E139}">
      <dsp:nvSpPr>
        <dsp:cNvPr id="0" name=""/>
        <dsp:cNvSpPr/>
      </dsp:nvSpPr>
      <dsp:spPr>
        <a:xfrm>
          <a:off x="457461" y="2148989"/>
          <a:ext cx="2212818" cy="12293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noProof="0" dirty="0"/>
            <a:t>Frequent insert, update, and delete operations</a:t>
          </a:r>
        </a:p>
      </dsp:txBody>
      <dsp:txXfrm>
        <a:off x="457461" y="2148989"/>
        <a:ext cx="2212818" cy="1229343"/>
      </dsp:txXfrm>
    </dsp:sp>
    <dsp:sp modelId="{AC91EDA5-81AE-4530-B143-5702F926B749}">
      <dsp:nvSpPr>
        <dsp:cNvPr id="0" name=""/>
        <dsp:cNvSpPr/>
      </dsp:nvSpPr>
      <dsp:spPr>
        <a:xfrm rot="5400000">
          <a:off x="4536012" y="1872387"/>
          <a:ext cx="2048905" cy="1782547"/>
        </a:xfrm>
        <a:prstGeom prst="hexagon">
          <a:avLst>
            <a:gd name="adj" fmla="val 25000"/>
            <a:gd name="vf" fmla="val 115470"/>
          </a:avLst>
        </a:prstGeom>
        <a:solidFill>
          <a:schemeClr val="accent2">
            <a:shade val="80000"/>
            <a:hueOff val="230424"/>
            <a:satOff val="-23063"/>
            <a:lumOff val="23658"/>
            <a:alphaOff val="0"/>
          </a:schemeClr>
        </a:solidFill>
        <a:ln w="12700" cap="flat" cmpd="sng" algn="ctr">
          <a:solidFill>
            <a:schemeClr val="lt1">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s-ES" sz="3600" kern="1200" dirty="0"/>
        </a:p>
      </dsp:txBody>
      <dsp:txXfrm rot="-5400000">
        <a:off x="4946971" y="2058496"/>
        <a:ext cx="1226987" cy="1410329"/>
      </dsp:txXfrm>
    </dsp:sp>
    <dsp:sp modelId="{EEEA9B8D-98FF-46B6-9E0A-592686FAABC0}">
      <dsp:nvSpPr>
        <dsp:cNvPr id="0" name=""/>
        <dsp:cNvSpPr/>
      </dsp:nvSpPr>
      <dsp:spPr>
        <a:xfrm rot="5400000">
          <a:off x="3577125" y="3611498"/>
          <a:ext cx="2048905" cy="1782547"/>
        </a:xfrm>
        <a:prstGeom prst="hexagon">
          <a:avLst>
            <a:gd name="adj" fmla="val 25000"/>
            <a:gd name="vf" fmla="val 115470"/>
          </a:avLst>
        </a:prstGeom>
        <a:solidFill>
          <a:schemeClr val="accent2">
            <a:shade val="80000"/>
            <a:hueOff val="307232"/>
            <a:satOff val="-30751"/>
            <a:lumOff val="31544"/>
            <a:alphaOff val="0"/>
          </a:schemeClr>
        </a:solidFill>
        <a:ln w="12700" cap="flat" cmpd="sng" algn="ctr">
          <a:solidFill>
            <a:schemeClr val="lt1">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noProof="0" dirty="0"/>
            <a:t>Typical usage scenario</a:t>
          </a:r>
        </a:p>
      </dsp:txBody>
      <dsp:txXfrm rot="-5400000">
        <a:off x="3988084" y="3797607"/>
        <a:ext cx="1226987" cy="1410329"/>
      </dsp:txXfrm>
    </dsp:sp>
    <dsp:sp modelId="{CECC0541-E344-45D4-9268-006CA08E56E5}">
      <dsp:nvSpPr>
        <dsp:cNvPr id="0" name=""/>
        <dsp:cNvSpPr/>
      </dsp:nvSpPr>
      <dsp:spPr>
        <a:xfrm>
          <a:off x="5546942" y="3888100"/>
          <a:ext cx="2286578" cy="12293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noProof="0" dirty="0"/>
            <a:t>Large fact tables in a star schema</a:t>
          </a:r>
        </a:p>
      </dsp:txBody>
      <dsp:txXfrm>
        <a:off x="5546942" y="3888100"/>
        <a:ext cx="2286578" cy="1229343"/>
      </dsp:txXfrm>
    </dsp:sp>
    <dsp:sp modelId="{7114C193-2E12-47AA-AE5A-F15E7A39A995}">
      <dsp:nvSpPr>
        <dsp:cNvPr id="0" name=""/>
        <dsp:cNvSpPr/>
      </dsp:nvSpPr>
      <dsp:spPr>
        <a:xfrm rot="5400000">
          <a:off x="1651973" y="3611498"/>
          <a:ext cx="2048905" cy="1782547"/>
        </a:xfrm>
        <a:prstGeom prst="hexagon">
          <a:avLst>
            <a:gd name="adj" fmla="val 25000"/>
            <a:gd name="vf" fmla="val 115470"/>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outerShdw blurRad="50800" dist="38100" algn="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s-ES" sz="3600" kern="1200" dirty="0"/>
        </a:p>
      </dsp:txBody>
      <dsp:txXfrm rot="-5400000">
        <a:off x="2062932" y="3797607"/>
        <a:ext cx="1226987" cy="14103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7CE36B-13EB-4323-A924-F4A18C625CF5}">
      <dsp:nvSpPr>
        <dsp:cNvPr id="0" name=""/>
        <dsp:cNvSpPr/>
      </dsp:nvSpPr>
      <dsp:spPr>
        <a:xfrm>
          <a:off x="0" y="0"/>
          <a:ext cx="10431897" cy="2147589"/>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50800" dist="38100" dir="18900000" algn="b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3 goals for choosing the distribution key</a:t>
          </a:r>
        </a:p>
      </dsp:txBody>
      <dsp:txXfrm>
        <a:off x="62901" y="62901"/>
        <a:ext cx="10306095" cy="2021787"/>
      </dsp:txXfrm>
    </dsp:sp>
    <dsp:sp modelId="{4940911F-3358-42B9-A0B3-6F73A6235BAF}">
      <dsp:nvSpPr>
        <dsp:cNvPr id="0" name=""/>
        <dsp:cNvSpPr/>
      </dsp:nvSpPr>
      <dsp:spPr>
        <a:xfrm>
          <a:off x="3751" y="2423302"/>
          <a:ext cx="3292896" cy="2147589"/>
        </a:xfrm>
        <a:prstGeom prst="roundRect">
          <a:avLst>
            <a:gd name="adj" fmla="val 10000"/>
          </a:avLst>
        </a:prstGeom>
        <a:solidFill>
          <a:schemeClr val="accent2">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a:outerShdw blurRad="50800" dist="38100" dir="18900000" algn="b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Minimize Data Movement</a:t>
          </a:r>
        </a:p>
      </dsp:txBody>
      <dsp:txXfrm>
        <a:off x="66652" y="2486203"/>
        <a:ext cx="3167094" cy="2021787"/>
      </dsp:txXfrm>
    </dsp:sp>
    <dsp:sp modelId="{320DF8F1-9723-4F53-BE36-1BEE856F3C82}">
      <dsp:nvSpPr>
        <dsp:cNvPr id="0" name=""/>
        <dsp:cNvSpPr/>
      </dsp:nvSpPr>
      <dsp:spPr>
        <a:xfrm>
          <a:off x="6967800" y="2411276"/>
          <a:ext cx="3292896" cy="2147589"/>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a:outerShdw blurRad="50800" dist="38100" dir="18900000" algn="b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Maximize Balanced Execution</a:t>
          </a:r>
        </a:p>
      </dsp:txBody>
      <dsp:txXfrm>
        <a:off x="7030701" y="2474177"/>
        <a:ext cx="3167094" cy="2021787"/>
      </dsp:txXfrm>
    </dsp:sp>
    <dsp:sp modelId="{7117D5F8-F587-4321-B29B-D370912D73A6}">
      <dsp:nvSpPr>
        <dsp:cNvPr id="0" name=""/>
        <dsp:cNvSpPr/>
      </dsp:nvSpPr>
      <dsp:spPr>
        <a:xfrm>
          <a:off x="3458955" y="2424410"/>
          <a:ext cx="3292896" cy="2147589"/>
        </a:xfrm>
        <a:prstGeom prst="roundRect">
          <a:avLst>
            <a:gd name="adj" fmla="val 1000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a:outerShdw blurRad="50800" dist="38100" dir="18900000" algn="bl" rotWithShape="0">
            <a:prstClr val="black">
              <a:alpha val="4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Minimize Data Skew</a:t>
          </a:r>
        </a:p>
      </dsp:txBody>
      <dsp:txXfrm>
        <a:off x="3521856" y="2487311"/>
        <a:ext cx="3167094" cy="202178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F2DCA-113B-4AE8-A8F4-39F36A7BB342}">
      <dsp:nvSpPr>
        <dsp:cNvPr id="0" name=""/>
        <dsp:cNvSpPr/>
      </dsp:nvSpPr>
      <dsp:spPr>
        <a:xfrm>
          <a:off x="0" y="86647"/>
          <a:ext cx="10363200" cy="7207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dirty="0"/>
            <a:t>Pick a distribution column that is commonly used in </a:t>
          </a:r>
          <a:endParaRPr lang="es-ES" sz="2800" kern="1200" dirty="0"/>
        </a:p>
      </dsp:txBody>
      <dsp:txXfrm>
        <a:off x="35183" y="121830"/>
        <a:ext cx="10292834" cy="650354"/>
      </dsp:txXfrm>
    </dsp:sp>
    <dsp:sp modelId="{BCD509EE-9809-4080-BC9F-19BC729EF4DA}">
      <dsp:nvSpPr>
        <dsp:cNvPr id="0" name=""/>
        <dsp:cNvSpPr/>
      </dsp:nvSpPr>
      <dsp:spPr>
        <a:xfrm>
          <a:off x="0" y="807367"/>
          <a:ext cx="10363200" cy="1246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903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dirty="0">
              <a:latin typeface="+mj-lt"/>
            </a:rPr>
            <a:t>JOINs</a:t>
          </a:r>
        </a:p>
        <a:p>
          <a:pPr marL="228600" lvl="1" indent="-228600" algn="l" defTabSz="977900">
            <a:lnSpc>
              <a:spcPct val="90000"/>
            </a:lnSpc>
            <a:spcBef>
              <a:spcPct val="0"/>
            </a:spcBef>
            <a:spcAft>
              <a:spcPct val="20000"/>
            </a:spcAft>
            <a:buChar char="•"/>
          </a:pPr>
          <a:r>
            <a:rPr lang="en-GB" sz="2200" kern="1200" dirty="0">
              <a:latin typeface="+mj-lt"/>
            </a:rPr>
            <a:t>GROUP BY / AGGREGATIONs</a:t>
          </a:r>
        </a:p>
        <a:p>
          <a:pPr marL="228600" lvl="1" indent="-228600" algn="l" defTabSz="977900">
            <a:lnSpc>
              <a:spcPct val="90000"/>
            </a:lnSpc>
            <a:spcBef>
              <a:spcPct val="0"/>
            </a:spcBef>
            <a:spcAft>
              <a:spcPct val="20000"/>
            </a:spcAft>
            <a:buChar char="•"/>
          </a:pPr>
          <a:r>
            <a:rPr lang="en-GB" sz="2200" b="1" u="sng" kern="1200" dirty="0">
              <a:latin typeface="+mj-lt"/>
            </a:rPr>
            <a:t>NOT</a:t>
          </a:r>
          <a:r>
            <a:rPr lang="en-GB" sz="2200" kern="1200" dirty="0">
              <a:latin typeface="+mj-lt"/>
            </a:rPr>
            <a:t> predominantly used in WHERE  predicates</a:t>
          </a:r>
          <a:endParaRPr lang="en-GB" sz="2200" kern="1200" baseline="40000" dirty="0">
            <a:latin typeface="+mj-lt"/>
          </a:endParaRPr>
        </a:p>
      </dsp:txBody>
      <dsp:txXfrm>
        <a:off x="0" y="807367"/>
        <a:ext cx="10363200" cy="1246140"/>
      </dsp:txXfrm>
    </dsp:sp>
    <dsp:sp modelId="{DDD81A62-9893-409A-B1F3-61D753487E45}">
      <dsp:nvSpPr>
        <dsp:cNvPr id="0" name=""/>
        <dsp:cNvSpPr/>
      </dsp:nvSpPr>
      <dsp:spPr>
        <a:xfrm>
          <a:off x="0" y="2053507"/>
          <a:ext cx="10363200" cy="72072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dirty="0"/>
            <a:t>Distribution columns in related tables</a:t>
          </a:r>
        </a:p>
      </dsp:txBody>
      <dsp:txXfrm>
        <a:off x="35183" y="2088690"/>
        <a:ext cx="10292834" cy="650354"/>
      </dsp:txXfrm>
    </dsp:sp>
    <dsp:sp modelId="{0DAFFDE4-55AD-4DD9-AFFD-F3F9251AD398}">
      <dsp:nvSpPr>
        <dsp:cNvPr id="0" name=""/>
        <dsp:cNvSpPr/>
      </dsp:nvSpPr>
      <dsp:spPr>
        <a:xfrm>
          <a:off x="0" y="2774227"/>
          <a:ext cx="10363200" cy="1246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903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dirty="0">
              <a:latin typeface="+mj-lt"/>
              <a:cs typeface="Segoe UI" panose="020B0502040204020203" pitchFamily="34" charset="0"/>
            </a:rPr>
            <a:t>Should use same key</a:t>
          </a:r>
          <a:endParaRPr lang="en-GB" sz="2200" kern="1200" dirty="0">
            <a:latin typeface="+mj-lt"/>
          </a:endParaRPr>
        </a:p>
        <a:p>
          <a:pPr marL="228600" lvl="1" indent="-228600" algn="l" defTabSz="977900">
            <a:lnSpc>
              <a:spcPct val="90000"/>
            </a:lnSpc>
            <a:spcBef>
              <a:spcPct val="0"/>
            </a:spcBef>
            <a:spcAft>
              <a:spcPct val="20000"/>
            </a:spcAft>
            <a:buChar char="•"/>
          </a:pPr>
          <a:r>
            <a:rPr lang="en-GB" sz="2200" kern="1200" dirty="0">
              <a:latin typeface="+mj-lt"/>
            </a:rPr>
            <a:t>Should be defined identically</a:t>
          </a:r>
          <a:endParaRPr lang="en-GB" sz="2200" kern="1200" dirty="0">
            <a:latin typeface="+mj-lt"/>
            <a:cs typeface="Segoe UI" panose="020B0502040204020203" pitchFamily="34" charset="0"/>
          </a:endParaRPr>
        </a:p>
        <a:p>
          <a:pPr marL="457200" lvl="2" indent="-228600" algn="l" defTabSz="977900">
            <a:lnSpc>
              <a:spcPct val="90000"/>
            </a:lnSpc>
            <a:spcBef>
              <a:spcPct val="0"/>
            </a:spcBef>
            <a:spcAft>
              <a:spcPct val="20000"/>
            </a:spcAft>
            <a:buChar char="•"/>
          </a:pPr>
          <a:r>
            <a:rPr lang="en-GB" sz="2200" kern="1200" dirty="0">
              <a:latin typeface="+mj-lt"/>
            </a:rPr>
            <a:t>99 as INT </a:t>
          </a:r>
          <a:r>
            <a:rPr lang="en-GB" sz="2200" kern="1200" dirty="0">
              <a:latin typeface="+mj-lt"/>
              <a:cs typeface="Segoe UI" panose="020B0502040204020203" pitchFamily="34" charset="0"/>
            </a:rPr>
            <a:t>≠ 99 as BIGINT ≠ 99 as VARCHAR()</a:t>
          </a:r>
        </a:p>
      </dsp:txBody>
      <dsp:txXfrm>
        <a:off x="0" y="2774227"/>
        <a:ext cx="10363200" cy="1246140"/>
      </dsp:txXfrm>
    </dsp:sp>
    <dsp:sp modelId="{EE0F1F60-A5AC-4060-844A-0691038147DD}">
      <dsp:nvSpPr>
        <dsp:cNvPr id="0" name=""/>
        <dsp:cNvSpPr/>
      </dsp:nvSpPr>
      <dsp:spPr>
        <a:xfrm>
          <a:off x="0" y="4020367"/>
          <a:ext cx="10363200" cy="720720"/>
        </a:xfrm>
        <a:prstGeom prst="round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dirty="0">
              <a:latin typeface="+mj-lt"/>
            </a:rPr>
            <a:t>Avoid columns that are unique to a table</a:t>
          </a:r>
        </a:p>
      </dsp:txBody>
      <dsp:txXfrm>
        <a:off x="35183" y="4055550"/>
        <a:ext cx="10292834" cy="650354"/>
      </dsp:txXfrm>
    </dsp:sp>
    <dsp:sp modelId="{831FF569-8413-47E0-B72E-5CBE6527CAAE}">
      <dsp:nvSpPr>
        <dsp:cNvPr id="0" name=""/>
        <dsp:cNvSpPr/>
      </dsp:nvSpPr>
      <dsp:spPr>
        <a:xfrm>
          <a:off x="0" y="4741087"/>
          <a:ext cx="10363200"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903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dirty="0">
              <a:latin typeface="+mj-lt"/>
            </a:rPr>
            <a:t>Does not match the Hash key in related tables</a:t>
          </a:r>
        </a:p>
        <a:p>
          <a:pPr marL="228600" lvl="1" indent="-228600" algn="l" defTabSz="977900">
            <a:lnSpc>
              <a:spcPct val="90000"/>
            </a:lnSpc>
            <a:spcBef>
              <a:spcPct val="0"/>
            </a:spcBef>
            <a:spcAft>
              <a:spcPct val="20000"/>
            </a:spcAft>
            <a:buChar char="•"/>
          </a:pPr>
          <a:r>
            <a:rPr lang="en-GB" sz="2200" kern="1200" dirty="0">
              <a:latin typeface="+mj-lt"/>
            </a:rPr>
            <a:t>May not provide significant benefit in reducing Data Movement</a:t>
          </a:r>
        </a:p>
      </dsp:txBody>
      <dsp:txXfrm>
        <a:off x="0" y="4741087"/>
        <a:ext cx="10363200" cy="8259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8F2F0F-EB6F-4698-9697-D38D9784DA2A}">
      <dsp:nvSpPr>
        <dsp:cNvPr id="0" name=""/>
        <dsp:cNvSpPr/>
      </dsp:nvSpPr>
      <dsp:spPr>
        <a:xfrm>
          <a:off x="-5607748" y="-858609"/>
          <a:ext cx="6677736" cy="6677736"/>
        </a:xfrm>
        <a:prstGeom prst="blockArc">
          <a:avLst>
            <a:gd name="adj1" fmla="val 18900000"/>
            <a:gd name="adj2" fmla="val 2700000"/>
            <a:gd name="adj3" fmla="val 323"/>
          </a:avLst>
        </a:pr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42A42F-8303-4716-8C92-1A6989FD2937}">
      <dsp:nvSpPr>
        <dsp:cNvPr id="0" name=""/>
        <dsp:cNvSpPr/>
      </dsp:nvSpPr>
      <dsp:spPr>
        <a:xfrm>
          <a:off x="688519" y="496051"/>
          <a:ext cx="9377624" cy="992103"/>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787482" tIns="81280" rIns="81280" bIns="81280" numCol="1" spcCol="1270" anchor="ctr" anchorCtr="0">
          <a:noAutofit/>
        </a:bodyPr>
        <a:lstStyle/>
        <a:p>
          <a:pPr marL="0" lvl="0" indent="0" algn="l" defTabSz="1422400">
            <a:lnSpc>
              <a:spcPct val="90000"/>
            </a:lnSpc>
            <a:spcBef>
              <a:spcPct val="0"/>
            </a:spcBef>
            <a:spcAft>
              <a:spcPct val="35000"/>
            </a:spcAft>
            <a:buNone/>
          </a:pPr>
          <a:r>
            <a:rPr lang="en-GB" sz="3200" kern="1200" dirty="0"/>
            <a:t>Distributed tables that self-join</a:t>
          </a:r>
          <a:endParaRPr lang="es-ES" sz="3200" kern="1200" dirty="0"/>
        </a:p>
      </dsp:txBody>
      <dsp:txXfrm>
        <a:off x="688519" y="496051"/>
        <a:ext cx="9377624" cy="992103"/>
      </dsp:txXfrm>
    </dsp:sp>
    <dsp:sp modelId="{C98BA6B0-417F-4607-BA3B-EF5C5369883D}">
      <dsp:nvSpPr>
        <dsp:cNvPr id="0" name=""/>
        <dsp:cNvSpPr/>
      </dsp:nvSpPr>
      <dsp:spPr>
        <a:xfrm>
          <a:off x="68455" y="372038"/>
          <a:ext cx="1240129" cy="1240129"/>
        </a:xfrm>
        <a:prstGeom prst="ellipse">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9C1600F5-87ED-4E8B-B626-E6833653004C}">
      <dsp:nvSpPr>
        <dsp:cNvPr id="0" name=""/>
        <dsp:cNvSpPr/>
      </dsp:nvSpPr>
      <dsp:spPr>
        <a:xfrm>
          <a:off x="1049149" y="1984207"/>
          <a:ext cx="9016995" cy="992103"/>
        </a:xfrm>
        <a:prstGeom prst="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787482" tIns="81280" rIns="81280" bIns="81280" numCol="1" spcCol="1270" anchor="ctr" anchorCtr="0">
          <a:noAutofit/>
        </a:bodyPr>
        <a:lstStyle/>
        <a:p>
          <a:pPr marL="0" lvl="0" indent="0" algn="l" defTabSz="1422400">
            <a:lnSpc>
              <a:spcPct val="90000"/>
            </a:lnSpc>
            <a:spcBef>
              <a:spcPct val="0"/>
            </a:spcBef>
            <a:spcAft>
              <a:spcPct val="35000"/>
            </a:spcAft>
            <a:buNone/>
          </a:pPr>
          <a:r>
            <a:rPr lang="en-GB" sz="3200" kern="1200" dirty="0"/>
            <a:t>Distributed tables that join to each other</a:t>
          </a:r>
          <a:endParaRPr lang="es-ES" sz="3200" kern="1200" dirty="0"/>
        </a:p>
      </dsp:txBody>
      <dsp:txXfrm>
        <a:off x="1049149" y="1984207"/>
        <a:ext cx="9016995" cy="992103"/>
      </dsp:txXfrm>
    </dsp:sp>
    <dsp:sp modelId="{741EE879-1C9D-48BD-B1AA-2AD9152C2970}">
      <dsp:nvSpPr>
        <dsp:cNvPr id="0" name=""/>
        <dsp:cNvSpPr/>
      </dsp:nvSpPr>
      <dsp:spPr>
        <a:xfrm>
          <a:off x="429084" y="1860194"/>
          <a:ext cx="1240129" cy="1240129"/>
        </a:xfrm>
        <a:prstGeom prst="ellipse">
          <a:avLst/>
        </a:prstGeom>
        <a:solidFill>
          <a:schemeClr val="lt1">
            <a:hueOff val="0"/>
            <a:satOff val="0"/>
            <a:lumOff val="0"/>
            <a:alphaOff val="0"/>
          </a:schemeClr>
        </a:solidFill>
        <a:ln w="12700" cap="flat" cmpd="sng" algn="ctr">
          <a:solidFill>
            <a:schemeClr val="accent2">
              <a:shade val="80000"/>
              <a:hueOff val="192020"/>
              <a:satOff val="-19219"/>
              <a:lumOff val="19715"/>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 modelId="{C062FE7B-68A4-4B19-89D5-9FE96D949A41}">
      <dsp:nvSpPr>
        <dsp:cNvPr id="0" name=""/>
        <dsp:cNvSpPr/>
      </dsp:nvSpPr>
      <dsp:spPr>
        <a:xfrm>
          <a:off x="688519" y="3472362"/>
          <a:ext cx="9377624" cy="992103"/>
        </a:xfrm>
        <a:prstGeom prst="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787482" tIns="81280" rIns="81280" bIns="81280" numCol="1" spcCol="1270" anchor="ctr" anchorCtr="0">
          <a:noAutofit/>
        </a:bodyPr>
        <a:lstStyle/>
        <a:p>
          <a:pPr marL="0" lvl="0" indent="0" algn="l" defTabSz="1422400">
            <a:lnSpc>
              <a:spcPct val="90000"/>
            </a:lnSpc>
            <a:spcBef>
              <a:spcPct val="0"/>
            </a:spcBef>
            <a:spcAft>
              <a:spcPct val="35000"/>
            </a:spcAft>
            <a:buNone/>
          </a:pPr>
          <a:r>
            <a:rPr lang="en-GB" sz="3200" kern="1200" dirty="0"/>
            <a:t>Outer joins – check for compatibility or convert </a:t>
          </a:r>
          <a:endParaRPr lang="es-ES" sz="3200" kern="1200" dirty="0"/>
        </a:p>
      </dsp:txBody>
      <dsp:txXfrm>
        <a:off x="688519" y="3472362"/>
        <a:ext cx="9377624" cy="992103"/>
      </dsp:txXfrm>
    </dsp:sp>
    <dsp:sp modelId="{4D57B02B-36AB-47A3-A692-32A69D2C5F81}">
      <dsp:nvSpPr>
        <dsp:cNvPr id="0" name=""/>
        <dsp:cNvSpPr/>
      </dsp:nvSpPr>
      <dsp:spPr>
        <a:xfrm>
          <a:off x="68455" y="3348349"/>
          <a:ext cx="1240129" cy="1240129"/>
        </a:xfrm>
        <a:prstGeom prst="ellipse">
          <a:avLst/>
        </a:prstGeom>
        <a:solidFill>
          <a:schemeClr val="lt1">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a:glow rad="139700">
            <a:schemeClr val="accent2">
              <a:satMod val="175000"/>
              <a:alpha val="40000"/>
            </a:schemeClr>
          </a:glow>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8A11ED-01D4-4B5D-9B67-55AC50828916}">
      <dsp:nvSpPr>
        <dsp:cNvPr id="0" name=""/>
        <dsp:cNvSpPr/>
      </dsp:nvSpPr>
      <dsp:spPr>
        <a:xfrm>
          <a:off x="0" y="365999"/>
          <a:ext cx="11340654" cy="147420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0161" tIns="499872" rIns="880161"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latin typeface="+mj-lt"/>
            </a:rPr>
            <a:t>Megastores are huge, selling lots of products</a:t>
          </a:r>
        </a:p>
        <a:p>
          <a:pPr marL="228600" lvl="1" indent="-228600" algn="l" defTabSz="1066800">
            <a:lnSpc>
              <a:spcPct val="90000"/>
            </a:lnSpc>
            <a:spcBef>
              <a:spcPct val="0"/>
            </a:spcBef>
            <a:spcAft>
              <a:spcPct val="15000"/>
            </a:spcAft>
            <a:buChar char="•"/>
          </a:pPr>
          <a:r>
            <a:rPr lang="en-US" sz="2400" kern="1200" dirty="0">
              <a:latin typeface="+mj-lt"/>
            </a:rPr>
            <a:t>Local stores are small, selling fewer products</a:t>
          </a:r>
        </a:p>
      </dsp:txBody>
      <dsp:txXfrm>
        <a:off x="0" y="365999"/>
        <a:ext cx="11340654" cy="1474200"/>
      </dsp:txXfrm>
    </dsp:sp>
    <dsp:sp modelId="{D351B006-60F5-4A09-9460-F8456945FBB5}">
      <dsp:nvSpPr>
        <dsp:cNvPr id="0" name=""/>
        <dsp:cNvSpPr/>
      </dsp:nvSpPr>
      <dsp:spPr>
        <a:xfrm>
          <a:off x="567032" y="11759"/>
          <a:ext cx="7938458" cy="70848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300055" tIns="0" rIns="300055" bIns="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Poor choice: StoreID for retailer</a:t>
          </a:r>
          <a:endParaRPr lang="es-ES" sz="2400" kern="1200" dirty="0"/>
        </a:p>
      </dsp:txBody>
      <dsp:txXfrm>
        <a:off x="601617" y="46344"/>
        <a:ext cx="7869288" cy="639310"/>
      </dsp:txXfrm>
    </dsp:sp>
    <dsp:sp modelId="{9758D2A9-DD46-4289-9C13-C3C2916D8818}">
      <dsp:nvSpPr>
        <dsp:cNvPr id="0" name=""/>
        <dsp:cNvSpPr/>
      </dsp:nvSpPr>
      <dsp:spPr>
        <a:xfrm>
          <a:off x="0" y="2324040"/>
          <a:ext cx="11340654" cy="1474200"/>
        </a:xfrm>
        <a:prstGeom prst="rect">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0161" tIns="499872" rIns="880161"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latin typeface="+mj-lt"/>
            </a:rPr>
            <a:t>Black Friday sales are major proportion of overall yearly sales</a:t>
          </a:r>
        </a:p>
        <a:p>
          <a:pPr marL="228600" lvl="1" indent="-228600" algn="l" defTabSz="1066800">
            <a:lnSpc>
              <a:spcPct val="90000"/>
            </a:lnSpc>
            <a:spcBef>
              <a:spcPct val="0"/>
            </a:spcBef>
            <a:spcAft>
              <a:spcPct val="15000"/>
            </a:spcAft>
            <a:buChar char="•"/>
          </a:pPr>
          <a:r>
            <a:rPr lang="en-US" sz="2400" kern="1200" dirty="0">
              <a:latin typeface="+mj-lt"/>
            </a:rPr>
            <a:t>Large volatility, but majority of sales occur on select dates</a:t>
          </a:r>
          <a:endParaRPr lang="es-ES" sz="2400" kern="1200" dirty="0"/>
        </a:p>
      </dsp:txBody>
      <dsp:txXfrm>
        <a:off x="0" y="2324040"/>
        <a:ext cx="11340654" cy="1474200"/>
      </dsp:txXfrm>
    </dsp:sp>
    <dsp:sp modelId="{F7D1CE7F-5733-4B44-A39C-9F1BC7DDF489}">
      <dsp:nvSpPr>
        <dsp:cNvPr id="0" name=""/>
        <dsp:cNvSpPr/>
      </dsp:nvSpPr>
      <dsp:spPr>
        <a:xfrm>
          <a:off x="567032" y="1969800"/>
          <a:ext cx="7938458" cy="70848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300055" tIns="0" rIns="300055" bIns="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Poor choice: TransactionDate</a:t>
          </a:r>
          <a:r>
            <a:rPr lang="en-US" sz="2400" kern="1200" baseline="40000" dirty="0">
              <a:latin typeface="+mj-lt"/>
            </a:rPr>
            <a:t>(*)</a:t>
          </a:r>
          <a:r>
            <a:rPr lang="en-US" sz="2400" kern="1200" dirty="0">
              <a:latin typeface="+mj-lt"/>
            </a:rPr>
            <a:t> for retailer</a:t>
          </a:r>
        </a:p>
      </dsp:txBody>
      <dsp:txXfrm>
        <a:off x="601617" y="2004385"/>
        <a:ext cx="7869288" cy="63931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9/2022 12:0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19/2022 12:0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pause-and-resume-compute-portal"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cs.microsoft.com/en-us/azure/synapse-analytics/sql-data-warehouse/sql-data-warehouse-manage-compute-rest-api#resume-compute" TargetMode="External"/><Relationship Id="rId5" Type="http://schemas.openxmlformats.org/officeDocument/2006/relationships/hyperlink" Target="https://docs.microsoft.com/en-us/azure/synapse-analytics/sql-data-warehouse/sql-data-warehouse-manage-compute-rest-api#pause-compute" TargetMode="External"/><Relationship Id="rId4" Type="http://schemas.openxmlformats.org/officeDocument/2006/relationships/hyperlink" Target="https://docs.microsoft.com/en-us/azure/synapse-analytics/sql-data-warehouse/pause-and-resume-compute-powershell"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manage-compute-overview"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massively-parallel-processing-mpp-architecture?toc=/azure/synapse-analytics/toc.json&amp;bc=/azure/synapse-analytics/breadcrumb/toc.json#distribution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azure/synapse-analytics/sql/develop-tables-overview"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tables-distribute?toc=/azure/synapse-analytics/toc.json&amp;bc=/azure/synapse-analytics/breadcrumb/toc.json#hash-distributed"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sql/t-sql/database-console-commands/dbcc-pdw-showspaceused-transact-sql?view=aps-pdw-2016-au7"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ocs.microsoft.com/en-us/azure/synapse-analytics/sql-data-warehouse/sql-data-warehouse-concept-recommendation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tables-distribute#how-to-tell-if-your-distribution-column-is-a-good-choice"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tables-distribute?toc=/azure/synapse-analytics/toc.json&amp;bc=/azure/synapse-analytics/breadcrumb/toc.json#choose-a-distribution-column-with-data-that-distributes-evenly"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design-guidance-for-replicated-tables#performance-considerations-for-modifying-replicated-tables"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design-guidance-for-replicated-tables#performance-considerations-for-modifying-replicated-tables"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azure/synapse-analytics/sql/develop-tables-temporary"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azure/synapse-analytics/sql/develop-tables-statistics#automatic-creation-of-statistics"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design-elt-data-loading"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sql/t-sql/statements/create-materialized-view-as-select-transact-sql?toc=%2Fazure%2Fsynapse-analytics%2Fsql-data-warehouse%2Ftoc.json&amp;bc=%2Fazure%2Fsynapse-analytics%2Fsql-data-warehouse%2Fbreadcrumb%2Ftoc.json&amp;view=azure-sqldw-latest"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sql/t-sql/statements/create-materialized-view-as-select-transact-sql?toc=%2Fazure%2Fsynapse-analytics%2Fsql-data-warehouse%2Ftoc.json&amp;bc=%2Fazure%2Fsynapse-analytics%2Fsql-data-warehouse%2Fbreadcrumb%2Ftoc.json&amp;view=azure-sqldw-latest#arguments"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what-is-a-data-warehouse-unit-dwu-cdwu"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docs.microsoft.com/en-us/sql/t-sql/statements/create-table-as-select-azure-sql-data-warehouse" TargetMode="External"/><Relationship Id="rId4" Type="http://schemas.openxmlformats.org/officeDocument/2006/relationships/hyperlink" Target="https://docs.microsoft.com/en-us/azure/synapse-analytics/sql-data-warehouse/sql-data-warehouse-overview-what-is#synapse-sql-pool-in-azure-synapse"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service-capacity-limit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us/blog/blazing-fast-data-warehousing-with-sql-data-warehouse-gen2/" TargetMode="External"/><Relationship Id="rId5" Type="http://schemas.openxmlformats.org/officeDocument/2006/relationships/hyperlink" Target="https://azure.microsoft.com/en-us/blog/adaptive-caching-powers-azure-sql-data-warehouse-performance-gains/" TargetMode="External"/><Relationship Id="rId4" Type="http://schemas.openxmlformats.org/officeDocument/2006/relationships/hyperlink" Target="https://docs.microsoft.com/en-us/azure/synapse-analytics/sql-data-warehouse/memory-concurrency-limit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84295-5BF3-4C0D-B900-059CC5DD0EBB}"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happens quickly (seconds to minutes), but compute is offline while you are scaling</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e up compute in anticipation of high-volume activity times – scale down during low volume</a:t>
            </a:r>
            <a:r>
              <a:rPr lang="en-US" sz="1800" b="0" i="0" dirty="0">
                <a:solidFill>
                  <a:srgbClr val="444444"/>
                </a:solidFill>
                <a:effectLst/>
                <a:latin typeface="Calibri" panose="020F0502020204030204" pitchFamily="34" charset="0"/>
              </a:rPr>
              <a:t>​ activity /after high volume activity is completed</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1" u="none" strike="noStrike" dirty="0">
                <a:solidFill>
                  <a:srgbClr val="000000"/>
                </a:solidFill>
                <a:effectLst/>
                <a:latin typeface="Calibri" panose="020F0502020204030204" pitchFamily="34" charset="0"/>
              </a:rPr>
              <a:t>Possibly mention updates during scaling – need more info on this topic</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Compute scales from DW100, which is 1 nodes to </a:t>
            </a:r>
            <a:r>
              <a:rPr lang="en-US" sz="1800" b="0" i="0" u="none" strike="noStrike" dirty="0">
                <a:solidFill>
                  <a:srgbClr val="000000"/>
                </a:solidFill>
                <a:effectLst/>
                <a:latin typeface="Calibri" panose="020F0502020204030204" pitchFamily="34" charset="0"/>
              </a:rPr>
              <a:t>DW30000</a:t>
            </a:r>
            <a:r>
              <a:rPr lang="en-GB" sz="1800" b="0" i="0" u="none" strike="noStrike" dirty="0">
                <a:solidFill>
                  <a:srgbClr val="000000"/>
                </a:solidFill>
                <a:effectLst/>
                <a:latin typeface="Calibri" panose="020F0502020204030204" pitchFamily="34" charset="0"/>
              </a:rPr>
              <a:t>, which is 60 nod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https://docs.microsoft.com/en-us/azure/synapse-analytics/sql-data-warehouse/sql-data-warehouse-manage-compute-overview#scaling-compute </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1" i="0" u="none" strike="noStrike" dirty="0">
                <a:solidFill>
                  <a:srgbClr val="000000"/>
                </a:solidFill>
                <a:effectLst/>
                <a:latin typeface="Calibri" panose="020F0502020204030204" pitchFamily="34" charset="0"/>
              </a:rPr>
              <a:t>The scaling 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0" i="0" u="none" strike="noStrike" dirty="0">
                <a:solidFill>
                  <a:srgbClr val="000000"/>
                </a:solidFill>
                <a:effectLst/>
                <a:latin typeface="Calibri" panose="020F0502020204030204" pitchFamily="34" charset="0"/>
              </a:rPr>
              <a:t>When you start a scale operation, the system first kills all open sessions, rolling back any open transactions to ensure a consistent state. For scale operations, scaling only occurs after this transactional rollback has completed.</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up operation, the system detaches all compute nodes, provisions the additional compute nodes, and then reattach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down operation, the system detaches all compute nodes and then reattaches only the needed nod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ttps://docs.microsoft.com/en-us/azure/synapse-analytics/sql-data-warehouse/what-is-a-data-warehouse-unit-dwu-cdwu#the-scaling-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GB"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pPr algn="l" rtl="0" fontAlgn="base"/>
            <a:endParaRPr lang="en-GB" sz="1800" b="0" i="0" u="none" strike="noStrike" dirty="0">
              <a:solidFill>
                <a:srgbClr val="000000"/>
              </a:solidFill>
              <a:effectLst/>
              <a:latin typeface="Calibri" panose="020F0502020204030204" pitchFamily="34" charset="0"/>
            </a:endParaRPr>
          </a:p>
          <a:p>
            <a:pPr algn="l" rtl="0" fontAlgn="base"/>
            <a:r>
              <a:rPr lang="en-GB" sz="1800" b="0" i="0" u="none" strike="noStrike" dirty="0">
                <a:solidFill>
                  <a:srgbClr val="000000"/>
                </a:solidFill>
                <a:effectLst/>
                <a:latin typeface="Calibri" panose="020F0502020204030204" pitchFamily="34" charset="0"/>
              </a:rPr>
              <a:t>What does not persist </a:t>
            </a:r>
            <a:r>
              <a:rPr lang="en-US" sz="1800" b="0" i="0" u="none" strike="noStrike" dirty="0">
                <a:solidFill>
                  <a:srgbClr val="000000"/>
                </a:solidFill>
                <a:effectLst/>
                <a:latin typeface="Calibri" panose="020F0502020204030204" pitchFamily="34" charset="0"/>
              </a:rPr>
              <a:t>Scaling: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icated table cach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aptive cache</a:t>
            </a:r>
            <a:r>
              <a:rPr lang="en-US"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12: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8590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171717"/>
                </a:solidFill>
                <a:effectLst/>
                <a:latin typeface="Segoe UI" panose="020B0502040204020203" pitchFamily="34" charset="0"/>
              </a:rPr>
              <a:t>Pausing and resuming compute</a:t>
            </a:r>
          </a:p>
          <a:p>
            <a:pPr algn="l"/>
            <a:r>
              <a:rPr lang="en-US" sz="2800" b="0" i="0" dirty="0">
                <a:solidFill>
                  <a:srgbClr val="171717"/>
                </a:solidFill>
                <a:effectLst/>
                <a:latin typeface="Segoe UI" panose="020B0502040204020203" pitchFamily="34" charset="0"/>
              </a:rPr>
              <a:t>Pausing compute causes the storage layer to detach from the Compute nodes. The compute resources are released from your account. You are not charged for compute while compute is paused. Resuming compute reattaches storage to the Compute nodes and resumes charges for Compute. When you paus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and memory resources are returned to the pool of available resources in the data center</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warehouse unit costs are zero for the duration of the paus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storage is not affected, and your data stays intact.</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ll running or queued operations are cancelled.</a:t>
            </a:r>
          </a:p>
          <a:p>
            <a:pPr marL="457200" indent="-457200" algn="l">
              <a:buFont typeface="Arial" panose="020B0604020202020204" pitchFamily="34" charset="0"/>
              <a:buChar char="•"/>
            </a:pPr>
            <a:endParaRPr lang="en-US" sz="2800"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sz="2800" b="0" i="0" dirty="0">
              <a:solidFill>
                <a:srgbClr val="171717"/>
              </a:solidFill>
              <a:effectLst/>
              <a:latin typeface="Segoe UI" panose="020B0502040204020203" pitchFamily="34" charset="0"/>
            </a:endParaRPr>
          </a:p>
          <a:p>
            <a:pPr algn="l"/>
            <a:r>
              <a:rPr lang="en-US" sz="2800" b="0" i="0" dirty="0">
                <a:solidFill>
                  <a:srgbClr val="171717"/>
                </a:solidFill>
                <a:effectLst/>
                <a:latin typeface="Segoe UI" panose="020B0502040204020203" pitchFamily="34" charset="0"/>
              </a:rPr>
              <a:t>When you resum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The SQL pool acquires compute and memory resources for your data warehouse units setting.</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charges for your data warehouse units resum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Your data becomes availabl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fter the SQL pool is online, you need to restart your workload queries.</a:t>
            </a:r>
          </a:p>
          <a:p>
            <a:pPr algn="l"/>
            <a:r>
              <a:rPr lang="en-US" sz="2800" b="0" i="0" dirty="0">
                <a:solidFill>
                  <a:srgbClr val="171717"/>
                </a:solidFill>
                <a:effectLst/>
                <a:latin typeface="Segoe UI" panose="020B0502040204020203" pitchFamily="34" charset="0"/>
              </a:rPr>
              <a:t>If you always want your SQL pool accessible, consider scaling it down to the smallest size rather than pausing.</a:t>
            </a:r>
          </a:p>
          <a:p>
            <a:pPr algn="l"/>
            <a:r>
              <a:rPr lang="en-US" sz="2800" b="0" i="0" dirty="0">
                <a:solidFill>
                  <a:srgbClr val="171717"/>
                </a:solidFill>
                <a:effectLst/>
                <a:latin typeface="Segoe UI" panose="020B0502040204020203" pitchFamily="34" charset="0"/>
              </a:rPr>
              <a:t>For pause and resume steps, see the </a:t>
            </a:r>
            <a:r>
              <a:rPr lang="en-US" sz="2800" b="0" i="0" u="none" strike="noStrike" dirty="0">
                <a:solidFill>
                  <a:srgbClr val="171717"/>
                </a:solidFill>
                <a:effectLst/>
                <a:latin typeface="Segoe UI" panose="020B0502040204020203" pitchFamily="34" charset="0"/>
                <a:hlinkClick r:id="rId3"/>
              </a:rPr>
              <a:t>Azure portal</a:t>
            </a:r>
            <a:r>
              <a:rPr lang="en-US" sz="2800" b="0" i="0" dirty="0">
                <a:solidFill>
                  <a:srgbClr val="171717"/>
                </a:solidFill>
                <a:effectLst/>
                <a:latin typeface="Segoe UI" panose="020B0502040204020203" pitchFamily="34" charset="0"/>
              </a:rPr>
              <a:t>, or </a:t>
            </a:r>
            <a:r>
              <a:rPr lang="en-US" sz="2800" b="0" i="0" u="none" strike="noStrike" dirty="0">
                <a:solidFill>
                  <a:srgbClr val="171717"/>
                </a:solidFill>
                <a:effectLst/>
                <a:latin typeface="Segoe UI" panose="020B0502040204020203" pitchFamily="34" charset="0"/>
                <a:hlinkClick r:id="rId4"/>
              </a:rPr>
              <a:t>PowerShell</a:t>
            </a:r>
            <a:r>
              <a:rPr lang="en-US" sz="2800" b="0" i="0" dirty="0">
                <a:solidFill>
                  <a:srgbClr val="171717"/>
                </a:solidFill>
                <a:effectLst/>
                <a:latin typeface="Segoe UI" panose="020B0502040204020203" pitchFamily="34" charset="0"/>
              </a:rPr>
              <a:t> </a:t>
            </a:r>
            <a:r>
              <a:rPr lang="en-US" sz="2800" b="0" i="0" dirty="0" err="1">
                <a:solidFill>
                  <a:srgbClr val="171717"/>
                </a:solidFill>
                <a:effectLst/>
                <a:latin typeface="Segoe UI" panose="020B0502040204020203" pitchFamily="34" charset="0"/>
              </a:rPr>
              <a:t>quickstarts</a:t>
            </a:r>
            <a:r>
              <a:rPr lang="en-US" sz="2800" b="0" i="0" dirty="0">
                <a:solidFill>
                  <a:srgbClr val="171717"/>
                </a:solidFill>
                <a:effectLst/>
                <a:latin typeface="Segoe UI" panose="020B0502040204020203" pitchFamily="34" charset="0"/>
              </a:rPr>
              <a:t>. You can also use the </a:t>
            </a:r>
            <a:r>
              <a:rPr lang="en-US" sz="2800" b="0" i="0" u="none" strike="noStrike" dirty="0">
                <a:solidFill>
                  <a:srgbClr val="171717"/>
                </a:solidFill>
                <a:effectLst/>
                <a:latin typeface="Segoe UI" panose="020B0502040204020203" pitchFamily="34" charset="0"/>
                <a:hlinkClick r:id="rId5"/>
              </a:rPr>
              <a:t>pause REST API</a:t>
            </a:r>
            <a:r>
              <a:rPr lang="en-US" sz="2800" b="0" i="0" dirty="0">
                <a:solidFill>
                  <a:srgbClr val="171717"/>
                </a:solidFill>
                <a:effectLst/>
                <a:latin typeface="Segoe UI" panose="020B0502040204020203" pitchFamily="34" charset="0"/>
              </a:rPr>
              <a:t> or the </a:t>
            </a:r>
            <a:r>
              <a:rPr lang="en-US" sz="2800" b="0" i="0" u="none" strike="noStrike" dirty="0">
                <a:solidFill>
                  <a:srgbClr val="171717"/>
                </a:solidFill>
                <a:effectLst/>
                <a:latin typeface="Segoe UI" panose="020B0502040204020203" pitchFamily="34" charset="0"/>
                <a:hlinkClick r:id="rId6"/>
              </a:rPr>
              <a:t>resume REST API</a:t>
            </a:r>
            <a:r>
              <a:rPr lang="en-US" sz="2800" b="0" i="0" dirty="0">
                <a:solidFill>
                  <a:srgbClr val="171717"/>
                </a:solidFill>
                <a:effectLst/>
                <a:latin typeface="Segoe UI" panose="020B0502040204020203" pitchFamily="34" charset="0"/>
              </a:rPr>
              <a:t>.</a:t>
            </a:r>
          </a:p>
          <a:p>
            <a:endParaRPr lang="en-GB" dirty="0"/>
          </a:p>
          <a:p>
            <a:r>
              <a:rPr lang="en-GB" dirty="0"/>
              <a:t>Replicated Table cache is saved to disk on Pause and reloaded on Resum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12: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649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716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a reminder for the speech:</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Compute Node – the “worker bee” of SQL Pool</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Runs Azure SQL Server DB</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Contains a “slice” of each database</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CPU is saturated by storage</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Control Node – the “brains” of the SQL Pool</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lso runs Azure SQL Server DB</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Holds a “shell” copy of each database</a:t>
            </a:r>
          </a:p>
          <a:p>
            <a:pPr marL="74280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Metadata, statistics, </a:t>
            </a:r>
            <a:r>
              <a:rPr kumimoji="0" lang="en-US" sz="18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etc</a:t>
            </a:r>
            <a:endPar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The “public face” of the appliance</a:t>
            </a:r>
          </a:p>
          <a:p>
            <a:pPr marL="742808" marR="0" lvl="1"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ata Movement Services (DMS)</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Part of the “secret sauce” of SQL Pool</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Moves data around as needed</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Enables parallel operations among the compute nodes (queries, loads, </a:t>
            </a:r>
            <a:r>
              <a:rPr kumimoji="0" lang="en-US" sz="18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etc</a:t>
            </a: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gt;&gt; DMS is being replaced with 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gt;&gt; DMS is still used for certain moves, and for </a:t>
            </a:r>
            <a:r>
              <a:rPr kumimoji="0" lang="en-US" sz="18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t>
            </a:r>
          </a:p>
          <a:p>
            <a:endParaRPr lang="en-GB" dirty="0"/>
          </a:p>
          <a:p>
            <a:endParaRPr lang="en-GB" dirty="0"/>
          </a:p>
          <a:p>
            <a:r>
              <a:rPr lang="en-GB" dirty="0"/>
              <a:t>Explain the animation on how a query runs:</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 connects to the appliance (control node) and submits query</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ntrol node query processor determines best *parallel* query plan</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MS distributes sub-queries to each compute node</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ach compute node executes query on its subset of data</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ach compute node returns a subset of the response to the control node</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f necessary, control node does any final aggregation/computation</a:t>
            </a:r>
          </a:p>
          <a:p>
            <a:pPr marL="342834" marR="0" lvl="0" indent="-342834" algn="l" defTabSz="914225" rtl="0" eaLnBrk="1" fontAlgn="auto" latinLnBrk="0" hangingPunct="1">
              <a:lnSpc>
                <a:spcPct val="100000"/>
              </a:lnSpc>
              <a:spcBef>
                <a:spcPts val="0"/>
              </a:spcBef>
              <a:spcAft>
                <a:spcPts val="0"/>
              </a:spcAft>
              <a:buClrTx/>
              <a:buSzTx/>
              <a:buFontTx/>
              <a:buAutoNum type="arabicParen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ntrol node returns results to user</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12: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7411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f the table architecture concepts that will later be used as a basis to help determine good and bad query plan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936441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zure Synapse Analytics uses Azure Storage to store data. Since the data is stored and managed by Azure Storage, Azure Synapse Analytics charges separately for the storage consumption. The data itself is sharded into distributions to optimize the performance of the system. One can choose which </a:t>
            </a:r>
            <a:r>
              <a:rPr lang="en-US" b="0" i="0" dirty="0" err="1">
                <a:solidFill>
                  <a:srgbClr val="171717"/>
                </a:solidFill>
                <a:effectLst/>
                <a:latin typeface="Segoe UI" panose="020B0502040204020203" pitchFamily="34" charset="0"/>
              </a:rPr>
              <a:t>sharding</a:t>
            </a:r>
            <a:r>
              <a:rPr lang="en-US" b="0" i="0" dirty="0">
                <a:solidFill>
                  <a:srgbClr val="171717"/>
                </a:solidFill>
                <a:effectLst/>
                <a:latin typeface="Segoe UI" panose="020B0502040204020203" pitchFamily="34" charset="0"/>
              </a:rPr>
              <a:t> pattern to use to distribute the data when one defines the table. Azure Synapse Analytics supports these </a:t>
            </a:r>
            <a:r>
              <a:rPr lang="en-US" b="0" i="0" dirty="0" err="1">
                <a:solidFill>
                  <a:srgbClr val="171717"/>
                </a:solidFill>
                <a:effectLst/>
                <a:latin typeface="Segoe UI" panose="020B0502040204020203" pitchFamily="34" charset="0"/>
              </a:rPr>
              <a:t>sharding</a:t>
            </a:r>
            <a:r>
              <a:rPr lang="en-US" b="0" i="0" dirty="0">
                <a:solidFill>
                  <a:srgbClr val="171717"/>
                </a:solidFill>
                <a:effectLst/>
                <a:latin typeface="Segoe UI" panose="020B0502040204020203" pitchFamily="34" charset="0"/>
              </a:rPr>
              <a:t> patterns:</a:t>
            </a:r>
          </a:p>
          <a:p>
            <a:pPr algn="l">
              <a:buFont typeface="Arial" panose="020B0604020202020204" pitchFamily="34" charset="0"/>
              <a:buChar char="•"/>
            </a:pPr>
            <a:r>
              <a:rPr lang="en-US" b="0" i="0" dirty="0">
                <a:solidFill>
                  <a:srgbClr val="171717"/>
                </a:solidFill>
                <a:effectLst/>
                <a:latin typeface="Segoe UI" panose="020B0502040204020203" pitchFamily="34" charset="0"/>
              </a:rPr>
              <a:t>Hash</a:t>
            </a:r>
          </a:p>
          <a:p>
            <a:pPr algn="l">
              <a:buFont typeface="Arial" panose="020B0604020202020204" pitchFamily="34" charset="0"/>
              <a:buChar char="•"/>
            </a:pPr>
            <a:r>
              <a:rPr lang="en-US" b="0" i="0" dirty="0">
                <a:solidFill>
                  <a:srgbClr val="171717"/>
                </a:solidFill>
                <a:effectLst/>
                <a:latin typeface="Segoe UI" panose="020B0502040204020203" pitchFamily="34" charset="0"/>
              </a:rPr>
              <a:t>Round Robin</a:t>
            </a:r>
          </a:p>
          <a:p>
            <a:pPr algn="l">
              <a:buFont typeface="Arial" panose="020B0604020202020204" pitchFamily="34" charset="0"/>
              <a:buChar char="•"/>
            </a:pPr>
            <a:r>
              <a:rPr lang="en-US" b="0" i="0" dirty="0">
                <a:solidFill>
                  <a:srgbClr val="171717"/>
                </a:solidFill>
                <a:effectLst/>
                <a:latin typeface="Segoe UI" panose="020B0502040204020203" pitchFamily="34" charset="0"/>
              </a:rPr>
              <a:t>Replicate</a:t>
            </a:r>
          </a:p>
          <a:p>
            <a:pPr algn="l">
              <a:buFont typeface="Arial" panose="020B0604020202020204" pitchFamily="34" charset="0"/>
              <a:buNone/>
            </a:pPr>
            <a:r>
              <a:rPr lang="en-US" b="0" i="0" dirty="0">
                <a:solidFill>
                  <a:srgbClr val="171717"/>
                </a:solidFill>
                <a:effectLst/>
                <a:latin typeface="Segoe UI" panose="020B0502040204020203" pitchFamily="34" charset="0"/>
              </a:rPr>
              <a:t>A distributed table appears as a single table, but the rows are actually stored across 60 distributions. The rows are distributed with a hash or round-robin algorithm.</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0904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e always have 60 distributions</a:t>
            </a:r>
          </a:p>
          <a:p>
            <a:pPr marL="171450" indent="-171450">
              <a:buFont typeface="Arial" panose="020B0604020202020204" pitchFamily="34" charset="0"/>
              <a:buChar char="•"/>
            </a:pPr>
            <a:r>
              <a:rPr lang="en-GB" dirty="0"/>
              <a:t>You can ramp up or down compute power without affecting your storage</a:t>
            </a:r>
          </a:p>
          <a:p>
            <a:pPr marL="171450" indent="-171450">
              <a:buFont typeface="Arial" panose="020B0604020202020204" pitchFamily="34" charset="0"/>
              <a:buChar char="•"/>
            </a:pPr>
            <a:r>
              <a:rPr lang="en-GB" dirty="0"/>
              <a:t>Differentiator with Amazon Redshift: when we reattach databases, we can scale much faster – no need to destroy/recreate the cluster</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US" dirty="0">
                <a:hlinkClick r:id="rId3"/>
              </a:rPr>
              <a:t>https://docs.microsoft.com/en-us/azure/synapse-analytics/sql-data-warehouse/sql-data-warehouse-manage-compute-overview</a:t>
            </a:r>
            <a:endParaRPr lang="en-GB" dirty="0"/>
          </a:p>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730309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fundamental feature of SQL pool is the way it can store and operate on tables across </a:t>
            </a:r>
            <a:r>
              <a:rPr lang="en-US" b="0" i="0" u="sng" dirty="0">
                <a:solidFill>
                  <a:srgbClr val="171717"/>
                </a:solidFill>
                <a:effectLst/>
                <a:latin typeface="Segoe UI" panose="020B0502040204020203" pitchFamily="34" charset="0"/>
                <a:hlinkClick r:id="rId3"/>
              </a:rPr>
              <a:t>distributions</a:t>
            </a:r>
            <a:r>
              <a:rPr lang="en-US" b="0" i="0" dirty="0">
                <a:solidFill>
                  <a:srgbClr val="171717"/>
                </a:solidFill>
                <a:effectLst/>
                <a:latin typeface="Segoe UI" panose="020B0502040204020203" pitchFamily="34" charset="0"/>
              </a:rPr>
              <a:t>. SQL pool supports three methods for distributing data:</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Round-robin (default)</a:t>
            </a:r>
          </a:p>
          <a:p>
            <a:pPr algn="l">
              <a:buFont typeface="Arial" panose="020B0604020202020204" pitchFamily="34" charset="0"/>
              <a:buChar char="•"/>
            </a:pPr>
            <a:r>
              <a:rPr lang="en-US" b="0" i="0" dirty="0">
                <a:solidFill>
                  <a:srgbClr val="171717"/>
                </a:solidFill>
                <a:effectLst/>
                <a:latin typeface="Segoe UI" panose="020B0502040204020203" pitchFamily="34" charset="0"/>
              </a:rPr>
              <a:t>Hash</a:t>
            </a:r>
          </a:p>
          <a:p>
            <a:pPr algn="l">
              <a:buFont typeface="Arial" panose="020B0604020202020204" pitchFamily="34" charset="0"/>
              <a:buChar char="•"/>
            </a:pPr>
            <a:r>
              <a:rPr lang="en-US" b="0" i="0" dirty="0">
                <a:solidFill>
                  <a:srgbClr val="171717"/>
                </a:solidFill>
                <a:effectLst/>
                <a:latin typeface="Segoe UI" panose="020B0502040204020203" pitchFamily="34" charset="0"/>
              </a:rPr>
              <a:t>Replicated</a:t>
            </a:r>
          </a:p>
          <a:p>
            <a:pPr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A round-robin table gives you broadly even distribution of data across your distributions, but the method for distributing rows is not deterministic, which means the DW engine cannot determine where a particular row may reside. You could have two rows with the exact same values that end up on different distributions. This means that at query time it generally needs to re-distribute this data into a format where the rows are distributed deterministically, or all rows are available to all distributions (replicated tables). Redistributing data at query time will have a big impact on performance since data movement is one of the most expensive operations we can do. However, round-robin tables are the fastest to load into since they do not require logic to determine where rows need to go.</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A Hash-distributed table will distribute values based the values in a column that you choose at table-creation time. This operation is deterministic, so the DW engine is able to determine where particular rows reside at query time to determine whether or not data movement is necessary. Generally you will distribute your larger fact tables that have a lot of updates and you will distribute similar tables on the same key. This way when data is later joined the engine does not need to shuffle any data around to provide the result to the query. </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Replicated tables in SQL Pools will store a full copy of the table on the first distribution of each compute node making it logically available in full to all distributions. We would generally use these for smaller dimension tables that join to the large fact tables. There is almost never data movement required for this join because the replicated table provides a full copy of the data to join to all distributions. Replicated tables need to stay relatively small and have few updates to make them efficient. </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r>
              <a:rPr lang="es-ES" dirty="0">
                <a:hlinkClick r:id="rId4"/>
              </a:rPr>
              <a:t>https://docs.microsoft.com/en-us/azure/synapse-analytics/sql/develop-tables-overview</a:t>
            </a:r>
          </a:p>
          <a:p>
            <a:endParaRPr lang="es-E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88480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This slide demonstrates how values will be hashed out to distributions. </a:t>
            </a:r>
          </a:p>
          <a:p>
            <a:pPr marL="0" indent="0">
              <a:buFont typeface="Arial" panose="020B0604020202020204" pitchFamily="34" charset="0"/>
              <a:buNone/>
            </a:pPr>
            <a:r>
              <a:rPr lang="en-GB" dirty="0"/>
              <a:t>In the graphic, we will say that the column that we chose as our distribution column is an INT and the animation shows how the service may determine to distribute the data. This process continues until all data in the table has been distributed. Ideally this table is large enough that all distributions hold a large amount of distinct values</a:t>
            </a:r>
          </a:p>
          <a:p>
            <a:endParaRPr lang="en-GB" dirty="0"/>
          </a:p>
          <a:p>
            <a:pPr marL="0" indent="0">
              <a:buFont typeface="Arial" panose="020B0604020202020204" pitchFamily="34" charset="0"/>
              <a:buNone/>
            </a:pPr>
            <a:r>
              <a:rPr lang="en-GB" dirty="0"/>
              <a:t>Explain that a hash-distributed table distributes table rows across the compute nodes by using a deterministic hash function to assign each row to one distribution.</a:t>
            </a:r>
          </a:p>
          <a:p>
            <a:pPr marL="171450" indent="-171450">
              <a:buFont typeface="Arial" panose="020B0604020202020204" pitchFamily="34" charset="0"/>
              <a:buChar char="•"/>
            </a:pPr>
            <a:r>
              <a:rPr lang="en-GB" dirty="0"/>
              <a:t>Consider NULL – all values of the same type and value will end up on the same distribution. NULL’s in particular will all end up on the same distribution, for instance, so it’s a good idea to not allow nulls in your distribution column</a:t>
            </a:r>
          </a:p>
          <a:p>
            <a:pPr marL="171450" indent="-171450">
              <a:buFont typeface="Arial" panose="020B0604020202020204" pitchFamily="34" charset="0"/>
              <a:buChar char="•"/>
            </a:pPr>
            <a:r>
              <a:rPr lang="en-GB" dirty="0"/>
              <a:t>Otherwise, data is spread out according to the DW Engine’s hashing algorithm</a:t>
            </a:r>
          </a:p>
          <a:p>
            <a:pPr marL="171450" indent="-171450">
              <a:buFont typeface="Arial" panose="020B0604020202020204" pitchFamily="34" charset="0"/>
              <a:buChar char="•"/>
            </a:pPr>
            <a:r>
              <a:rPr lang="en-GB" dirty="0"/>
              <a:t>All tables are distributed using the same algorithm – this is what allows two distributed tables to join to each other without data movement. </a:t>
            </a:r>
          </a:p>
          <a:p>
            <a:endParaRPr lang="en-GB" dirty="0"/>
          </a:p>
          <a:p>
            <a:endParaRPr lang="en-GB" dirty="0"/>
          </a:p>
          <a:p>
            <a:r>
              <a:rPr lang="es-ES" dirty="0">
                <a:hlinkClick r:id="rId3"/>
              </a:rPr>
              <a:t>https://docs.microsoft.com/en-us/azure/synapse-analytics/sql-data-warehouse/sql-data-warehouse-tables-distribute?toc=/azure/synapse-analytics/toc.json&amp;bc=/azure/synapse-analytics/breadcrumb/toc.json#hash-distributed</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46F45D-BCE5-41E7-A317-0F8063D8F557}" type="slidenum">
              <a:rPr kumimoji="0" lang="en-GB"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0286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Hash distributed tables are best used for large fact tables. By large we meant tables that are over 2GB. These generally have enough distinct values in the Distribution column to distribute rows pretty evenly. Also, as the table gets larger the Benefit to splitting the work into smaller chunks increases, which a distributed table does vs a replicated table. </a:t>
            </a:r>
          </a:p>
          <a:p>
            <a:endParaRPr lang="en-US" noProof="0" dirty="0"/>
          </a:p>
          <a:p>
            <a:r>
              <a:rPr lang="en-US" noProof="0" dirty="0"/>
              <a:t>Hash-distributed tables handle DML Operations the best of any table type. There are implications in performance and locking. For instance, an update against a distributed table may only take a lock against the Required Distribution to perform the update whereas a replicated table would need to lock the entire table. Also, DML against a replicated table Will cause the cached-version of the table to be invalidated, which we don’t have to worry about with distributed tables. We Will cover replicated table caching more later. </a:t>
            </a:r>
          </a:p>
          <a:p>
            <a:endParaRPr lang="en-US" noProof="0" dirty="0"/>
          </a:p>
          <a:p>
            <a:r>
              <a:rPr lang="en-US" noProof="0" dirty="0"/>
              <a:t>Each table type is best used under certain conditions. The guidelines for what table type to use in a scenario are general guidelines and are not meant to be taken strictly. For instance, sometimes you may replicate a table that is larger tan 2GB because there are never any updates to it and it is joined on many different columns to different tables. In this scenario it may make sense to replicate the table to avoid data movement at query time.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547446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cause our hashing algorithm distributes values based on distribution, each distribution can only join to the equivalent distribution across tables. There is no facility to join between distributions – distribution01 will only join to distribution01, never to distribution02 (etc). </a:t>
            </a:r>
          </a:p>
          <a:p>
            <a:endParaRPr lang="en-GB" dirty="0"/>
          </a:p>
          <a:p>
            <a:r>
              <a:rPr lang="en-GB" dirty="0"/>
              <a:t>In the example we show the first 12 distributions for two different distributed tables. If the tables are distributed on the same key, then the join between these tables will be able to execute because all like-values are co-located within the same distribution. </a:t>
            </a:r>
          </a:p>
          <a:p>
            <a:r>
              <a:rPr lang="en-GB" dirty="0"/>
              <a:t>&lt;click&gt; </a:t>
            </a:r>
          </a:p>
          <a:p>
            <a:r>
              <a:rPr lang="en-GB" dirty="0"/>
              <a:t>If the tables were distributed on different keys, and now data in distribution 1 needs to join with data in distribution 2 – we cannot solve this without triggering data movement to redistribute one of the tables. Data movement is computationally expensive and should be minimized as much as possibl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46F45D-BCE5-41E7-A317-0F8063D8F557}" type="slidenum">
              <a:rPr kumimoji="0" lang="en-GB"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9275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solidFill>
                  <a:srgbClr val="525252"/>
                </a:solidFill>
              </a:rPr>
              <a:t>Three Basic Goals</a:t>
            </a:r>
          </a:p>
          <a:p>
            <a:pPr marL="0" indent="0">
              <a:buFont typeface="+mj-lt"/>
              <a:buNone/>
            </a:pPr>
            <a:r>
              <a:rPr lang="en-GB" sz="900" b="1" dirty="0">
                <a:solidFill>
                  <a:srgbClr val="525252"/>
                </a:solidFill>
              </a:rPr>
              <a:t>Minimize Data Movement</a:t>
            </a:r>
          </a:p>
          <a:p>
            <a:pPr marL="0" indent="0">
              <a:buFont typeface="+mj-lt"/>
              <a:buNone/>
            </a:pPr>
            <a:r>
              <a:rPr lang="en-GB" sz="900" b="0" dirty="0">
                <a:solidFill>
                  <a:srgbClr val="525252"/>
                </a:solidFill>
              </a:rPr>
              <a:t>Data movement is computationally expensive, but also necessary for most non-simple queries in a data warehouse. The goal now is to minimize the amount of data movement by making sure your tables are distributed on your join key and like tables are distributed on the same key.</a:t>
            </a:r>
          </a:p>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GB" sz="900" b="1" dirty="0">
              <a:solidFill>
                <a:srgbClr val="525252"/>
              </a:solidFill>
            </a:endParaRP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GB" sz="900" b="1" dirty="0">
                <a:solidFill>
                  <a:srgbClr val="525252"/>
                </a:solidFill>
              </a:rPr>
              <a:t>Minimize Data Skew</a:t>
            </a:r>
          </a:p>
          <a:p>
            <a:pPr marL="0" indent="0">
              <a:buFont typeface="+mj-lt"/>
              <a:buNone/>
            </a:pPr>
            <a:r>
              <a:rPr lang="en-GB" sz="900" b="0" dirty="0">
                <a:solidFill>
                  <a:srgbClr val="525252"/>
                </a:solidFill>
              </a:rPr>
              <a:t>It’s important that you choose a key that mostly evenly distributes data across your distributions. If you have skewed data it means that certain distributions have more data than others. In a distributed query plan you are generally only as fast as your slowest distribution, so if a particular distribution has more data to process, your overall query runtime will increase to however long that distribution takes. We generally accept that skew should be under 15%. We allow some amount of skew because a perfectly distributed table doesn’t matter much if at query time we need to redistribute the table to a poorly-distributed key anyway – this would be considered architecting for balanced execution. </a:t>
            </a:r>
          </a:p>
          <a:p>
            <a:pPr marL="0" indent="0">
              <a:buFont typeface="+mj-lt"/>
              <a:buNone/>
            </a:pPr>
            <a:endParaRPr lang="en-GB" sz="900" b="1" dirty="0">
              <a:solidFill>
                <a:srgbClr val="525252"/>
              </a:solidFill>
            </a:endParaRPr>
          </a:p>
          <a:p>
            <a:pPr marL="0" indent="0">
              <a:buFont typeface="+mj-lt"/>
              <a:buNone/>
            </a:pPr>
            <a:r>
              <a:rPr lang="en-GB" sz="900" b="1" dirty="0">
                <a:solidFill>
                  <a:srgbClr val="525252"/>
                </a:solidFill>
              </a:rPr>
              <a:t>Maximize Balanced Execution</a:t>
            </a:r>
          </a:p>
          <a:p>
            <a:pPr marL="0" indent="0">
              <a:buFont typeface="+mj-lt"/>
              <a:buNone/>
            </a:pPr>
            <a:r>
              <a:rPr lang="en-GB" sz="900" b="0" dirty="0">
                <a:solidFill>
                  <a:srgbClr val="525252"/>
                </a:solidFill>
              </a:rPr>
              <a:t>If data skew on disk was all that mattered then we would get the best performance making all of our tables round-robin, but in reality what tends to matter more than data distribution on disk is execution distribution at query time. I can distribute on a key that perfectly distributes my data on disk, but if my query comes in and the distribution key isn’t logically relevant, then it will have to re-distribute the table into tempdb at query time. At this point you just added a step to your query plan because the original architecture values skew on disk over choosing a key that makes sense for your query patterns. </a:t>
            </a:r>
          </a:p>
          <a:p>
            <a:pPr marL="0" indent="0">
              <a:buFont typeface="+mj-lt"/>
              <a:buNone/>
            </a:pPr>
            <a:endParaRPr lang="en-GB" sz="900" b="0" dirty="0">
              <a:solidFill>
                <a:srgbClr val="525252"/>
              </a:solidFill>
            </a:endParaRPr>
          </a:p>
          <a:p>
            <a:pPr marL="0" indent="0">
              <a:buFont typeface="+mj-lt"/>
              <a:buNone/>
            </a:pPr>
            <a:r>
              <a:rPr lang="en-GB" sz="900" b="0" dirty="0">
                <a:solidFill>
                  <a:srgbClr val="525252"/>
                </a:solidFill>
              </a:rPr>
              <a:t>Another example of skewed execution could be distributing a table on date, which is generally not a good key, then selecting out a particular date. All of that data will be returned from a single distribution, which means you are bypassing the benefits of an MPP system, and the query is not using multiple nodes to retrieve your data.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22946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cluding the distribution key in the join generally makes the join distribution compatible which will avoid data movement</a:t>
            </a:r>
          </a:p>
          <a:p>
            <a:pPr marL="171450" indent="-171450">
              <a:buFont typeface="Arial" panose="020B0604020202020204" pitchFamily="34" charset="0"/>
              <a:buChar char="•"/>
            </a:pPr>
            <a:r>
              <a:rPr lang="en-US" dirty="0"/>
              <a:t>Picking distribution column (joins, group by, where clause) are listed in priority or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 Distribute on the WHERE clause </a:t>
            </a:r>
            <a:r>
              <a:rPr lang="en-US" b="0" i="0" dirty="0">
                <a:solidFill>
                  <a:srgbClr val="171717"/>
                </a:solidFill>
                <a:effectLst/>
                <a:latin typeface="Segoe UI" panose="020B0502040204020203" pitchFamily="34" charset="0"/>
              </a:rPr>
              <a:t>could narrow the query to not run on all the distributions. Use </a:t>
            </a:r>
            <a:r>
              <a:rPr lang="en-US" dirty="0"/>
              <a:t>only when there are lots of little queries. If you do that,</a:t>
            </a:r>
            <a:r>
              <a:rPr lang="en-US" baseline="0" dirty="0"/>
              <a:t> be sure to comment your code to people know what you are trying to do. Otherwise, distributing on a predominant WHERE column is an anti-pattern</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A unique HASH key, that is used only in a single table in a database will very likely not be a significant factor in minimizing data movement. Choose a HASH key that will match with related tables. You can query the DMVs to determine the usage particular distribution columns and identify columns that are only used in single or a small number of tables. This also applies if a particular table has a different data type. Since the hashing algorithm distributes based on the data type and value of the column, two columns with the same values but different data types will not be distributed the same. </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1. “</a:t>
            </a:r>
            <a:r>
              <a:rPr lang="en-GB" baseline="0" dirty="0"/>
              <a:t>Pick a distribution column that is commonly used in“</a:t>
            </a:r>
            <a:endParaRPr lang="en-US" dirty="0"/>
          </a:p>
          <a:p>
            <a:pPr marL="171450" indent="-171450">
              <a:buFont typeface="Arial" panose="020B0604020202020204" pitchFamily="34" charset="0"/>
              <a:buChar char="•"/>
            </a:pPr>
            <a:r>
              <a:rPr lang="en-US" dirty="0"/>
              <a:t>Including the distribution key in the join </a:t>
            </a:r>
            <a:r>
              <a:rPr lang="en-US" i="1" dirty="0"/>
              <a:t>generally</a:t>
            </a:r>
            <a:r>
              <a:rPr lang="en-US" dirty="0"/>
              <a:t> makes the join distribution compatible which will eliminate some or all data movement</a:t>
            </a:r>
          </a:p>
          <a:p>
            <a:pPr marL="171450" indent="-171450">
              <a:buFont typeface="Arial" panose="020B0604020202020204" pitchFamily="34" charset="0"/>
              <a:buChar char="•"/>
            </a:pPr>
            <a:r>
              <a:rPr lang="en-US" dirty="0"/>
              <a:t>Picking distribution column (joins, aggregation, where) are listed in priority or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istribute on the WHERE column </a:t>
            </a:r>
            <a:r>
              <a:rPr lang="en-US" u="sng" dirty="0"/>
              <a:t>only</a:t>
            </a:r>
            <a:r>
              <a:rPr lang="en-US" dirty="0"/>
              <a:t> when there are lots of little queries. If you do that,</a:t>
            </a:r>
            <a:r>
              <a:rPr lang="en-US" baseline="0" dirty="0"/>
              <a:t> be sure to comment your code so people know what you are trying to do. Otherwise, distributing on a predominant WHERE column is an anti-pattern due to the implicit Unbalanced Exec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2. “</a:t>
            </a:r>
            <a:r>
              <a:rPr lang="en-GB" baseline="0" dirty="0"/>
              <a:t>Distribution columns in related tables</a:t>
            </a:r>
            <a:r>
              <a:rPr lang="en-US" baseline="0"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elated tables should be Distributed on the same key, defined with same data type &amp; siz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HASH algorithm does not look at the value, it operates on the bytes in the field, hence 1 in INT is not the same as 1 in BIGINT, or 1 in VARCHAR(1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3. “Unique Distribution colum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efined as a candidate key for table that has no matching keys to any table that it is joined to. In this case, consider making the table Replicated, if it meets the criteria (&lt; 2GB, not updated regularly, limited column set). A surrogate key (</a:t>
            </a:r>
            <a:r>
              <a:rPr lang="en-US" baseline="0" dirty="0" err="1"/>
              <a:t>i.e</a:t>
            </a:r>
            <a:r>
              <a:rPr lang="en-US" baseline="0" dirty="0"/>
              <a:t>, non-natural / generated) as a hash key will often be a Unique ke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efine a Unique Distribution column only if there are no other options.</a:t>
            </a: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58223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Movement is a primary cause of performance issues in a Synapse SQL Pool environment.</a:t>
            </a:r>
          </a:p>
          <a:p>
            <a:endParaRPr lang="en-US" dirty="0"/>
          </a:p>
          <a:p>
            <a:r>
              <a:rPr lang="en-US" dirty="0"/>
              <a:t>As we can only distribute on a single key, Data Movement is unavoidable – not every JOIN can be written on the Hash key, not every measure can be aggregated on the Hash key.</a:t>
            </a:r>
          </a:p>
          <a:p>
            <a:r>
              <a:rPr lang="en-US" dirty="0"/>
              <a:t>Designing table structures should have a primary goal to reduce data movement for the predominant query patterns.</a:t>
            </a:r>
          </a:p>
          <a:p>
            <a:endParaRPr lang="en-US" dirty="0"/>
          </a:p>
          <a:p>
            <a:r>
              <a:rPr lang="en-US" dirty="0"/>
              <a:t>Some query patterns that are likely to incur data movement are:</a:t>
            </a:r>
          </a:p>
          <a:p>
            <a:pPr marL="171450" indent="-171450">
              <a:buFont typeface="Arial" panose="020B0604020202020204" pitchFamily="34" charset="0"/>
              <a:buChar char="•"/>
            </a:pPr>
            <a:r>
              <a:rPr lang="en-US" dirty="0"/>
              <a:t>Self-Joins on Distributed tables. At least one side of the JOIN is not going to be on the hash key, causing data movement with a SHUFFLE MOVE</a:t>
            </a:r>
          </a:p>
          <a:p>
            <a:pPr marL="171450" indent="-171450">
              <a:buFont typeface="Arial" panose="020B0604020202020204" pitchFamily="34" charset="0"/>
              <a:buChar char="•"/>
            </a:pPr>
            <a:r>
              <a:rPr lang="en-US" dirty="0"/>
              <a:t>A Distributed table joining to a Distributed table, use Hash keys in the JOIN if possible, even if its redundant, else a SHUFFLE MOVE on one </a:t>
            </a:r>
            <a:r>
              <a:rPr lang="en-US" u="sng" dirty="0"/>
              <a:t>or more </a:t>
            </a:r>
            <a:r>
              <a:rPr lang="en-US" dirty="0"/>
              <a:t>tables will be performed</a:t>
            </a:r>
          </a:p>
          <a:p>
            <a:pPr marL="171450" indent="-171450">
              <a:buFont typeface="Arial" panose="020B0604020202020204" pitchFamily="34" charset="0"/>
              <a:buChar char="•"/>
            </a:pPr>
            <a:r>
              <a:rPr lang="en-US" dirty="0"/>
              <a:t>OUTER JOINs can cause data movement, even if the query is ‘technically’ Distribution compatible. OUTER JOINs can cause a Replicated table to be converted to a Distributed table in a TRIM MOVE. In this case, check if Data Movement is happening, and if so, convert to an INNER JOIN format, if possible.</a:t>
            </a:r>
          </a:p>
          <a:p>
            <a:pPr marL="0" indent="0">
              <a:buFont typeface="Arial" panose="020B0604020202020204" pitchFamily="34" charset="0"/>
              <a:buNone/>
            </a:pPr>
            <a:endParaRPr lang="en-US" dirty="0"/>
          </a:p>
          <a:p>
            <a:endParaRPr lang="en-GB"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38327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StoreId</a:t>
            </a:r>
            <a:r>
              <a:rPr lang="en-GB" dirty="0"/>
              <a:t> is not a good choice because it does not guarantee to distribute the data evenly.</a:t>
            </a:r>
          </a:p>
          <a:p>
            <a:r>
              <a:rPr lang="en-GB" dirty="0"/>
              <a:t>(*) TransactionDate is a bad HASH key candidate for other reasons as well</a:t>
            </a:r>
          </a:p>
          <a:p>
            <a:pPr marL="228600" indent="-228600">
              <a:buAutoNum type="arabicPeriod"/>
            </a:pPr>
            <a:r>
              <a:rPr lang="en-GB" dirty="0"/>
              <a:t>Low cardinality – only 365 different values / year</a:t>
            </a:r>
          </a:p>
          <a:p>
            <a:pPr marL="228600" indent="-228600">
              <a:buAutoNum type="arabicPeriod"/>
            </a:pPr>
            <a:r>
              <a:rPr lang="en-GB" dirty="0"/>
              <a:t>Likely to be a primary WHERE field</a:t>
            </a:r>
          </a:p>
          <a:p>
            <a:pPr marL="228600" indent="-228600">
              <a:buAutoNum type="arabicPeriod"/>
            </a:pPr>
            <a:r>
              <a:rPr lang="en-GB" dirty="0"/>
              <a:t>Unlikely to be a JOIN column</a:t>
            </a:r>
          </a:p>
          <a:p>
            <a:pPr marL="0" indent="0">
              <a:buNone/>
            </a:pPr>
            <a:r>
              <a:rPr lang="en-GB" dirty="0"/>
              <a:t>TransactionDateTime is a better candidate, but still has significant downside</a:t>
            </a:r>
          </a:p>
          <a:p>
            <a:pPr marL="228600" indent="-228600">
              <a:buAutoNum type="arabicPeriod"/>
            </a:pPr>
            <a:r>
              <a:rPr lang="en-GB" dirty="0"/>
              <a:t>(+) Very high (unlimited) cardinality – better distribution</a:t>
            </a:r>
          </a:p>
          <a:p>
            <a:pPr marL="228600" indent="-228600">
              <a:buAutoNum type="arabicPeriod"/>
            </a:pPr>
            <a:r>
              <a:rPr lang="en-GB" dirty="0"/>
              <a:t>(-) Likely to be a primary WHERE field</a:t>
            </a:r>
          </a:p>
          <a:p>
            <a:pPr marL="228600" indent="-228600">
              <a:buAutoNum type="arabicPeriod"/>
            </a:pPr>
            <a:r>
              <a:rPr lang="en-GB" dirty="0"/>
              <a:t>(-) Unlikely to be a JOIN colum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2617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Example of a bad hash shown. You can check data skew by running DBCC PDW_SHOWSPACEUSED. It will return 60 rows (a row for each distribution) which include how many rows are in that distribution and the data size on that distribu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indent="-171450">
              <a:buFont typeface="Arial" panose="020B0604020202020204" pitchFamily="34" charset="0"/>
              <a:buChar char="•"/>
            </a:pPr>
            <a:r>
              <a:rPr lang="en-GB" dirty="0"/>
              <a:t>Notice the variability in rows per distribution</a:t>
            </a:r>
          </a:p>
          <a:p>
            <a:pPr marL="171450" indent="-171450">
              <a:buFont typeface="Arial" panose="020B0604020202020204" pitchFamily="34" charset="0"/>
              <a:buChar char="•"/>
            </a:pPr>
            <a:r>
              <a:rPr lang="en-GB" dirty="0"/>
              <a:t>Synapse SQL recommendations served through Azure advisor includes Data skew scenario</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0" indent="0">
              <a:buFont typeface="Arial" panose="020B0604020202020204" pitchFamily="34" charset="0"/>
              <a:buNone/>
            </a:pPr>
            <a:r>
              <a:rPr lang="es-ES" dirty="0">
                <a:hlinkClick r:id="rId3"/>
              </a:rPr>
              <a:t>https://docs.microsoft.com/en-us/sql/t-sql/database-console-commands/dbcc-pdw-showspaceused-transact-sql?view=aps-pdw-2016-au7</a:t>
            </a:r>
            <a:endParaRPr lang="es-ES" dirty="0"/>
          </a:p>
          <a:p>
            <a:pPr marL="0" indent="0">
              <a:buFont typeface="Arial" panose="020B0604020202020204" pitchFamily="34" charset="0"/>
              <a:buNone/>
            </a:pPr>
            <a:endParaRPr lang="es-ES" dirty="0"/>
          </a:p>
          <a:p>
            <a:pPr marL="0" indent="0">
              <a:buFont typeface="Arial" panose="020B0604020202020204" pitchFamily="34" charset="0"/>
              <a:buNone/>
            </a:pPr>
            <a:r>
              <a:rPr lang="es-ES" dirty="0">
                <a:hlinkClick r:id="rId4"/>
              </a:rPr>
              <a:t>https://docs.microsoft.com/en-us/azure/synapse-analytics/sql-data-warehouse/sql-data-warehouse-concept-recommendations</a:t>
            </a:r>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15387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i="0" dirty="0">
                <a:solidFill>
                  <a:srgbClr val="0101FD"/>
                </a:solidFill>
                <a:effectLst/>
                <a:latin typeface="SFMono-Regular"/>
              </a:rPr>
              <a:t>select</a:t>
            </a:r>
            <a:r>
              <a:rPr lang="en-US" b="0" i="0" dirty="0">
                <a:solidFill>
                  <a:srgbClr val="171717"/>
                </a:solidFill>
                <a:effectLst/>
                <a:latin typeface="SFMono-Regular"/>
              </a:rPr>
              <a:t> * </a:t>
            </a:r>
          </a:p>
          <a:p>
            <a:pPr marL="0" indent="0">
              <a:buFont typeface="Arial" panose="020B0604020202020204" pitchFamily="34" charset="0"/>
              <a:buNone/>
            </a:pPr>
            <a:r>
              <a:rPr lang="en-US" b="0" i="0" dirty="0">
                <a:solidFill>
                  <a:srgbClr val="0101FD"/>
                </a:solidFill>
                <a:effectLst/>
                <a:latin typeface="SFMono-Regular"/>
              </a:rPr>
              <a:t>from</a:t>
            </a:r>
            <a:r>
              <a:rPr lang="en-US" b="0" i="0" dirty="0">
                <a:solidFill>
                  <a:srgbClr val="171717"/>
                </a:solidFill>
                <a:effectLst/>
                <a:latin typeface="SFMono-Regular"/>
              </a:rPr>
              <a:t> dbo.vTableSizes </a:t>
            </a:r>
          </a:p>
          <a:p>
            <a:pPr marL="0" indent="0">
              <a:buFont typeface="Arial" panose="020B0604020202020204" pitchFamily="34" charset="0"/>
              <a:buNone/>
            </a:pPr>
            <a:r>
              <a:rPr lang="en-US" b="0" i="0" dirty="0">
                <a:solidFill>
                  <a:srgbClr val="0101FD"/>
                </a:solidFill>
                <a:effectLst/>
                <a:latin typeface="SFMono-Regular"/>
              </a:rPr>
              <a:t>where</a:t>
            </a:r>
            <a:r>
              <a:rPr lang="en-US" b="0" i="0" dirty="0">
                <a:solidFill>
                  <a:srgbClr val="171717"/>
                </a:solidFill>
                <a:effectLst/>
                <a:latin typeface="SFMono-Regular"/>
              </a:rPr>
              <a:t> two_part_name </a:t>
            </a:r>
            <a:r>
              <a:rPr lang="en-US" b="0" i="0" dirty="0">
                <a:solidFill>
                  <a:srgbClr val="0101FD"/>
                </a:solidFill>
                <a:effectLst/>
                <a:latin typeface="SFMono-Regular"/>
              </a:rPr>
              <a:t>in</a:t>
            </a:r>
            <a:r>
              <a:rPr lang="en-US" b="0" i="0" dirty="0">
                <a:solidFill>
                  <a:srgbClr val="171717"/>
                </a:solidFill>
                <a:effectLst/>
                <a:latin typeface="SFMono-Regular"/>
              </a:rPr>
              <a:t> </a:t>
            </a:r>
          </a:p>
          <a:p>
            <a:pPr marL="0" indent="0">
              <a:buFont typeface="Arial" panose="020B0604020202020204" pitchFamily="34" charset="0"/>
              <a:buNone/>
            </a:pPr>
            <a:r>
              <a:rPr lang="en-US" b="0" i="0" dirty="0">
                <a:solidFill>
                  <a:srgbClr val="171717"/>
                </a:solidFill>
                <a:effectLst/>
                <a:latin typeface="SFMono-Regular"/>
              </a:rPr>
              <a:t>( </a:t>
            </a:r>
            <a:r>
              <a:rPr lang="en-US" b="0" i="0" dirty="0">
                <a:solidFill>
                  <a:srgbClr val="0101FD"/>
                </a:solidFill>
                <a:effectLst/>
                <a:latin typeface="SFMono-Regular"/>
              </a:rPr>
              <a:t>select</a:t>
            </a:r>
            <a:r>
              <a:rPr lang="en-US" b="0" i="0" dirty="0">
                <a:solidFill>
                  <a:srgbClr val="171717"/>
                </a:solidFill>
                <a:effectLst/>
                <a:latin typeface="SFMono-Regular"/>
              </a:rPr>
              <a:t> two_part_name </a:t>
            </a:r>
          </a:p>
          <a:p>
            <a:pPr marL="0" indent="0">
              <a:buFont typeface="Arial" panose="020B0604020202020204" pitchFamily="34" charset="0"/>
              <a:buNone/>
            </a:pPr>
            <a:r>
              <a:rPr lang="en-US" b="0" i="0" dirty="0">
                <a:solidFill>
                  <a:srgbClr val="0101FD"/>
                </a:solidFill>
                <a:effectLst/>
                <a:latin typeface="SFMono-Regular"/>
              </a:rPr>
              <a:t>from</a:t>
            </a:r>
            <a:r>
              <a:rPr lang="en-US" b="0" i="0" dirty="0">
                <a:solidFill>
                  <a:srgbClr val="171717"/>
                </a:solidFill>
                <a:effectLst/>
                <a:latin typeface="SFMono-Regular"/>
              </a:rPr>
              <a:t> dbo.vTableSizes </a:t>
            </a:r>
          </a:p>
          <a:p>
            <a:pPr marL="0" indent="0">
              <a:buFont typeface="Arial" panose="020B0604020202020204" pitchFamily="34" charset="0"/>
              <a:buNone/>
            </a:pPr>
            <a:r>
              <a:rPr lang="en-US" b="0" i="0" dirty="0">
                <a:solidFill>
                  <a:srgbClr val="0101FD"/>
                </a:solidFill>
                <a:effectLst/>
                <a:latin typeface="SFMono-Regular"/>
              </a:rPr>
              <a:t>where</a:t>
            </a:r>
            <a:r>
              <a:rPr lang="en-US" b="0" i="0" dirty="0">
                <a:solidFill>
                  <a:srgbClr val="171717"/>
                </a:solidFill>
                <a:effectLst/>
                <a:latin typeface="SFMono-Regular"/>
              </a:rPr>
              <a:t> </a:t>
            </a:r>
            <a:r>
              <a:rPr lang="en-US" b="0" i="0" dirty="0">
                <a:solidFill>
                  <a:srgbClr val="0101FD"/>
                </a:solidFill>
                <a:effectLst/>
                <a:latin typeface="SFMono-Regular"/>
              </a:rPr>
              <a:t>row_count</a:t>
            </a:r>
            <a:r>
              <a:rPr lang="en-US" b="0" i="0" dirty="0">
                <a:solidFill>
                  <a:srgbClr val="171717"/>
                </a:solidFill>
                <a:effectLst/>
                <a:latin typeface="SFMono-Regular"/>
              </a:rPr>
              <a:t> &gt; 0 </a:t>
            </a:r>
          </a:p>
          <a:p>
            <a:pPr marL="0" indent="0">
              <a:buFont typeface="Arial" panose="020B0604020202020204" pitchFamily="34" charset="0"/>
              <a:buNone/>
            </a:pPr>
            <a:r>
              <a:rPr lang="en-US" b="0" i="0" dirty="0">
                <a:solidFill>
                  <a:srgbClr val="0101FD"/>
                </a:solidFill>
                <a:effectLst/>
                <a:latin typeface="SFMono-Regular"/>
              </a:rPr>
              <a:t>group</a:t>
            </a:r>
            <a:r>
              <a:rPr lang="en-US" b="0" i="0" dirty="0">
                <a:solidFill>
                  <a:srgbClr val="171717"/>
                </a:solidFill>
                <a:effectLst/>
                <a:latin typeface="SFMono-Regular"/>
              </a:rPr>
              <a:t> </a:t>
            </a:r>
            <a:r>
              <a:rPr lang="en-US" b="0" i="0" dirty="0">
                <a:solidFill>
                  <a:srgbClr val="0101FD"/>
                </a:solidFill>
                <a:effectLst/>
                <a:latin typeface="SFMono-Regular"/>
              </a:rPr>
              <a:t>by</a:t>
            </a:r>
            <a:r>
              <a:rPr lang="en-US" b="0" i="0" dirty="0">
                <a:solidFill>
                  <a:srgbClr val="171717"/>
                </a:solidFill>
                <a:effectLst/>
                <a:latin typeface="SFMono-Regular"/>
              </a:rPr>
              <a:t> two_part_name </a:t>
            </a:r>
          </a:p>
          <a:p>
            <a:pPr marL="0" indent="0">
              <a:buFont typeface="Arial" panose="020B0604020202020204" pitchFamily="34" charset="0"/>
              <a:buNone/>
            </a:pPr>
            <a:r>
              <a:rPr lang="en-US" b="0" i="0" dirty="0">
                <a:solidFill>
                  <a:srgbClr val="0101FD"/>
                </a:solidFill>
                <a:effectLst/>
                <a:latin typeface="SFMono-Regular"/>
              </a:rPr>
              <a:t>having</a:t>
            </a:r>
            <a:r>
              <a:rPr lang="en-US" b="0" i="0" dirty="0">
                <a:solidFill>
                  <a:srgbClr val="171717"/>
                </a:solidFill>
                <a:effectLst/>
                <a:latin typeface="SFMono-Regular"/>
              </a:rPr>
              <a:t> (</a:t>
            </a:r>
            <a:r>
              <a:rPr lang="en-US" b="0" i="0" dirty="0">
                <a:solidFill>
                  <a:srgbClr val="0101FD"/>
                </a:solidFill>
                <a:effectLst/>
                <a:latin typeface="SFMono-Regular"/>
              </a:rPr>
              <a:t>max</a:t>
            </a:r>
            <a:r>
              <a:rPr lang="en-US" b="0" i="0" dirty="0">
                <a:solidFill>
                  <a:srgbClr val="171717"/>
                </a:solidFill>
                <a:effectLst/>
                <a:latin typeface="SFMono-Regular"/>
              </a:rPr>
              <a:t>(</a:t>
            </a:r>
            <a:r>
              <a:rPr lang="en-US" b="0" i="0" dirty="0">
                <a:solidFill>
                  <a:srgbClr val="0101FD"/>
                </a:solidFill>
                <a:effectLst/>
                <a:latin typeface="SFMono-Regular"/>
              </a:rPr>
              <a:t>row_count</a:t>
            </a:r>
            <a:r>
              <a:rPr lang="en-US" b="0" i="0" dirty="0">
                <a:solidFill>
                  <a:srgbClr val="171717"/>
                </a:solidFill>
                <a:effectLst/>
                <a:latin typeface="SFMono-Regular"/>
              </a:rPr>
              <a:t> * 1.000) - </a:t>
            </a:r>
            <a:r>
              <a:rPr lang="en-US" b="0" i="0" dirty="0">
                <a:solidFill>
                  <a:srgbClr val="0101FD"/>
                </a:solidFill>
                <a:effectLst/>
                <a:latin typeface="SFMono-Regular"/>
              </a:rPr>
              <a:t>min</a:t>
            </a:r>
            <a:r>
              <a:rPr lang="en-US" b="0" i="0" dirty="0">
                <a:solidFill>
                  <a:srgbClr val="171717"/>
                </a:solidFill>
                <a:effectLst/>
                <a:latin typeface="SFMono-Regular"/>
              </a:rPr>
              <a:t>(</a:t>
            </a:r>
            <a:r>
              <a:rPr lang="en-US" b="0" i="0" dirty="0">
                <a:solidFill>
                  <a:srgbClr val="0101FD"/>
                </a:solidFill>
                <a:effectLst/>
                <a:latin typeface="SFMono-Regular"/>
              </a:rPr>
              <a:t>row_count</a:t>
            </a:r>
            <a:r>
              <a:rPr lang="en-US" b="0" i="0" dirty="0">
                <a:solidFill>
                  <a:srgbClr val="171717"/>
                </a:solidFill>
                <a:effectLst/>
                <a:latin typeface="SFMono-Regular"/>
              </a:rPr>
              <a:t> * 1.000))/</a:t>
            </a:r>
            <a:r>
              <a:rPr lang="en-US" b="0" i="0" dirty="0">
                <a:solidFill>
                  <a:srgbClr val="0101FD"/>
                </a:solidFill>
                <a:effectLst/>
                <a:latin typeface="SFMono-Regular"/>
              </a:rPr>
              <a:t>max</a:t>
            </a:r>
            <a:r>
              <a:rPr lang="en-US" b="0" i="0" dirty="0">
                <a:solidFill>
                  <a:srgbClr val="171717"/>
                </a:solidFill>
                <a:effectLst/>
                <a:latin typeface="SFMono-Regular"/>
              </a:rPr>
              <a:t>(</a:t>
            </a:r>
            <a:r>
              <a:rPr lang="en-US" b="0" i="0" dirty="0">
                <a:solidFill>
                  <a:srgbClr val="0101FD"/>
                </a:solidFill>
                <a:effectLst/>
                <a:latin typeface="SFMono-Regular"/>
              </a:rPr>
              <a:t>row_count</a:t>
            </a:r>
            <a:r>
              <a:rPr lang="en-US" b="0" i="0" dirty="0">
                <a:solidFill>
                  <a:srgbClr val="171717"/>
                </a:solidFill>
                <a:effectLst/>
                <a:latin typeface="SFMono-Regular"/>
              </a:rPr>
              <a:t> * 1.000) &gt;= .10 )</a:t>
            </a:r>
          </a:p>
          <a:p>
            <a:pPr marL="0" indent="0">
              <a:buFont typeface="Arial" panose="020B0604020202020204" pitchFamily="34" charset="0"/>
              <a:buNone/>
            </a:pPr>
            <a:r>
              <a:rPr lang="en-US" b="0" i="0" dirty="0">
                <a:solidFill>
                  <a:srgbClr val="0101FD"/>
                </a:solidFill>
                <a:effectLst/>
                <a:latin typeface="SFMono-Regular"/>
              </a:rPr>
              <a:t>order</a:t>
            </a:r>
            <a:r>
              <a:rPr lang="en-US" b="0" i="0" dirty="0">
                <a:solidFill>
                  <a:srgbClr val="171717"/>
                </a:solidFill>
                <a:effectLst/>
                <a:latin typeface="SFMono-Regular"/>
              </a:rPr>
              <a:t> </a:t>
            </a:r>
            <a:r>
              <a:rPr lang="en-US" b="0" i="0" dirty="0">
                <a:solidFill>
                  <a:srgbClr val="0101FD"/>
                </a:solidFill>
                <a:effectLst/>
                <a:latin typeface="SFMono-Regular"/>
              </a:rPr>
              <a:t>by</a:t>
            </a:r>
            <a:r>
              <a:rPr lang="en-US" b="0" i="0" dirty="0">
                <a:solidFill>
                  <a:srgbClr val="171717"/>
                </a:solidFill>
                <a:effectLst/>
                <a:latin typeface="SFMono-Regular"/>
              </a:rPr>
              <a:t> two_part_name, </a:t>
            </a:r>
            <a:r>
              <a:rPr lang="en-US" b="0" i="0" dirty="0">
                <a:solidFill>
                  <a:srgbClr val="0101FD"/>
                </a:solidFill>
                <a:effectLst/>
                <a:latin typeface="SFMono-Regular"/>
              </a:rPr>
              <a:t>row_count</a:t>
            </a:r>
            <a:r>
              <a:rPr lang="en-US" b="0" i="0" dirty="0">
                <a:solidFill>
                  <a:srgbClr val="171717"/>
                </a:solidFill>
                <a:effectLst/>
                <a:latin typeface="SFMono-Regular"/>
              </a:rPr>
              <a:t> ;</a:t>
            </a:r>
          </a:p>
          <a:p>
            <a:pPr marL="0" indent="0">
              <a:buFont typeface="Arial" panose="020B0604020202020204" pitchFamily="34" charset="0"/>
              <a:buNone/>
            </a:pPr>
            <a:endParaRPr lang="en-US" b="0" i="0" dirty="0">
              <a:solidFill>
                <a:srgbClr val="171717"/>
              </a:solidFill>
              <a:effectLst/>
              <a:latin typeface="SFMono-Regular"/>
            </a:endParaRPr>
          </a:p>
          <a:p>
            <a:pPr marL="0" indent="0">
              <a:buFont typeface="Arial" panose="020B0604020202020204" pitchFamily="34" charset="0"/>
              <a:buNone/>
            </a:pPr>
            <a:r>
              <a:rPr lang="en-GB" dirty="0"/>
              <a:t>There are multiple different ways to calculate degree of skew between the 60 distributions. Generally accepted and used on this slide is: (MAX – MIN / MAX) – referring to the distribution with the most and least rows. In our example that would be:</a:t>
            </a:r>
          </a:p>
          <a:p>
            <a:pPr marL="0" indent="0">
              <a:buFont typeface="Arial" panose="020B0604020202020204" pitchFamily="34" charset="0"/>
              <a:buNone/>
            </a:pPr>
            <a:r>
              <a:rPr lang="en-GB" dirty="0"/>
              <a:t>(3319-0)/3319 = 100% skew</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This is a good indicator for looking at the “difference between the largest and smallest distribution”. In this example “one distribution has 100% more rows than another”. Another way to calculate would be (MAX-MIN)/TOTAL. </a:t>
            </a:r>
          </a:p>
          <a:p>
            <a:pPr marL="0" indent="0">
              <a:buFont typeface="Arial" panose="020B0604020202020204" pitchFamily="34" charset="0"/>
              <a:buNone/>
            </a:pPr>
            <a:r>
              <a:rPr lang="en-GB" dirty="0"/>
              <a:t>With our example:</a:t>
            </a:r>
          </a:p>
          <a:p>
            <a:pPr marL="0" indent="0">
              <a:buFont typeface="Arial" panose="020B0604020202020204" pitchFamily="34" charset="0"/>
              <a:buNone/>
            </a:pPr>
            <a:r>
              <a:rPr lang="en-GB" dirty="0"/>
              <a:t>(3319-0)/13,427 = 24% skew. </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This may be a better indicator of the skew as it relates to the overall table, but would miss the first scenario. It compares the difference of rows between min and max as a percentage of how many rows are in the table, so this means “24% of the rows in the table are skewed”.</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You can imagine if you have a table that is perfectly distributed, except one distribution had 0 rows, one method would show 100%, which is correct because one distribution has 100% more rows than another. Another method would show around 1.7%, which is also correct because in general about 1.7% of the total rows are incorrectly-placed. </a:t>
            </a:r>
          </a:p>
          <a:p>
            <a:pPr marL="0" indent="0">
              <a:buFont typeface="Arial" panose="020B0604020202020204" pitchFamily="34" charset="0"/>
              <a:buNone/>
            </a:pPr>
            <a:endParaRPr lang="en-US" b="0" i="0" dirty="0">
              <a:solidFill>
                <a:srgbClr val="171717"/>
              </a:solidFill>
              <a:effectLst/>
              <a:latin typeface="SFMono-Regular"/>
            </a:endParaRPr>
          </a:p>
          <a:p>
            <a:pPr marL="0" indent="0">
              <a:buFont typeface="Arial" panose="020B0604020202020204" pitchFamily="34" charset="0"/>
              <a:buNone/>
            </a:pPr>
            <a:r>
              <a:rPr lang="es-ES" dirty="0">
                <a:hlinkClick r:id="rId3"/>
              </a:rPr>
              <a:t>https://docs.microsoft.com/en-us/azure/synapse-analytics/sql-data-warehouse/sql-data-warehouse-tables-distribute#how-to-tell-if-your-distribution-column-is-a-good-choice</a:t>
            </a:r>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07459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is slide are shared some recommendations for choosing a distribution column with appropriate cardinality, that might help avoiding data skew. For most of your large distributed tables you are going to have a lot more than 600 distinct values, but this calculation comes into play when you are working with the “borderline” tables that barely meet the criteria for distributing or you are distributing for another reason, like frequent DML against the table. Keep in mind even with 600 values, that doesn’t mean each distribution will ACTUALLY get 10 values. In reality you may have some with 6 distinct values and some with 15, but the more distinct values you have the more likely this is to even ou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69376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https://docs.microsoft.com/en-us/azure/synapse-analytics/sql-data-warehouse/sql-data-warehouse-tables-distribute?toc=/azure/synapse-analytics/toc.json&amp;bc=/azure/synapse-analytics/breadcrumb/toc.json#choose-a-distribution-column-with-data-that-distributes-evenly</a:t>
            </a:r>
            <a:endParaRPr lang="es-ES" dirty="0"/>
          </a:p>
          <a:p>
            <a:endParaRPr lang="es-ES" dirty="0"/>
          </a:p>
          <a:p>
            <a:endParaRPr lang="es-ES" dirty="0"/>
          </a:p>
          <a:p>
            <a:r>
              <a:rPr lang="en-US" noProof="0" dirty="0"/>
              <a:t>Unbalanced execution WHERE: For example, several users filtering by the same value, only reaching one or a few distributions. </a:t>
            </a:r>
          </a:p>
          <a:p>
            <a:r>
              <a:rPr lang="en-US" noProof="0" dirty="0"/>
              <a:t>Using a hash key like “StoreID”, that does not guarantee an even distribution</a:t>
            </a:r>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0464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98713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8081503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Architecturally a round robin table is very similar to a hash-distributed table, however it’s not distributed on a key that has any logical value. It is also not deterministic, so two of the same data type/value do not necessarily end up on the same distribution, this means the engine cannot determine where a particular row may reside making the storage structure useless at query time. It will have to redistribute or replicate the table in tempdb at query time to solve a query.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You may use a round robin table for larger data if there is no good distribution key. However this should be a last-resort because it guarantees data movement at query time when you join to another distributed table. Sometimes it makes sense just to store the table on the key that the plans distribute onto anyway even if it is skewed over 10% on disk.</a:t>
            </a:r>
          </a:p>
          <a:p>
            <a:pPr marL="171450" indent="-171450">
              <a:buFont typeface="Arial" panose="020B0604020202020204" pitchFamily="34" charset="0"/>
              <a:buChar char="•"/>
            </a:pPr>
            <a:r>
              <a:rPr lang="en-US" dirty="0"/>
              <a:t>As with hash-distributed tables, each distribution is represented by a single table that holds approximately 1/60</a:t>
            </a:r>
            <a:r>
              <a:rPr lang="en-US" baseline="30000" dirty="0"/>
              <a:t>th</a:t>
            </a:r>
            <a:r>
              <a:rPr lang="en-US" dirty="0"/>
              <a:t> the data of the overall DW table.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Round robin is the fastest table type for loading. This is because you do not need the engine to hash any values before placing rows on a distribution. However generally these tables will still be CTAS’d to a hash distributed table with a key that is used in queries for long-term storage.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Large, static data tables that are not queried often can be stored as round-robin. This is the cheapest storage option because it spreads rows evenly across distributions. It works well if the table does not need to be queried often, but this may be a good candidate of a table that should be stored in a data lake instead.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63475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lide demonstrates how values in a round-robin table will be distributed to the distributions. Data is inserted into random distributio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49239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a few scenarios where you would not incur data movement when querying a round robin table. If you join to a replicated table there is no need for data movement because the replicated table has all the values you would need to match up against. Any join from any table type to a replicated table is considered distribution-compatible. </a:t>
            </a:r>
          </a:p>
          <a:p>
            <a:endParaRPr lang="en-GB" dirty="0"/>
          </a:p>
          <a:p>
            <a:r>
              <a:rPr lang="en-GB" dirty="0"/>
              <a:t>Selecting out values from a single round-robin table with no predicates does not require data movement as data can just be streamed back from the table in no particular order. </a:t>
            </a:r>
          </a:p>
          <a:p>
            <a:endParaRPr lang="en-GB" dirty="0"/>
          </a:p>
          <a:p>
            <a:r>
              <a:rPr lang="en-GB" dirty="0"/>
              <a:t>These are more rare scenarios. Generally there will be data movement when joining to round robin tables</a:t>
            </a:r>
          </a:p>
          <a:p>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Note that </a:t>
            </a:r>
            <a:r>
              <a:rPr lang="en-US" dirty="0"/>
              <a:t>Aggregation on a Round-Robin table will always incur data movement, potentially multiple movements.</a:t>
            </a:r>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69376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ata skew is avoided “by design” in Round Robin tables. This is why it makes sense for tables that are only there for long-term storage, but are not queried often. </a:t>
            </a:r>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1326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 benefit of replicated tables is that they are distribution compatible with any other type of table they are joined with. </a:t>
            </a:r>
          </a:p>
          <a:p>
            <a:pPr marL="0" indent="0">
              <a:buFont typeface="Arial" panose="020B0604020202020204" pitchFamily="34" charset="0"/>
              <a:buNone/>
            </a:pPr>
            <a:r>
              <a:rPr lang="en-US" dirty="0"/>
              <a:t>Replicated tables will are stored as a master version of the table in a round-robin format, the first time the table is queried (*) the system will trigger a background job that will cache the table to the first distribution of each node. This makes the table logically distribution-compatible with every distribution.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 The table will need to be cached / re-cached after:</a:t>
            </a:r>
          </a:p>
          <a:p>
            <a:pPr marL="228600" indent="-228600">
              <a:buFont typeface="Arial" panose="020B0604020202020204" pitchFamily="34" charset="0"/>
              <a:buAutoNum type="arabicPeriod"/>
            </a:pPr>
            <a:r>
              <a:rPr lang="en-US" dirty="0"/>
              <a:t>It is initially created</a:t>
            </a:r>
          </a:p>
          <a:p>
            <a:pPr marL="228600" indent="-228600">
              <a:buFont typeface="Arial" panose="020B0604020202020204" pitchFamily="34" charset="0"/>
              <a:buAutoNum type="arabicPeriod"/>
            </a:pPr>
            <a:r>
              <a:rPr lang="en-US" dirty="0"/>
              <a:t>Any data update query (i.e. any DML statement)</a:t>
            </a:r>
          </a:p>
          <a:p>
            <a:pPr marL="228600" indent="-228600">
              <a:buFont typeface="Arial" panose="020B0604020202020204" pitchFamily="34" charset="0"/>
              <a:buAutoNum type="arabicPeriod"/>
            </a:pPr>
            <a:r>
              <a:rPr lang="en-US" dirty="0"/>
              <a:t>A Scale operation on the database – this can change the number of Compute nodes, so any existing cached copy(s) of Replicated tables will be invalidated</a:t>
            </a:r>
          </a:p>
          <a:p>
            <a:pPr marL="0" indent="0">
              <a:buFont typeface="Arial" panose="020B0604020202020204" pitchFamily="34" charset="0"/>
              <a:buNone/>
            </a:pPr>
            <a:r>
              <a:rPr lang="en-US" dirty="0"/>
              <a:t>Note that Pause / Resume does not invalidate Cached Replicated tables – the cached copies are saved in the first Distribution on each node, and will be reloaded when the database is Resumed.</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It is best practice for a workload to re-cache the table by running a select top 1 * (or similar) against all of the replicated tables after a process (like load) that invalidates the cached copies.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ese tables are typically used for dimension tables with minimal changes – since every change will invalidate the cached copy. Small fact tables that do not benefit from hash distributing, or smaller static table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75243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ql-data-warehouse/design-guidance-for-replicated-tables</a:t>
            </a:r>
          </a:p>
          <a:p>
            <a:endParaRPr lang="en-US" dirty="0"/>
          </a:p>
          <a:p>
            <a:pPr marL="171450" indent="-171450">
              <a:buFont typeface="Arial" panose="020B0604020202020204" pitchFamily="34" charset="0"/>
              <a:buChar char="•"/>
            </a:pPr>
            <a:r>
              <a:rPr lang="en-US" dirty="0"/>
              <a:t>These aren’t steadfast rules, but rather a starting point </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2gb and under. This is a loose number, you may have scenarios where a 5GB replicated table makes sense. It depends heavily on your workload and what you are doing to the table.</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Replicated tables are compatible with hash-distributed tables</a:t>
            </a:r>
          </a:p>
          <a:p>
            <a:pPr marL="171450" indent="-171450">
              <a:buFont typeface="Arial" panose="020B0604020202020204" pitchFamily="34" charset="0"/>
              <a:buChar char="•"/>
            </a:pPr>
            <a:r>
              <a:rPr lang="en-US" b="0" i="0" dirty="0">
                <a:solidFill>
                  <a:srgbClr val="000000"/>
                </a:solidFill>
                <a:effectLst/>
                <a:latin typeface="Calibri" panose="020F0502020204030204" pitchFamily="34" charset="0"/>
              </a:rPr>
              <a:t>Generally a better choice than round-robin unless the data is too large.</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28959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ql-data-warehouse/design-guidance-for-replicated-tables</a:t>
            </a:r>
          </a:p>
          <a:p>
            <a:endParaRPr lang="en-US" dirty="0"/>
          </a:p>
          <a:p>
            <a:pPr marL="171450" indent="-171450">
              <a:buFont typeface="Arial" panose="020B0604020202020204" pitchFamily="34" charset="0"/>
              <a:buChar char="•"/>
            </a:pPr>
            <a:r>
              <a:rPr lang="en-US" dirty="0"/>
              <a:t>These aren’t steadfast rules, but rather a starting point </a:t>
            </a:r>
          </a:p>
          <a:p>
            <a:pPr marL="171450" indent="-171450">
              <a:buFont typeface="Arial" panose="020B0604020202020204" pitchFamily="34" charset="0"/>
              <a:buChar char="•"/>
            </a:pPr>
            <a:r>
              <a:rPr lang="en-US" dirty="0"/>
              <a:t>UPDATES/DELETES invalidate the cache</a:t>
            </a:r>
          </a:p>
          <a:p>
            <a:pPr marL="171450" indent="-171450">
              <a:buFont typeface="Arial" panose="020B0604020202020204" pitchFamily="34" charset="0"/>
              <a:buChar char="•"/>
            </a:pPr>
            <a:r>
              <a:rPr lang="en-US" dirty="0"/>
              <a:t>Scaling will invalidate the cache</a:t>
            </a:r>
          </a:p>
          <a:p>
            <a:pPr marL="171450" indent="-171450">
              <a:buFont typeface="Arial" panose="020B0604020202020204" pitchFamily="34" charset="0"/>
              <a:buChar char="•"/>
            </a:pPr>
            <a:r>
              <a:rPr lang="en-US" dirty="0"/>
              <a:t>Distributed plans will only pull in the required columns for the query, so if you commonly use only a few columns then there is less intermediary data in your plan. Also, if you have a column you frequently JOIN on, then that column may make a good distribution column and enable distribution-compatible joins.</a:t>
            </a:r>
          </a:p>
          <a:p>
            <a:pPr marL="171450" indent="-171450">
              <a:buFont typeface="Arial" panose="020B0604020202020204" pitchFamily="34" charset="0"/>
              <a:buChar char="•"/>
            </a:pPr>
            <a:r>
              <a:rPr lang="en-US" dirty="0"/>
              <a:t>Note that Pause / Resume saves the cached copy to storage and restores the cached copy on resume, this is not considered a re-caching ope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31604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Performance considerations for modifying replicated tables</a:t>
            </a:r>
          </a:p>
          <a:p>
            <a:pPr algn="l"/>
            <a:r>
              <a:rPr lang="en-US" b="0" i="0" dirty="0">
                <a:solidFill>
                  <a:srgbClr val="171717"/>
                </a:solidFill>
                <a:effectLst/>
                <a:latin typeface="Segoe UI" panose="020B0502040204020203" pitchFamily="34" charset="0"/>
              </a:rPr>
              <a:t>SQL pool implements a replicated table by maintaining a master version of the table. It copies the master version to the first distribution database on each Compute node. When there is a change, the master version is updated first, then the tables on each Compute node are rebuilt. A rebuild of a replicated table includes copying the table to each Compute node and then building the indexes. For example, a replicated table on a DW2000c has 5 copies of the data. A master copy and a full copy on each Compute node. All data is stored in distribution databases. SQL pool uses this model to support faster data modification statements and flexible scaling operations.</a:t>
            </a: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replication Cache manager performs the cache in the background. In the visual you can see the round robin table split up across the distributions, then the cached version on the first distribution of each node. You can imagine this means you will have more data stored on the first distribution of each node if you look at overall data volume on the distributions. </a:t>
            </a:r>
          </a:p>
          <a:p>
            <a:pPr algn="l"/>
            <a:endParaRPr lang="en-US" b="0" i="0" dirty="0">
              <a:solidFill>
                <a:srgbClr val="171717"/>
              </a:solidFill>
              <a:effectLst/>
              <a:latin typeface="Segoe UI" panose="020B0502040204020203" pitchFamily="34" charset="0"/>
            </a:endParaRPr>
          </a:p>
          <a:p>
            <a:r>
              <a:rPr lang="en-US" dirty="0">
                <a:hlinkClick r:id="rId3"/>
              </a:rPr>
              <a:t>https://docs.microsoft.com/en-us/azure/synapse-analytics/sql-data-warehouse/design-guidance-for-replicated-tables#performance-considerations-for-modifying-replicated-tables</a:t>
            </a:r>
            <a:endParaRPr lang="es-E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8435571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171717"/>
                </a:solidFill>
                <a:latin typeface="Segoe UI"/>
                <a:cs typeface="Segoe UI"/>
              </a:rPr>
              <a:t>Re-caching is </a:t>
            </a:r>
            <a:r>
              <a:rPr lang="en-US" b="0" i="0" dirty="0">
                <a:solidFill>
                  <a:srgbClr val="171717"/>
                </a:solidFill>
                <a:effectLst/>
                <a:latin typeface="Segoe UI"/>
                <a:cs typeface="Segoe UI"/>
              </a:rPr>
              <a:t>triggered by the first query against the replicated table after:</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ata is loaded or modified</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 Synapse SQL instance is scaled to a different level</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able definition is updated</a:t>
            </a:r>
          </a:p>
          <a:p>
            <a:pPr algn="l"/>
            <a:endParaRPr lang="en-US" b="0" i="0" dirty="0">
              <a:solidFill>
                <a:srgbClr val="171717"/>
              </a:solidFill>
              <a:effectLst/>
              <a:latin typeface="Segoe UI" panose="020B0502040204020203" pitchFamily="34" charset="0"/>
            </a:endParaRPr>
          </a:p>
          <a:p>
            <a:r>
              <a:rPr lang="en-US" dirty="0">
                <a:solidFill>
                  <a:srgbClr val="171717"/>
                </a:solidFill>
                <a:latin typeface="Segoe UI"/>
                <a:cs typeface="Segoe UI"/>
              </a:rPr>
              <a:t>Re-caching </a:t>
            </a:r>
            <a:r>
              <a:rPr lang="en-US" b="0" i="0" dirty="0">
                <a:solidFill>
                  <a:srgbClr val="171717"/>
                </a:solidFill>
                <a:effectLst/>
                <a:latin typeface="Segoe UI"/>
                <a:cs typeface="Segoe UI"/>
              </a:rPr>
              <a:t>not required after:</a:t>
            </a:r>
          </a:p>
          <a:p>
            <a:pPr marL="171450" indent="-171450">
              <a:buFont typeface="Arial" panose="020B0604020202020204" pitchFamily="34" charset="0"/>
              <a:buChar char="•"/>
            </a:pPr>
            <a:r>
              <a:rPr lang="en-US" b="0" i="0" dirty="0">
                <a:solidFill>
                  <a:srgbClr val="171717"/>
                </a:solidFill>
                <a:effectLst/>
                <a:latin typeface="Segoe UI"/>
                <a:cs typeface="Segoe UI"/>
              </a:rPr>
              <a:t>Pause </a:t>
            </a:r>
            <a:r>
              <a:rPr lang="en-US" dirty="0">
                <a:solidFill>
                  <a:srgbClr val="171717"/>
                </a:solidFill>
                <a:latin typeface="Segoe UI"/>
                <a:cs typeface="Segoe UI"/>
              </a:rPr>
              <a:t>/ </a:t>
            </a:r>
            <a:r>
              <a:rPr lang="en-US" b="0" i="0" dirty="0">
                <a:solidFill>
                  <a:srgbClr val="171717"/>
                </a:solidFill>
                <a:effectLst/>
                <a:latin typeface="Segoe UI"/>
                <a:cs typeface="Segoe UI"/>
              </a:rPr>
              <a:t>Resume operati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dirty="0">
              <a:solidFill>
                <a:srgbClr val="171717"/>
              </a:solidFill>
              <a:effectLst/>
              <a:latin typeface="Segoe UI" panose="020B0502040204020203" pitchFamily="34" charset="0"/>
            </a:endParaRPr>
          </a:p>
          <a:p>
            <a:pPr>
              <a:defRPr/>
            </a:pPr>
            <a:r>
              <a:rPr lang="en-US" b="0" i="0" dirty="0">
                <a:solidFill>
                  <a:srgbClr val="171717"/>
                </a:solidFill>
                <a:effectLst/>
                <a:latin typeface="Segoe UI"/>
                <a:cs typeface="Segoe UI"/>
              </a:rPr>
              <a:t>The </a:t>
            </a:r>
            <a:r>
              <a:rPr lang="en-US" dirty="0">
                <a:solidFill>
                  <a:srgbClr val="171717"/>
                </a:solidFill>
                <a:latin typeface="Segoe UI"/>
                <a:cs typeface="Segoe UI"/>
              </a:rPr>
              <a:t>re-cache does</a:t>
            </a:r>
            <a:r>
              <a:rPr lang="en-US" b="0" i="0" dirty="0">
                <a:solidFill>
                  <a:srgbClr val="171717"/>
                </a:solidFill>
                <a:effectLst/>
                <a:latin typeface="Segoe UI"/>
                <a:cs typeface="Segoe UI"/>
              </a:rPr>
              <a:t> not happen immediately after data is modified. Instead, the </a:t>
            </a:r>
            <a:r>
              <a:rPr lang="en-US" dirty="0">
                <a:solidFill>
                  <a:srgbClr val="171717"/>
                </a:solidFill>
                <a:latin typeface="Segoe UI"/>
                <a:cs typeface="Segoe UI"/>
              </a:rPr>
              <a:t>re-cache is</a:t>
            </a:r>
            <a:r>
              <a:rPr lang="en-US" b="0" i="0" dirty="0">
                <a:solidFill>
                  <a:srgbClr val="171717"/>
                </a:solidFill>
                <a:effectLst/>
                <a:latin typeface="Segoe UI"/>
                <a:cs typeface="Segoe UI"/>
              </a:rPr>
              <a:t> triggered the first time a query selects from the table. The query that triggered the </a:t>
            </a:r>
            <a:r>
              <a:rPr lang="en-US" dirty="0">
                <a:solidFill>
                  <a:srgbClr val="171717"/>
                </a:solidFill>
                <a:latin typeface="Segoe UI"/>
                <a:cs typeface="Segoe UI"/>
              </a:rPr>
              <a:t>re-cache</a:t>
            </a:r>
            <a:r>
              <a:rPr lang="en-US" b="0" i="0" dirty="0">
                <a:solidFill>
                  <a:srgbClr val="171717"/>
                </a:solidFill>
                <a:effectLst/>
                <a:latin typeface="Segoe UI"/>
                <a:cs typeface="Segoe UI"/>
              </a:rPr>
              <a:t> reads immediately from the master version of the table – you will usually notice a BROADCASTMOVE in the first query plan - while the data is asynchronously copied to each Compute node. Until the data copy is complete, subsequent queries will continue to use the master version of the table. If any activity happens against the replicated table that forces another </a:t>
            </a:r>
            <a:r>
              <a:rPr lang="en-US" dirty="0">
                <a:solidFill>
                  <a:srgbClr val="171717"/>
                </a:solidFill>
                <a:latin typeface="Segoe UI"/>
                <a:cs typeface="Segoe UI"/>
              </a:rPr>
              <a:t>re-caching operation</a:t>
            </a:r>
            <a:r>
              <a:rPr lang="en-US" b="0" i="0" dirty="0">
                <a:solidFill>
                  <a:srgbClr val="171717"/>
                </a:solidFill>
                <a:effectLst/>
                <a:latin typeface="Segoe UI"/>
                <a:cs typeface="Segoe UI"/>
              </a:rPr>
              <a:t>, the data copy is invalidated and the next select statement will trigger data to be copied </a:t>
            </a:r>
            <a:r>
              <a:rPr lang="en-US" dirty="0">
                <a:solidFill>
                  <a:srgbClr val="171717"/>
                </a:solidFill>
                <a:latin typeface="Segoe UI"/>
                <a:cs typeface="Segoe UI"/>
              </a:rPr>
              <a:t>again</a:t>
            </a:r>
          </a:p>
          <a:p>
            <a:pPr>
              <a:defRPr/>
            </a:pPr>
            <a:endParaRPr lang="en-US" dirty="0">
              <a:solidFill>
                <a:srgbClr val="171717"/>
              </a:solidFill>
              <a:latin typeface="Segoe UI"/>
              <a:cs typeface="Segoe UI"/>
            </a:endParaRPr>
          </a:p>
          <a:p>
            <a:r>
              <a:rPr lang="en-US" dirty="0"/>
              <a:t> </a:t>
            </a:r>
            <a:r>
              <a:rPr lang="en-US" b="0" i="0" dirty="0">
                <a:solidFill>
                  <a:srgbClr val="171717"/>
                </a:solidFill>
                <a:effectLst/>
                <a:latin typeface="Segoe UI" panose="020B0502040204020203" pitchFamily="34" charset="0"/>
              </a:rPr>
              <a:t>Try to avoid scenarios like below because it will execute 4 re-caching operations:</a:t>
            </a:r>
          </a:p>
          <a:p>
            <a:pPr marL="171450" indent="-171450" algn="l">
              <a:buFont typeface="Arial" panose="020B0604020202020204" pitchFamily="34" charset="0"/>
              <a:buChar char="•"/>
            </a:pPr>
            <a:r>
              <a:rPr lang="en-US" dirty="0"/>
              <a:t>Load from source 1. </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elect statement triggers rebuild 1. </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oad from source 2.</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elect statement triggers rebuild 2.</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oad from source 3.</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elect statement triggers rebuild 3.</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oad from source 4.</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elect statement triggers rebuild 4.</a:t>
            </a:r>
          </a:p>
          <a:p>
            <a:pPr>
              <a:defRPr/>
            </a:pPr>
            <a:r>
              <a:rPr lang="en-US" dirty="0"/>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71717"/>
                </a:solidFill>
                <a:effectLst/>
                <a:latin typeface="Segoe UI"/>
                <a:cs typeface="Segoe UI"/>
              </a:rPr>
              <a:t>The </a:t>
            </a:r>
            <a:r>
              <a:rPr lang="en-US" dirty="0">
                <a:solidFill>
                  <a:srgbClr val="171717"/>
                </a:solidFill>
                <a:latin typeface="Segoe UI"/>
                <a:cs typeface="Segoe UI"/>
              </a:rPr>
              <a:t>caching</a:t>
            </a:r>
            <a:r>
              <a:rPr lang="en-US" b="0" i="0" dirty="0">
                <a:solidFill>
                  <a:srgbClr val="171717"/>
                </a:solidFill>
                <a:effectLst/>
                <a:latin typeface="Segoe UI"/>
                <a:cs typeface="Segoe UI"/>
              </a:rPr>
              <a:t> operation will show up in </a:t>
            </a:r>
            <a:r>
              <a:rPr lang="en-US" b="0" i="0" dirty="0" err="1">
                <a:solidFill>
                  <a:srgbClr val="171717"/>
                </a:solidFill>
                <a:effectLst/>
                <a:latin typeface="Segoe UI"/>
                <a:cs typeface="Segoe UI"/>
              </a:rPr>
              <a:t>sys.dm_pdw_exec_requests</a:t>
            </a:r>
            <a:r>
              <a:rPr lang="en-US" b="0" i="0" dirty="0">
                <a:solidFill>
                  <a:srgbClr val="171717"/>
                </a:solidFill>
                <a:effectLst/>
                <a:latin typeface="Segoe UI"/>
                <a:cs typeface="Segoe UI"/>
              </a:rPr>
              <a:t> as </a:t>
            </a:r>
            <a:r>
              <a:rPr lang="en-US" b="0" i="0" dirty="0" err="1">
                <a:solidFill>
                  <a:srgbClr val="171717"/>
                </a:solidFill>
                <a:effectLst/>
                <a:latin typeface="Segoe UI"/>
                <a:cs typeface="Segoe UI"/>
              </a:rPr>
              <a:t>BuildReplicatedTableCache</a:t>
            </a:r>
            <a:r>
              <a:rPr lang="en-US" b="0" i="0" dirty="0">
                <a:solidFill>
                  <a:srgbClr val="171717"/>
                </a:solidFill>
                <a:effectLst/>
                <a:latin typeface="Segoe UI"/>
                <a:cs typeface="Segoe UI"/>
              </a:rPr>
              <a:t>(</a:t>
            </a:r>
            <a:r>
              <a:rPr lang="en-US" b="0" i="0" dirty="0" err="1">
                <a:solidFill>
                  <a:srgbClr val="171717"/>
                </a:solidFill>
                <a:effectLst/>
                <a:latin typeface="Segoe UI"/>
                <a:cs typeface="Segoe UI"/>
              </a:rPr>
              <a:t>TableName</a:t>
            </a:r>
            <a:r>
              <a:rPr lang="en-US" b="0" i="0" dirty="0">
                <a:solidFill>
                  <a:srgbClr val="171717"/>
                </a:solidFill>
                <a:effectLst/>
                <a:latin typeface="Segoe UI"/>
                <a:cs typeface="Segoe UI"/>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dirty="0">
              <a:solidFill>
                <a:srgbClr val="171717"/>
              </a:solidFill>
              <a:effectLst/>
              <a:latin typeface="Segoe UI"/>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t>SQL pool rebuilds each replicated table index as part of the caching operation. Only use indexes when the performance gain outweighs the cost of rebuilding the indexes</a:t>
            </a:r>
            <a:endParaRPr lang="es-E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dirty="0">
              <a:solidFill>
                <a:srgbClr val="171717"/>
              </a:solidFill>
              <a:effectLst/>
              <a:latin typeface="Segoe UI"/>
              <a:cs typeface="Segoe UI"/>
            </a:endParaRPr>
          </a:p>
          <a:p>
            <a:endParaRPr lang="es-E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azure/synapse-analytics/sql-data-warehouse/design-guidance-for-replicated-tables#performance-considerations-for-modifying-replicated-tables</a:t>
            </a:r>
            <a:endParaRPr lang="es-ES" dirty="0"/>
          </a:p>
          <a:p>
            <a:endParaRPr lang="es-E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699416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query in the slide returns the list of replicated tables that has been modified, but not rebuilt. States in the DMV might be “Ready” or “NotReady”.  </a:t>
            </a:r>
          </a:p>
          <a:p>
            <a:endParaRPr lang="en-US" noProof="0" dirty="0"/>
          </a:p>
          <a:p>
            <a:r>
              <a:rPr lang="en-US" noProof="0" dirty="0"/>
              <a:t>If possible: Run query against their instance to see if it returns results. Remove the </a:t>
            </a:r>
            <a:r>
              <a:rPr lang="en-US" noProof="0" dirty="0" err="1"/>
              <a:t>NotReady</a:t>
            </a:r>
            <a:r>
              <a:rPr lang="en-US" noProof="0" dirty="0"/>
              <a:t> predicate, to show all tables.</a:t>
            </a:r>
          </a:p>
          <a:p>
            <a:endParaRPr lang="en-US" noProof="0" dirty="0"/>
          </a:p>
          <a:p>
            <a:r>
              <a:rPr lang="en-US" noProof="0" dirty="0"/>
              <a:t>This is showing the current state of your replicated tables and is helpful in determining if certain tables should be pre-warmed in the cache or just to tell if a replicated table has been invalidated.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6061361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ore copies of the table exist because there is a copy on the first distribution of each compute node. If you consistently see table cache’s taking a long time you should run a DBCC PDW_SHOWSPACEUSED against the table to see if it is larger than 2GB. If a replicated table is created that is say 100GB, it will take hours to execute and will likely overuse resources unexpectedly. You can kill the session that is running the buildReplicatedTableCache, which will solve the problem short-term, but next time anyone queries that table it will execute the build again. The table should be CTAS’d to a different table type.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caling the SQL Pool changes the mapping of distributions to compute nodes, so the tables all need to be re-cached to the new “first distribution of each nod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ize of the first Distribution on each compute node will be larger due to the extra data for Replicated tabl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0247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Hash Distributed, Round-Robin Distributed, Replicated.</a:t>
            </a:r>
          </a:p>
          <a:p>
            <a:pPr marL="228600" indent="-228600">
              <a:buAutoNum type="arabicPeriod"/>
            </a:pPr>
            <a:r>
              <a:rPr lang="en-US" dirty="0"/>
              <a:t>Hash Distributed. </a:t>
            </a:r>
          </a:p>
          <a:p>
            <a:pPr marL="457200" lvl="1" indent="0">
              <a:buNone/>
            </a:pPr>
            <a:r>
              <a:rPr lang="en-US" dirty="0"/>
              <a:t>Bonus question – Why? </a:t>
            </a:r>
          </a:p>
          <a:p>
            <a:pPr marL="457200" lvl="1" indent="0">
              <a:buNone/>
            </a:pPr>
            <a:r>
              <a:rPr lang="en-US" dirty="0"/>
              <a:t>It’s a Fact table, large # rows, queries will benefit from sharding the query into 60 sub-queries</a:t>
            </a:r>
          </a:p>
          <a:p>
            <a:pPr marL="228600" indent="-228600">
              <a:buAutoNum type="arabicPeriod"/>
            </a:pPr>
            <a:r>
              <a:rPr lang="en-US" dirty="0"/>
              <a:t>Replicated. </a:t>
            </a:r>
          </a:p>
          <a:p>
            <a:pPr marL="457200" lvl="1" indent="0">
              <a:buNone/>
            </a:pPr>
            <a:r>
              <a:rPr lang="en-US" dirty="0"/>
              <a:t>Bonus question – Why? </a:t>
            </a:r>
          </a:p>
          <a:p>
            <a:pPr marL="457200" lvl="1" indent="0">
              <a:buNone/>
            </a:pPr>
            <a:r>
              <a:rPr lang="en-US" dirty="0"/>
              <a:t>It’s a Dimension table, limited # rows, queries will benefit from co-location to Joined Fact tables</a:t>
            </a:r>
          </a:p>
          <a:p>
            <a:pPr marL="228600" indent="-228600">
              <a:buAutoNum type="arabicPeriod"/>
            </a:pPr>
            <a:r>
              <a:rPr lang="en-US" dirty="0"/>
              <a:t>Data Sink / Staging table. Fast writes, will be processed by a later TRANSFORM step (in ELT processing).</a:t>
            </a:r>
          </a:p>
          <a:p>
            <a:pPr marL="228600" indent="-228600">
              <a:buAutoNum type="arabicPeriod"/>
            </a:pPr>
            <a:r>
              <a:rPr lang="en-US" dirty="0"/>
              <a:t>Minimize Data Movement,</a:t>
            </a:r>
          </a:p>
          <a:p>
            <a:pPr marL="0" indent="0">
              <a:buNone/>
            </a:pPr>
            <a:r>
              <a:rPr lang="en-US" dirty="0"/>
              <a:t>      Balanced Execution</a:t>
            </a:r>
          </a:p>
          <a:p>
            <a:pPr marL="0" indent="0">
              <a:buNone/>
            </a:pPr>
            <a:r>
              <a:rPr lang="en-US" dirty="0"/>
              <a:t>      Data Ske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28529790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Regular table</a:t>
            </a:r>
          </a:p>
          <a:p>
            <a:pPr marL="171450" indent="-171450">
              <a:buFont typeface="Arial" panose="020B0604020202020204" pitchFamily="34" charset="0"/>
              <a:buChar char="•"/>
            </a:pPr>
            <a:r>
              <a:rPr lang="en-US" noProof="0" dirty="0"/>
              <a:t>Stored in Azure Premium Storage</a:t>
            </a:r>
          </a:p>
          <a:p>
            <a:pPr marL="171450" indent="-171450">
              <a:buFont typeface="Arial" panose="020B0604020202020204" pitchFamily="34" charset="0"/>
              <a:buChar char="•"/>
            </a:pPr>
            <a:r>
              <a:rPr lang="en-US" noProof="0" dirty="0"/>
              <a:t>People should have a pretty good understanding of what a “regular table” is in SQL/SQLDB, the concept is the same here</a:t>
            </a:r>
          </a:p>
          <a:p>
            <a:pPr marL="171450" indent="-171450">
              <a:buFont typeface="Arial" panose="020B0604020202020204" pitchFamily="34" charset="0"/>
              <a:buChar char="•"/>
            </a:pPr>
            <a:endParaRPr lang="en-US" noProof="0" dirty="0"/>
          </a:p>
          <a:p>
            <a:pPr marL="0" indent="0">
              <a:buFont typeface="Arial" panose="020B0604020202020204" pitchFamily="34" charset="0"/>
              <a:buNone/>
            </a:pPr>
            <a:r>
              <a:rPr lang="en-US" noProof="0" dirty="0"/>
              <a:t>Temporary Table</a:t>
            </a:r>
          </a:p>
          <a:p>
            <a:pPr marL="171450" indent="-171450">
              <a:buFont typeface="Arial" panose="020B0604020202020204" pitchFamily="34" charset="0"/>
              <a:buChar char="•"/>
            </a:pPr>
            <a:r>
              <a:rPr lang="en-US" noProof="0" dirty="0"/>
              <a:t>Temp tables are stored on the same SSD local Storage that the gen2 cache is stored on. This means that temporary tables can actually be accessed faster than regular tables stored on remote Storage. This is helpful when you are considering using temp tables to store intermediate results of a query. </a:t>
            </a:r>
          </a:p>
          <a:p>
            <a:pPr marL="171450" indent="-171450">
              <a:buFont typeface="Arial" panose="020B0604020202020204" pitchFamily="34" charset="0"/>
              <a:buChar char="•"/>
            </a:pPr>
            <a:endParaRPr lang="en-US" noProof="0" dirty="0"/>
          </a:p>
          <a:p>
            <a:pPr marL="0" indent="0">
              <a:buFont typeface="Arial" panose="020B0604020202020204" pitchFamily="34" charset="0"/>
              <a:buNone/>
            </a:pPr>
            <a:r>
              <a:rPr lang="en-US" noProof="0" dirty="0"/>
              <a:t>External table</a:t>
            </a:r>
          </a:p>
          <a:p>
            <a:pPr marL="171450" indent="-171450">
              <a:buFont typeface="Arial" panose="020B0604020202020204" pitchFamily="34" charset="0"/>
              <a:buChar char="•"/>
            </a:pPr>
            <a:r>
              <a:rPr lang="en-US" noProof="0" dirty="0"/>
              <a:t>These can exist in Azure Storage (BLOB or ADLS) or in a Hadoop cluster</a:t>
            </a:r>
          </a:p>
          <a:p>
            <a:pPr marL="171450" indent="-171450">
              <a:buFont typeface="Arial" panose="020B0604020202020204" pitchFamily="34" charset="0"/>
              <a:buChar char="•"/>
            </a:pPr>
            <a:r>
              <a:rPr lang="en-US" noProof="0" dirty="0"/>
              <a:t>Files may be created / deleted by external process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0391157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azure/synapse-analytics/sql/develop-tables-temporary</a:t>
            </a:r>
            <a:endParaRPr lang="en-US" dirty="0"/>
          </a:p>
          <a:p>
            <a:endParaRPr lang="es-ES" dirty="0"/>
          </a:p>
          <a:p>
            <a:pPr marL="171450" indent="-171450">
              <a:buFont typeface="Arial" panose="020B0604020202020204" pitchFamily="34" charset="0"/>
              <a:buChar char="•"/>
            </a:pPr>
            <a:r>
              <a:rPr lang="en-US" noProof="0" dirty="0"/>
              <a:t>Temp tables are written to the same Storage as the gen2 cache – this is local Storage on the compute nodes, which is faster to Access than the remote Storage where the distributions are stored. </a:t>
            </a:r>
          </a:p>
          <a:p>
            <a:pPr marL="171450" indent="-171450">
              <a:buFont typeface="Arial" panose="020B0604020202020204" pitchFamily="34" charset="0"/>
              <a:buChar char="•"/>
            </a:pPr>
            <a:r>
              <a:rPr lang="en-US" noProof="0" dirty="0"/>
              <a:t>Temp tables are session-scoped, so any procedure/query in the same session can use it. </a:t>
            </a:r>
          </a:p>
          <a:p>
            <a:pPr marL="0" indent="0">
              <a:buFont typeface="Arial" panose="020B0604020202020204" pitchFamily="34" charset="0"/>
              <a:buNone/>
            </a:pPr>
            <a:endParaRPr lang="en-US" noProof="0" dirty="0"/>
          </a:p>
          <a:p>
            <a:pPr marL="0" indent="0">
              <a:buFont typeface="Arial" panose="020B0604020202020204" pitchFamily="34" charset="0"/>
              <a:buNone/>
            </a:pPr>
            <a:r>
              <a:rPr lang="en-US" sz="1800" noProof="0" dirty="0">
                <a:solidFill>
                  <a:srgbClr val="000000"/>
                </a:solidFill>
                <a:effectLst/>
                <a:latin typeface="Segoe UI Light" panose="020B0502040204020203" pitchFamily="34" charset="0"/>
              </a:rPr>
              <a:t>A lot of times we want to use temp tables to break up large queries. It's not uncommon for queries to contain tens of joins and hundreds of query steps. Our distributed plans execute serially and the optimizer makes a decision for each step based on what it believes the result of the previous step will be. When plans get quite large and you get to a step that is hard to estimate due to the data or missing statistics, the problem can be compounded in subsequent steps.  To avoid this issue, you can break the plan into multiple parts by taking the results of some of the joins and materializing them into a temp table (with statistics) then join to that data so that the estimations start over at that point. </a:t>
            </a:r>
            <a:endParaRPr lang="en-US" noProof="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23628304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0" i="0" dirty="0"/>
              <a:t>When the database AUTO_CREATE_STATISTICS option is on, SQL pool analyzes incoming user queries for missing statistics</a:t>
            </a:r>
            <a:endParaRPr lang="es-ES" sz="900" dirty="0"/>
          </a:p>
          <a:p>
            <a:pPr lvl="0"/>
            <a:r>
              <a:rPr lang="en-US" sz="900" b="0" i="0" dirty="0"/>
              <a:t>If statistics are missing, the query optimizer creates statistics on individual columns in the query predicate or join condition to improve cardinality estimates for the query plan</a:t>
            </a:r>
            <a:endParaRPr lang="es-ES" sz="900" dirty="0"/>
          </a:p>
          <a:p>
            <a:pPr lvl="0"/>
            <a:r>
              <a:rPr lang="en-US" sz="900" b="0" i="0" dirty="0"/>
              <a:t>Automatic creation of statistics do not include temporary or external tables statistics</a:t>
            </a:r>
            <a:endParaRPr lang="es-ES" sz="900" dirty="0"/>
          </a:p>
          <a:p>
            <a:pPr lvl="0"/>
            <a:r>
              <a:rPr lang="en-US" sz="900" noProof="0" dirty="0"/>
              <a:t>You should create statistics on temporary tables to improve query performa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noProof="0" dirty="0"/>
              <a:t>There is a module focused in Statistics as part of this MIP</a:t>
            </a:r>
            <a:r>
              <a:rPr lang="es-ES" noProof="0" dirty="0"/>
              <a:t> – more </a:t>
            </a:r>
            <a:r>
              <a:rPr lang="es-ES" noProof="0" dirty="0" err="1"/>
              <a:t>detail</a:t>
            </a:r>
            <a:r>
              <a:rPr lang="es-ES" noProof="0" dirty="0"/>
              <a:t> in </a:t>
            </a:r>
            <a:r>
              <a:rPr lang="es-ES" noProof="0" dirty="0" err="1"/>
              <a:t>that</a:t>
            </a:r>
            <a:r>
              <a:rPr lang="es-ES" noProof="0" dirty="0"/>
              <a:t> </a:t>
            </a:r>
            <a:r>
              <a:rPr lang="es-ES" noProof="0" dirty="0" err="1"/>
              <a:t>session</a:t>
            </a:r>
            <a:r>
              <a:rPr lang="es-ES" noProof="0" dirty="0"/>
              <a:t>.</a:t>
            </a:r>
            <a:endParaRPr lang="es-E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s-ES" b="0" i="0" dirty="0">
              <a:solidFill>
                <a:srgbClr val="171717"/>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71717"/>
                </a:solidFill>
                <a:effectLst/>
                <a:latin typeface="Segoe UI" panose="020B0502040204020203" pitchFamily="34" charset="0"/>
              </a:rPr>
              <a:t>However, it is important to keep in mind: </a:t>
            </a:r>
          </a:p>
          <a:p>
            <a:r>
              <a:rPr lang="en-US" b="0" i="0" dirty="0">
                <a:solidFill>
                  <a:srgbClr val="171717"/>
                </a:solidFill>
                <a:effectLst/>
                <a:latin typeface="Segoe UI" panose="020B0502040204020203" pitchFamily="34" charset="0"/>
              </a:rPr>
              <a:t>The automatic creation of statistics is not generated on temporary or external tables.</a:t>
            </a:r>
          </a:p>
          <a:p>
            <a:r>
              <a:rPr lang="en-US" dirty="0">
                <a:hlinkClick r:id="rId3"/>
              </a:rPr>
              <a:t>https://docs.microsoft.com/en-us/azure/synapse-analytics/sql/develop-tables-statistics#automatic-creation-of-statistics</a:t>
            </a:r>
            <a:endParaRPr lang="en-US" b="0" i="0" dirty="0">
              <a:solidFill>
                <a:srgbClr val="171717"/>
              </a:solidFill>
              <a:effectLst/>
              <a:latin typeface="Segoe UI" panose="020B0502040204020203" pitchFamily="34" charset="0"/>
            </a:endParaRPr>
          </a:p>
          <a:p>
            <a:endParaRPr lang="en-US" b="0" i="0" dirty="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5081630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noProof="0" dirty="0"/>
              <a:t>Using external tables is the fastest and most scalable way to load data into SQL Pools</a:t>
            </a:r>
          </a:p>
          <a:p>
            <a:pPr lvl="0"/>
            <a:r>
              <a:rPr lang="en-US" noProof="0" dirty="0"/>
              <a:t>The external table in the SQL Pool contains the table schema, and points to data that is stored outside the SQL Pool</a:t>
            </a:r>
          </a:p>
          <a:p>
            <a:pPr lvl="0"/>
            <a:r>
              <a:rPr lang="en-US" noProof="0" dirty="0"/>
              <a:t>Data in external tables is not stored in the SQL Pool storage</a:t>
            </a:r>
          </a:p>
          <a:p>
            <a:pPr lvl="0"/>
            <a:r>
              <a:rPr lang="en-US" noProof="0" dirty="0"/>
              <a:t>Defining external tables involves:</a:t>
            </a:r>
          </a:p>
          <a:p>
            <a:pPr lvl="1"/>
            <a:r>
              <a:rPr lang="en-US" noProof="0" dirty="0"/>
              <a:t>Specifying the data source</a:t>
            </a:r>
          </a:p>
          <a:p>
            <a:pPr lvl="1"/>
            <a:r>
              <a:rPr lang="en-US" noProof="0" dirty="0"/>
              <a:t>Specifying the format of the files</a:t>
            </a:r>
          </a:p>
          <a:p>
            <a:pPr lvl="1"/>
            <a:r>
              <a:rPr lang="en-US" noProof="0" dirty="0"/>
              <a:t>Specifying the table definition</a:t>
            </a:r>
          </a:p>
          <a:p>
            <a:endParaRPr lang="es-ES" dirty="0">
              <a:hlinkClick r:id="rId3"/>
            </a:endParaRPr>
          </a:p>
          <a:p>
            <a:endParaRPr lang="es-ES" dirty="0">
              <a:hlinkClick r:id="rId3"/>
            </a:endParaRPr>
          </a:p>
          <a:p>
            <a:r>
              <a:rPr lang="es-ES" dirty="0">
                <a:hlinkClick r:id="rId3"/>
              </a:rPr>
              <a:t>https://docs.microsoft.com/en-us/azure/synapse-analytics/sql-data-warehouse/design-elt-data-loading</a:t>
            </a:r>
            <a:endParaRPr lang="es-ES" dirty="0"/>
          </a:p>
          <a:p>
            <a:endParaRPr lang="es-ES" dirty="0"/>
          </a:p>
          <a:p>
            <a:r>
              <a:rPr lang="en-US" noProof="0" dirty="0"/>
              <a:t>There is a module focused in Data Loading as part of this MIP. </a:t>
            </a:r>
          </a:p>
          <a:p>
            <a:endParaRPr lang="en-US" noProof="0" dirty="0"/>
          </a:p>
          <a:p>
            <a:r>
              <a:rPr lang="en-US" noProof="0" dirty="0"/>
              <a:t>When you run a query against an external table, the external data will be imported into the SQL Pool and filters will be applied there. So if you select 1 row out of data stored in data lake, it will import the entire table, then filter the data in the SQL Pool. If you have multiple queries using that data, then the data has to be imported into tempdb every time the table is queried. Because of this, you do not want to be using external data directly in your queries. Instead, you should separately run imports of this external data into regular tables in the SQL Pool. Import that data once, then query it multiple times. This Will be much more performant overall than just using the external data directly in your queries. </a:t>
            </a:r>
          </a:p>
          <a:p>
            <a:endParaRPr lang="en-US" noProof="0" dirty="0"/>
          </a:p>
          <a:p>
            <a:r>
              <a:rPr lang="en-US" noProof="0" dirty="0"/>
              <a:t>The COPY INTO statement will use very similar Technology as external tables but allows for much more granular controls. This feature is currently in preview, but when it is GA it will be the preferred method of importing external data. Read more on Microsoft docs </a:t>
            </a:r>
          </a:p>
          <a:p>
            <a:endParaRPr lang="es-E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4100130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example in the slide is for creating an external table pointing to an Azure Storage account</a:t>
            </a:r>
          </a:p>
          <a:p>
            <a:r>
              <a:rPr lang="en-US" noProof="0" dirty="0"/>
              <a:t>A Database scoped credential is needed to manage security.</a:t>
            </a:r>
          </a:p>
          <a:p>
            <a:endParaRPr lang="en-US" noProof="0" dirty="0"/>
          </a:p>
          <a:p>
            <a:r>
              <a:rPr lang="en-US" noProof="0" dirty="0"/>
              <a:t>The upcoming COPY INTO statement will instead have you specify the schema at query time instead of storing it in an external table. Read more on Microsoft doc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49729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emporary tables storage: Utilize local SSD Storage</a:t>
            </a:r>
          </a:p>
          <a:p>
            <a:pPr marL="0" indent="0">
              <a:buNone/>
            </a:pPr>
            <a:endParaRPr lang="en-US" dirty="0"/>
          </a:p>
          <a:p>
            <a:pPr marL="0" indent="0">
              <a:buNone/>
            </a:pPr>
            <a:r>
              <a:rPr lang="en-US" dirty="0"/>
              <a:t>2. </a:t>
            </a:r>
            <a:r>
              <a:rPr lang="en-US" dirty="0" err="1"/>
              <a:t>Auto_create_statistics</a:t>
            </a:r>
            <a:r>
              <a:rPr lang="en-US" dirty="0"/>
              <a:t> and temporary and external tables: </a:t>
            </a:r>
            <a:r>
              <a:rPr lang="en-US" b="0" i="0" dirty="0">
                <a:solidFill>
                  <a:srgbClr val="171717"/>
                </a:solidFill>
                <a:effectLst/>
                <a:latin typeface="Segoe UI" panose="020B0502040204020203" pitchFamily="34" charset="0"/>
              </a:rPr>
              <a:t>The automatic creation of statistics is not generated on temporary or external tables.</a:t>
            </a:r>
          </a:p>
          <a:p>
            <a:pPr marL="0" indent="0">
              <a:buNone/>
            </a:pPr>
            <a:endParaRPr lang="en-US" sz="900" b="0" i="0" dirty="0">
              <a:solidFill>
                <a:srgbClr val="171717"/>
              </a:solidFill>
              <a:effectLst/>
              <a:latin typeface="Segoe UI" panose="020B0502040204020203" pitchFamily="34" charset="0"/>
            </a:endParaRPr>
          </a:p>
          <a:p>
            <a:pPr marL="0" indent="0">
              <a:buFont typeface="Arial" panose="020B0604020202020204" pitchFamily="34" charset="0"/>
              <a:buNone/>
            </a:pPr>
            <a:r>
              <a:rPr lang="es-ES" sz="900" b="0" i="0" dirty="0"/>
              <a:t>3. </a:t>
            </a:r>
            <a:r>
              <a:rPr lang="es-ES" sz="900" b="0" i="0" dirty="0" err="1"/>
              <a:t>External</a:t>
            </a:r>
            <a:r>
              <a:rPr lang="es-ES" sz="900" b="0" i="0" dirty="0"/>
              <a:t> tables </a:t>
            </a:r>
            <a:r>
              <a:rPr lang="es-ES" sz="900" b="0" i="0" dirty="0" err="1"/>
              <a:t>storage</a:t>
            </a:r>
            <a:r>
              <a:rPr lang="es-ES" sz="900" b="0" i="0" dirty="0"/>
              <a:t> and </a:t>
            </a:r>
            <a:r>
              <a:rPr lang="es-ES" sz="900" b="0" i="0" dirty="0" err="1"/>
              <a:t>persistence</a:t>
            </a:r>
            <a:r>
              <a:rPr lang="es-ES" sz="900" b="0" i="0" dirty="0"/>
              <a:t>: </a:t>
            </a:r>
            <a:r>
              <a:rPr lang="en-US" noProof="0" dirty="0"/>
              <a:t>Files may be created / deleted by external processes. Storage is external to </a:t>
            </a:r>
            <a:r>
              <a:rPr lang="en-US" noProof="0" dirty="0" err="1"/>
              <a:t>sql</a:t>
            </a:r>
            <a:r>
              <a:rPr lang="en-US" noProof="0" dirty="0"/>
              <a:t> pool.</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QL Pool, views are not complied in the same way that SQL Server views are compiled. </a:t>
            </a:r>
          </a:p>
          <a:p>
            <a:r>
              <a:rPr lang="en-US" dirty="0"/>
              <a:t>In a SQL Server database, a view is tied to the table objects it references. Because a SQL Pool view cannot be resolved until execution time, where it may be split into multiple sub-steps, the distributed query plan can change from execution to execution, implying that the view is, at best, loosely coupled to the referenced objects. This allows for maintenance on the underlying tables / views, even to creating new copies or version of those tables / views.</a:t>
            </a:r>
          </a:p>
          <a:p>
            <a:endParaRPr lang="en-US" dirty="0"/>
          </a:p>
          <a:p>
            <a:r>
              <a:rPr lang="en-US" dirty="0"/>
              <a:t>SQL Pool Stored Procedures can be considered with the same perspective – not tied to the referenced tables / view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28959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mnibus View’ is one that encompasses multiple related business logic functions, and will likely include 10’s or even 100’s of columns. The more complicated the view, the more likely it is that the MPP Query optimizer will decide to move more data than is actually needed, as it becomes increasingly more complicated to determine exactly what data is required to produce the query result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4403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57197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erialized views, as opposed to standard views, store the results of the view so that you can query the data without actually executing the view at query time. The data is updated in the materialized view whenever the underlying data changes – so you need to think about how often the data changes because updating the view could add workload to the service if there are a lot of update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5264748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properly designed materialized view provides the following benef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Reduce the execution time for complex queries with JOINs and aggregate functions. The more complex the query, the higher the potential for execution-time saving. The most benefit is gained when a query's computation cost is high and the resulting data set is small.</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 optimizer in SQL pool can automatically use deployed materialized views to improve query execution plans. This process is transparent to users providing faster query performance and doesn't require queries to make direct reference to the materialized view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Require low maintenance on the views. All incremental data changes from the base tables are automatically added to the materialized views in a synchronous manner. This design allows querying materialized views to return the same data as directly querying the base table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 data in a materialized view can be distributed differently from the base table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ata in materialized views gets the same high availability and resiliency benefits as data in regular table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You cannot create a materialized view without an aggregation.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28959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https://docs.microsoft.com/en-us/sql/t-sql/statements/create-materialized-view-as-select-transact-sql?toc=%2Fazure%2Fsynapse-analytics%2Fsql-data-warehouse%2Ftoc.json&amp;bc=%2Fazure%2Fsynapse-analytics%2Fsql-data-warehouse%2Fbreadcrumb%2Ftoc.json&amp;view=azure-sqldw-latest</a:t>
            </a:r>
            <a:endParaRPr lang="es-ES" dirty="0"/>
          </a:p>
          <a:p>
            <a:endParaRPr lang="es-ES" dirty="0"/>
          </a:p>
          <a:p>
            <a:r>
              <a:rPr lang="en-US" noProof="0" dirty="0"/>
              <a:t>When creating a materialized view you probably will want to create it as hash distributed on a particular column, but there may be some scenarios where Round Robin is better. Round robin uses les Resources at view Creation/update time, but more at query time since the table has to be refactored into a usable Distribution format at query time. If the underlying data is updated for your view often it may be better to leave it as round robin to minimize resource consumption, but this Will be slower for queries than choosing a proper Distribution column. </a:t>
            </a:r>
          </a:p>
          <a:p>
            <a:endParaRPr lang="en-US" noProof="0" dirty="0"/>
          </a:p>
          <a:p>
            <a:r>
              <a:rPr lang="en-US" noProof="0" dirty="0"/>
              <a:t>You can choose a different Distribution column as source tables, just note that you can’t use materialized views just for that as you are Required to have an aggregation of some sort in your materialized view. If you jut tried to create one as select * from another table it Will fail.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56810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When MIN/MAX aggregates are used in the SELECT list of materialized view definition, following requirements app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_APPEND is required. For example:</a:t>
            </a:r>
          </a:p>
          <a:p>
            <a:pPr marL="0" indent="0" algn="l">
              <a:buFont typeface="Arial" panose="020B0604020202020204" pitchFamily="34" charset="0"/>
              <a:buNone/>
            </a:pPr>
            <a:endParaRPr lang="en-US" b="0" i="0" dirty="0">
              <a:solidFill>
                <a:srgbClr val="0101FD"/>
              </a:solidFill>
              <a:effectLst/>
              <a:latin typeface="Segoe UI" panose="020B0502040204020203" pitchFamily="34" charset="0"/>
            </a:endParaRPr>
          </a:p>
          <a:p>
            <a:pPr marL="0" indent="0" algn="l">
              <a:buFont typeface="Arial" panose="020B0604020202020204" pitchFamily="34" charset="0"/>
              <a:buNone/>
            </a:pPr>
            <a:r>
              <a:rPr lang="en-US" b="0" i="0" dirty="0">
                <a:solidFill>
                  <a:srgbClr val="0101FD"/>
                </a:solidFill>
                <a:effectLst/>
                <a:latin typeface="Segoe UI" panose="020B0502040204020203" pitchFamily="34" charset="0"/>
              </a:rPr>
              <a:t>CREATE</a:t>
            </a:r>
            <a:r>
              <a:rPr lang="en-US" b="0" i="0" dirty="0">
                <a:solidFill>
                  <a:srgbClr val="171717"/>
                </a:solidFill>
                <a:effectLst/>
                <a:latin typeface="Segoe UI" panose="020B0502040204020203" pitchFamily="34" charset="0"/>
              </a:rPr>
              <a:t> </a:t>
            </a:r>
            <a:r>
              <a:rPr lang="en-US" b="0" i="0" dirty="0">
                <a:solidFill>
                  <a:srgbClr val="0101FD"/>
                </a:solidFill>
                <a:effectLst/>
                <a:latin typeface="Segoe UI" panose="020B0502040204020203" pitchFamily="34" charset="0"/>
              </a:rPr>
              <a:t>MATERIALIZED</a:t>
            </a:r>
            <a:r>
              <a:rPr lang="en-US" b="0" i="0" dirty="0">
                <a:solidFill>
                  <a:srgbClr val="171717"/>
                </a:solidFill>
                <a:effectLst/>
                <a:latin typeface="Segoe UI" panose="020B0502040204020203" pitchFamily="34" charset="0"/>
              </a:rPr>
              <a:t> </a:t>
            </a:r>
            <a:r>
              <a:rPr lang="en-US" b="0" i="0" dirty="0">
                <a:solidFill>
                  <a:srgbClr val="0101FD"/>
                </a:solidFill>
                <a:effectLst/>
                <a:latin typeface="Segoe UI" panose="020B0502040204020203" pitchFamily="34" charset="0"/>
              </a:rPr>
              <a:t>VIEW</a:t>
            </a:r>
            <a:r>
              <a:rPr lang="en-US" b="0" i="0" dirty="0">
                <a:solidFill>
                  <a:srgbClr val="171717"/>
                </a:solidFill>
                <a:effectLst/>
                <a:latin typeface="Segoe UI" panose="020B0502040204020203" pitchFamily="34" charset="0"/>
              </a:rPr>
              <a:t> mv_test2 </a:t>
            </a:r>
          </a:p>
          <a:p>
            <a:pPr marL="0" indent="0" algn="l">
              <a:buFont typeface="Arial" panose="020B0604020202020204" pitchFamily="34" charset="0"/>
              <a:buNone/>
            </a:pPr>
            <a:r>
              <a:rPr lang="en-US" b="0" i="0" dirty="0">
                <a:solidFill>
                  <a:srgbClr val="0101FD"/>
                </a:solidFill>
                <a:effectLst/>
                <a:latin typeface="Segoe UI" panose="020B0502040204020203" pitchFamily="34" charset="0"/>
              </a:rPr>
              <a:t>WITH</a:t>
            </a:r>
            <a:r>
              <a:rPr lang="en-US" b="0" i="0" dirty="0">
                <a:solidFill>
                  <a:srgbClr val="171717"/>
                </a:solidFill>
                <a:effectLst/>
                <a:latin typeface="Segoe UI" panose="020B0502040204020203" pitchFamily="34" charset="0"/>
              </a:rPr>
              <a:t> (distribution = </a:t>
            </a:r>
            <a:r>
              <a:rPr lang="en-US" b="0" i="0" dirty="0">
                <a:solidFill>
                  <a:srgbClr val="0101FD"/>
                </a:solidFill>
                <a:effectLst/>
                <a:latin typeface="Segoe UI" panose="020B0502040204020203" pitchFamily="34" charset="0"/>
              </a:rPr>
              <a:t>hash</a:t>
            </a:r>
            <a:r>
              <a:rPr lang="en-US" b="0" i="0" dirty="0">
                <a:solidFill>
                  <a:srgbClr val="171717"/>
                </a:solidFill>
                <a:effectLst/>
                <a:latin typeface="Segoe UI" panose="020B0502040204020203" pitchFamily="34" charset="0"/>
              </a:rPr>
              <a:t>(i_category_id), FOR_APPEND) </a:t>
            </a:r>
          </a:p>
          <a:p>
            <a:pPr marL="0" indent="0" algn="l">
              <a:buFont typeface="Arial" panose="020B0604020202020204" pitchFamily="34" charset="0"/>
              <a:buNone/>
            </a:pPr>
            <a:r>
              <a:rPr lang="en-US" b="0" i="0" dirty="0">
                <a:solidFill>
                  <a:srgbClr val="0101FD"/>
                </a:solidFill>
                <a:effectLst/>
                <a:latin typeface="Segoe UI" panose="020B0502040204020203" pitchFamily="34" charset="0"/>
              </a:rPr>
              <a:t>AS</a:t>
            </a:r>
            <a:r>
              <a:rPr lang="en-US" b="0" i="0" dirty="0">
                <a:solidFill>
                  <a:srgbClr val="171717"/>
                </a:solidFill>
                <a:effectLst/>
                <a:latin typeface="Segoe UI" panose="020B0502040204020203" pitchFamily="34" charset="0"/>
              </a:rPr>
              <a:t> </a:t>
            </a:r>
          </a:p>
          <a:p>
            <a:pPr marL="0" indent="0" algn="l">
              <a:buFont typeface="Arial" panose="020B0604020202020204" pitchFamily="34" charset="0"/>
              <a:buNone/>
            </a:pPr>
            <a:r>
              <a:rPr lang="en-US" b="0" i="0" dirty="0">
                <a:solidFill>
                  <a:srgbClr val="0101FD"/>
                </a:solidFill>
                <a:effectLst/>
                <a:latin typeface="Segoe UI" panose="020B0502040204020203" pitchFamily="34" charset="0"/>
              </a:rPr>
              <a:t>SELECT</a:t>
            </a:r>
            <a:r>
              <a:rPr lang="en-US" b="0" i="0" dirty="0">
                <a:solidFill>
                  <a:srgbClr val="171717"/>
                </a:solidFill>
                <a:effectLst/>
                <a:latin typeface="Segoe UI" panose="020B0502040204020203" pitchFamily="34" charset="0"/>
              </a:rPr>
              <a:t> </a:t>
            </a:r>
            <a:r>
              <a:rPr lang="en-US" b="0" i="0" dirty="0">
                <a:solidFill>
                  <a:srgbClr val="0101FD"/>
                </a:solidFill>
                <a:effectLst/>
                <a:latin typeface="Segoe UI" panose="020B0502040204020203" pitchFamily="34" charset="0"/>
              </a:rPr>
              <a:t>MAX</a:t>
            </a:r>
            <a:r>
              <a:rPr lang="en-US" b="0" i="0" dirty="0">
                <a:solidFill>
                  <a:srgbClr val="171717"/>
                </a:solidFill>
                <a:effectLst/>
                <a:latin typeface="Segoe UI" panose="020B0502040204020203" pitchFamily="34" charset="0"/>
              </a:rPr>
              <a:t>(i.i_rec_start_date) </a:t>
            </a:r>
            <a:r>
              <a:rPr lang="en-US" b="0" i="0" dirty="0">
                <a:solidFill>
                  <a:srgbClr val="0101FD"/>
                </a:solidFill>
                <a:effectLst/>
                <a:latin typeface="Segoe UI" panose="020B0502040204020203" pitchFamily="34" charset="0"/>
              </a:rPr>
              <a:t>as</a:t>
            </a:r>
            <a:r>
              <a:rPr lang="en-US" b="0" i="0" dirty="0">
                <a:solidFill>
                  <a:srgbClr val="171717"/>
                </a:solidFill>
                <a:effectLst/>
                <a:latin typeface="Segoe UI" panose="020B0502040204020203" pitchFamily="34" charset="0"/>
              </a:rPr>
              <a:t> max_i_rec_start_date, </a:t>
            </a:r>
            <a:r>
              <a:rPr lang="en-US" b="0" i="0" dirty="0">
                <a:solidFill>
                  <a:srgbClr val="0101FD"/>
                </a:solidFill>
                <a:effectLst/>
                <a:latin typeface="Segoe UI" panose="020B0502040204020203" pitchFamily="34" charset="0"/>
              </a:rPr>
              <a:t>MIN</a:t>
            </a:r>
            <a:r>
              <a:rPr lang="en-US" b="0" i="0" dirty="0">
                <a:solidFill>
                  <a:srgbClr val="171717"/>
                </a:solidFill>
                <a:effectLst/>
                <a:latin typeface="Segoe UI" panose="020B0502040204020203" pitchFamily="34" charset="0"/>
              </a:rPr>
              <a:t>(i.i_rec_end_date) </a:t>
            </a:r>
            <a:r>
              <a:rPr lang="en-US" b="0" i="0" dirty="0">
                <a:solidFill>
                  <a:srgbClr val="0101FD"/>
                </a:solidFill>
                <a:effectLst/>
                <a:latin typeface="Segoe UI" panose="020B0502040204020203" pitchFamily="34" charset="0"/>
              </a:rPr>
              <a:t>as</a:t>
            </a:r>
            <a:r>
              <a:rPr lang="en-US" b="0" i="0" dirty="0">
                <a:solidFill>
                  <a:srgbClr val="171717"/>
                </a:solidFill>
                <a:effectLst/>
                <a:latin typeface="Segoe UI" panose="020B0502040204020203" pitchFamily="34" charset="0"/>
              </a:rPr>
              <a:t> min_i_rec_end_date, i.i_item_sk, i.i_item_id, i.i_category_id </a:t>
            </a:r>
          </a:p>
          <a:p>
            <a:pPr marL="0" indent="0" algn="l">
              <a:buFont typeface="Arial" panose="020B0604020202020204" pitchFamily="34" charset="0"/>
              <a:buNone/>
            </a:pPr>
            <a:r>
              <a:rPr lang="en-US" b="0" i="0" dirty="0">
                <a:solidFill>
                  <a:srgbClr val="0101FD"/>
                </a:solidFill>
                <a:effectLst/>
                <a:latin typeface="Segoe UI" panose="020B0502040204020203" pitchFamily="34" charset="0"/>
              </a:rPr>
              <a:t>FROM</a:t>
            </a:r>
            <a:r>
              <a:rPr lang="en-US" b="0" i="0" dirty="0">
                <a:solidFill>
                  <a:srgbClr val="171717"/>
                </a:solidFill>
                <a:effectLst/>
                <a:latin typeface="Segoe UI" panose="020B0502040204020203" pitchFamily="34" charset="0"/>
              </a:rPr>
              <a:t> syntheticworkload.item i </a:t>
            </a:r>
            <a:r>
              <a:rPr lang="en-US" b="0" i="0" dirty="0">
                <a:solidFill>
                  <a:srgbClr val="0101FD"/>
                </a:solidFill>
                <a:effectLst/>
                <a:latin typeface="Segoe UI" panose="020B0502040204020203" pitchFamily="34" charset="0"/>
              </a:rPr>
              <a:t>GROUP</a:t>
            </a:r>
            <a:r>
              <a:rPr lang="en-US" b="0" i="0" dirty="0">
                <a:solidFill>
                  <a:srgbClr val="171717"/>
                </a:solidFill>
                <a:effectLst/>
                <a:latin typeface="Segoe UI" panose="020B0502040204020203" pitchFamily="34" charset="0"/>
              </a:rPr>
              <a:t> </a:t>
            </a:r>
            <a:r>
              <a:rPr lang="en-US" b="0" i="0" dirty="0">
                <a:solidFill>
                  <a:srgbClr val="0101FD"/>
                </a:solidFill>
                <a:effectLst/>
                <a:latin typeface="Segoe UI" panose="020B0502040204020203" pitchFamily="34" charset="0"/>
              </a:rPr>
              <a:t>BY</a:t>
            </a:r>
            <a:r>
              <a:rPr lang="en-US" b="0" i="0" dirty="0">
                <a:solidFill>
                  <a:srgbClr val="171717"/>
                </a:solidFill>
                <a:effectLst/>
                <a:latin typeface="Segoe UI" panose="020B0502040204020203" pitchFamily="34" charset="0"/>
              </a:rPr>
              <a:t> i.i_item_sk, i.i_item_id, i.i_category_id </a:t>
            </a:r>
          </a:p>
          <a:p>
            <a:pPr marL="0" indent="0" algn="l">
              <a:buFont typeface="Arial" panose="020B0604020202020204" pitchFamily="34" charset="0"/>
              <a:buNone/>
            </a:pPr>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 materialized view will be disabled when an UPDATE or DELETE occurs in the referenced base tables.  This restriction doesn't apply to INSERTs.  To re-enable the materialized view, run ALTER MATERIALIZED VIEW with REBUIL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You don’t even have to directly reference your materialized views (although you can) because the query optimizer will evaluate currently existing materialized views and if it would help the query execute it will be used even if it wasn’t referenced in the query.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hlinkClick r:id="rId3"/>
              </a:rPr>
              <a:t>https://docs.microsoft.com/en-us/sql/t-sql/statements/create-materialized-view-as-select-transact-sql?toc=%2Fazure%2Fsynapse-analytics%2Fsql-data-warehouse%2Ftoc.json&amp;bc=%2Fazure%2Fsynapse-analytics%2Fsql-data-warehouse%2Fbreadcrumb%2Ftoc.json&amp;view=azure-sqldw-latest#argu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019670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For each materialized view, there's a data storage cost and a cost for maintaining the view. As data changes in base tables, the size of the materialized view increases and its physical structure also change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7246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12: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Users can run EXPLAIN WITH_RECOMMENDATIONS &lt;SQL_statement&gt; for the materialized views recommended by the query optimizer. Since these recommendations are query-specific, a materialized view that benefits a single query may not be optimal for other queries in the same workload.</a:t>
            </a:r>
          </a:p>
          <a:p>
            <a:pPr algn="l"/>
            <a:r>
              <a:rPr lang="en-US" b="0" i="0" dirty="0">
                <a:solidFill>
                  <a:srgbClr val="171717"/>
                </a:solidFill>
                <a:effectLst/>
                <a:latin typeface="Segoe UI" panose="020B0502040204020203" pitchFamily="34" charset="0"/>
              </a:rPr>
              <a:t>Evaluate these recommendations with your workload needs in mind. The ideal materialized views are those that benefit the workload's performance.</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When this option is used, the explain plan will contain the CREATE MATERIALIZED VIEW statement that the optimizer believes could help by query by pre-aggregating data. You will need to test whether or not these actually improve query execution times. </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49437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o keep materialized views refreshed with data changes in base tables, data warehouse engine adds tracking rows to each affected view to reflect the changes. Selecting from a materialized view includes scanning the view's clustered columnstore index and applying any incremental changes.  The tracking rows (TOTAL_ROWS - BASE_VIEW_ROWS) do not get eliminated until users REBUILD the materialized view.</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overhead_ratio is calculated as TOTAL_ROWS/MAX(1, BASE_VIEW_ROWS). </a:t>
            </a:r>
          </a:p>
          <a:p>
            <a:pPr algn="l"/>
            <a:r>
              <a:rPr lang="en-US" b="0" i="0" dirty="0">
                <a:solidFill>
                  <a:srgbClr val="171717"/>
                </a:solidFill>
                <a:effectLst/>
                <a:latin typeface="Segoe UI" panose="020B0502040204020203" pitchFamily="34" charset="0"/>
              </a:rPr>
              <a:t>If it's high, SELECT performance will degrade.  </a:t>
            </a:r>
          </a:p>
          <a:p>
            <a:pPr algn="l"/>
            <a:r>
              <a:rPr lang="en-US" b="0" i="0" dirty="0">
                <a:solidFill>
                  <a:srgbClr val="171717"/>
                </a:solidFill>
                <a:effectLst/>
                <a:latin typeface="Segoe UI" panose="020B0502040204020203" pitchFamily="34" charset="0"/>
              </a:rPr>
              <a:t>Users can rebuild the materialized view to reduce its overhead ratio.</a:t>
            </a:r>
          </a:p>
          <a:p>
            <a:endParaRPr lang="es-E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19/2022 12:0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197408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80815035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Main differences between standard and materialized view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Materialized views store the results of the view so that you can query the data without actually executing the view at query time. The data is updated in the materialized view whenever the underlying data changes (you need to think about how often the data changes because updating the view could add workload to the service if there are a lot of updates)</a:t>
            </a:r>
          </a:p>
          <a:p>
            <a:pPr marL="0" indent="0">
              <a:buNone/>
            </a:pPr>
            <a:endParaRPr lang="en-US" dirty="0"/>
          </a:p>
          <a:p>
            <a:pPr marL="0" indent="0">
              <a:buNone/>
            </a:pPr>
            <a:r>
              <a:rPr lang="en-US" dirty="0"/>
              <a:t>2. Benefits of materialized views</a:t>
            </a:r>
          </a:p>
          <a:p>
            <a:pPr lvl="0"/>
            <a:r>
              <a:rPr lang="en-US" sz="900" b="0" i="0" dirty="0"/>
              <a:t>Reduced execution time for complex queries with JOINs and aggregate functions.</a:t>
            </a:r>
            <a:endParaRPr lang="es-ES" sz="900" dirty="0"/>
          </a:p>
          <a:p>
            <a:pPr lvl="0">
              <a:buNone/>
            </a:pPr>
            <a:r>
              <a:rPr lang="en-US" sz="900" dirty="0"/>
              <a:t>Real-time data refresh for updates to base tables.</a:t>
            </a:r>
            <a:endParaRPr lang="es-ES" sz="900" dirty="0"/>
          </a:p>
          <a:p>
            <a:pPr lvl="0"/>
            <a:r>
              <a:rPr lang="en-US" sz="900" dirty="0"/>
              <a:t>Broad aggregate function support: </a:t>
            </a:r>
            <a:r>
              <a:rPr lang="en-US" sz="900" dirty="0">
                <a:latin typeface="+mj-lt"/>
              </a:rPr>
              <a:t>MAX</a:t>
            </a:r>
            <a:r>
              <a:rPr lang="en-US" sz="900" baseline="40000" dirty="0">
                <a:latin typeface="+mj-lt"/>
              </a:rPr>
              <a:t>(*), </a:t>
            </a:r>
            <a:r>
              <a:rPr lang="en-US" sz="900" dirty="0">
                <a:latin typeface="+mj-lt"/>
              </a:rPr>
              <a:t>MIN</a:t>
            </a:r>
            <a:r>
              <a:rPr lang="en-US" sz="900" baseline="40000" dirty="0">
                <a:latin typeface="+mj-lt"/>
              </a:rPr>
              <a:t> (*), </a:t>
            </a:r>
            <a:r>
              <a:rPr lang="en-US" sz="900" dirty="0">
                <a:latin typeface="+mj-lt"/>
              </a:rPr>
              <a:t>AVG, SUM, VAR, STDEV, COUNT, COUNT_BIG </a:t>
            </a:r>
            <a:endParaRPr lang="en-US" sz="900" dirty="0"/>
          </a:p>
          <a:p>
            <a:pPr lvl="0"/>
            <a:r>
              <a:rPr lang="en-US" sz="900" dirty="0">
                <a:latin typeface="+mj-lt"/>
              </a:rPr>
              <a:t>SQL Pool MPP query optimizer will use MVs, even if not referenced in the query.</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4/19/2022 12:0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DWU is for Gen1 servers and we do not talk about Gen1 anymore.</a:t>
            </a:r>
          </a:p>
          <a:p>
            <a:pPr algn="l"/>
            <a:endParaRPr lang="en-US" b="0" i="0" dirty="0">
              <a:solidFill>
                <a:srgbClr val="171717"/>
              </a:solidFill>
              <a:effectLst/>
              <a:latin typeface="Segoe UI" panose="020B0502040204020203" pitchFamily="34" charset="0"/>
            </a:endParaRPr>
          </a:p>
          <a:p>
            <a:pPr algn="l"/>
            <a:r>
              <a:rPr lang="en-US" b="0" i="0" dirty="0" err="1">
                <a:solidFill>
                  <a:srgbClr val="171717"/>
                </a:solidFill>
                <a:effectLst/>
                <a:latin typeface="Segoe UI" panose="020B0502040204020203" pitchFamily="34" charset="0"/>
              </a:rPr>
              <a:t>cDWU</a:t>
            </a:r>
            <a:r>
              <a:rPr lang="en-US" b="0" i="0" dirty="0">
                <a:solidFill>
                  <a:srgbClr val="171717"/>
                </a:solidFill>
                <a:effectLst/>
                <a:latin typeface="Segoe UI" panose="020B0502040204020203" pitchFamily="34" charset="0"/>
              </a:rPr>
              <a:t> is for Gen 2 server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Refer your talk to the following link: </a:t>
            </a:r>
            <a:r>
              <a:rPr lang="en-US" dirty="0">
                <a:hlinkClick r:id="rId3"/>
              </a:rPr>
              <a:t>https://docs.microsoft.com/en-us/azure/synapse-analytics/sql-data-warehouse/what-is-a-data-warehouse-unit-dwu-cdwu</a:t>
            </a:r>
            <a:endParaRPr lang="en-US" dirty="0"/>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 </a:t>
            </a:r>
            <a:r>
              <a:rPr lang="en-US" b="0" i="0" u="sng" dirty="0">
                <a:solidFill>
                  <a:srgbClr val="171717"/>
                </a:solidFill>
                <a:effectLst/>
                <a:latin typeface="Segoe UI" panose="020B0502040204020203" pitchFamily="34" charset="0"/>
                <a:hlinkClick r:id="rId4"/>
              </a:rPr>
              <a:t>Synapse SQL pool</a:t>
            </a:r>
            <a:r>
              <a:rPr lang="en-US" b="0" i="0" dirty="0">
                <a:solidFill>
                  <a:srgbClr val="171717"/>
                </a:solidFill>
                <a:effectLst/>
                <a:latin typeface="Segoe UI" panose="020B0502040204020203" pitchFamily="34" charset="0"/>
              </a:rPr>
              <a:t> represents a collection of analytic resources that are being provisioned. Analytic resources are defined as a combination of CPU, memory, and IO.</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se three resources are bundled into units of compute scale called Data Warehouse Units (DWUs). A DWU represents an abstract, normalized measure of compute resources and performance.</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A change to your service level alters the number of DWUs that are available to the system, which in turn adjusts the performance, and the cost, of your system.</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higher performance, you can increase the number of data warehouse units. For less performance, reduce data warehouse units. Storage and compute costs are billed separately, so changing data warehouse units does not affect storage costs.</a:t>
            </a:r>
          </a:p>
          <a:p>
            <a:pPr algn="l"/>
            <a:r>
              <a:rPr lang="en-US" b="0" i="0" dirty="0">
                <a:solidFill>
                  <a:srgbClr val="171717"/>
                </a:solidFill>
                <a:effectLst/>
                <a:latin typeface="Segoe UI" panose="020B0502040204020203" pitchFamily="34" charset="0"/>
              </a:rPr>
              <a:t>Performance for data warehouse units is based on these data warehouse workload metric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How fast a standard SQL pool query can scan a large number of rows and then perform a complex aggregation. This operation is I/O and CPU intensi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How fast the SQL pool can ingest data from Azure Storage Blobs or Azure Data Lake. This operation is network and CPU intensi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How fast the </a:t>
            </a:r>
            <a:r>
              <a:rPr lang="en-US" b="0" i="0" u="none" strike="noStrike" dirty="0">
                <a:solidFill>
                  <a:srgbClr val="171717"/>
                </a:solidFill>
                <a:effectLst/>
                <a:latin typeface="Segoe UI" panose="020B0502040204020203" pitchFamily="34" charset="0"/>
                <a:hlinkClick r:id="rId5"/>
              </a:rPr>
              <a:t>CREATE TABLE AS SELECT</a:t>
            </a:r>
            <a:r>
              <a:rPr lang="en-US" b="0" i="0" dirty="0">
                <a:solidFill>
                  <a:srgbClr val="171717"/>
                </a:solidFill>
                <a:effectLst/>
                <a:latin typeface="Segoe UI" panose="020B0502040204020203" pitchFamily="34" charset="0"/>
              </a:rPr>
              <a:t> T-SQL command can copy a table. This operation involves reading data from storage, distributing it across the nodes of the appliance and writing to storage again. This operation is CPU, IO, and network intensive.</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ncreasing DWU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chang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a:t>
            </a:r>
            <a:r>
              <a:rPr lang="en-US" b="0" i="0" dirty="0" err="1">
                <a:solidFill>
                  <a:srgbClr val="171717"/>
                </a:solidFill>
                <a:effectLst/>
                <a:latin typeface="Segoe UI" panose="020B0502040204020203" pitchFamily="34" charset="0"/>
              </a:rPr>
              <a:t>PolyBase</a:t>
            </a:r>
            <a:r>
              <a:rPr lang="en-US" b="0" i="0" dirty="0">
                <a:solidFill>
                  <a:srgbClr val="171717"/>
                </a:solidFill>
                <a:effectLst/>
                <a:latin typeface="Segoe UI" panose="020B0502040204020203" pitchFamily="34" charset="0"/>
              </a:rPr>
              <a:t> load operation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maximum number of concurrent queries and concurrency slots.</a:t>
            </a:r>
          </a:p>
          <a:p>
            <a:pPr marL="171450" indent="-171450"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b="0" i="0" dirty="0">
              <a:solidFill>
                <a:srgbClr val="171717"/>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393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amount of compute node, RAM and specific scenarios for some </a:t>
            </a:r>
            <a:r>
              <a:rPr lang="en-US" dirty="0" err="1"/>
              <a:t>cDWU</a:t>
            </a:r>
            <a:endParaRPr lang="en-US" dirty="0"/>
          </a:p>
          <a:p>
            <a:r>
              <a:rPr lang="en-US" dirty="0"/>
              <a:t>For Example, speak about </a:t>
            </a:r>
            <a:r>
              <a:rPr lang="en-US" dirty="0" err="1"/>
              <a:t>cDWU</a:t>
            </a:r>
            <a:r>
              <a:rPr lang="en-US" dirty="0"/>
              <a:t> 100 to 500 will only have 1 compute node. Most of the time 100 to 400 is for DEV/UAT and sometime </a:t>
            </a:r>
            <a:r>
              <a:rPr lang="en-US" dirty="0" err="1"/>
              <a:t>PreProduction</a:t>
            </a:r>
            <a:r>
              <a:rPr lang="en-US" dirty="0"/>
              <a:t> environments.</a:t>
            </a:r>
          </a:p>
          <a:p>
            <a:r>
              <a:rPr lang="en-US" dirty="0"/>
              <a:t>DWU500 = 1 Compute node.</a:t>
            </a:r>
          </a:p>
          <a:p>
            <a:r>
              <a:rPr lang="en-US" dirty="0"/>
              <a:t>DWU30000 = 60 Compute nodes</a:t>
            </a:r>
          </a:p>
          <a:p>
            <a:r>
              <a:rPr lang="en-US" dirty="0"/>
              <a:t>Every 500 </a:t>
            </a:r>
            <a:r>
              <a:rPr lang="en-US" dirty="0" err="1"/>
              <a:t>cDWU</a:t>
            </a:r>
            <a:r>
              <a:rPr lang="en-US" dirty="0"/>
              <a:t>  = 1 compute node.</a:t>
            </a:r>
          </a:p>
          <a:p>
            <a:endParaRPr lang="en-US" dirty="0"/>
          </a:p>
          <a:p>
            <a:endParaRPr lang="en-US" dirty="0"/>
          </a:p>
          <a:p>
            <a:r>
              <a:rPr lang="en-US" dirty="0"/>
              <a:t>Then click on the slide for animation and jump to the Cache </a:t>
            </a:r>
          </a:p>
          <a:p>
            <a:endParaRPr lang="en-US" dirty="0"/>
          </a:p>
          <a:p>
            <a:r>
              <a:rPr lang="en-US" dirty="0"/>
              <a:t>Temp </a:t>
            </a:r>
            <a:r>
              <a:rPr lang="en-US" dirty="0" err="1"/>
              <a:t>db</a:t>
            </a:r>
            <a:r>
              <a:rPr lang="en-US" dirty="0"/>
              <a:t> information: </a:t>
            </a:r>
            <a:r>
              <a:rPr lang="en-US" dirty="0">
                <a:hlinkClick r:id="rId3"/>
              </a:rPr>
              <a:t>https://docs.microsoft.com/en-us/azure/synapse-analytics/sql-data-warehouse/sql-data-warehouse-service-capacity-limits</a:t>
            </a:r>
            <a:r>
              <a:rPr lang="en-US" dirty="0"/>
              <a:t> 399GB per DWU100c</a:t>
            </a:r>
          </a:p>
          <a:p>
            <a:r>
              <a:rPr lang="en-US" dirty="0"/>
              <a:t>Memory: 300GB per DWU500c (</a:t>
            </a:r>
            <a:r>
              <a:rPr lang="en-US" dirty="0">
                <a:hlinkClick r:id="rId4"/>
              </a:rPr>
              <a:t>https://docs.microsoft.com/en-us/azure/synapse-analytics/sql-data-warehouse/memory-concurrency-limits</a:t>
            </a:r>
            <a:r>
              <a:rPr lang="en-US" dirty="0"/>
              <a:t>)</a:t>
            </a:r>
          </a:p>
          <a:p>
            <a:endParaRPr lang="en-US" dirty="0"/>
          </a:p>
          <a:p>
            <a:endParaRPr lang="en-US" dirty="0"/>
          </a:p>
          <a:p>
            <a:r>
              <a:rPr lang="en-US" dirty="0"/>
              <a:t>Adaptive Cache: information: </a:t>
            </a:r>
            <a:r>
              <a:rPr lang="en-US" dirty="0">
                <a:hlinkClick r:id="rId5"/>
              </a:rPr>
              <a:t>https://azure.microsoft.com/en-us/blog/adaptive-caching-powers-azure-sql-data-warehouse-performance-gains/</a:t>
            </a:r>
            <a:endParaRPr lang="en-US" dirty="0"/>
          </a:p>
          <a:p>
            <a:r>
              <a:rPr lang="en-US" dirty="0">
                <a:hlinkClick r:id="rId6"/>
              </a:rPr>
              <a:t>https://azure.microsoft.com/en-us/blog/blazing-fast-data-warehousing-with-sql-data-warehouse-gen2/</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091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De-coupled storage from compute &amp; control</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Completely elastic</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Pay for the data you store and the compute you provision</a:t>
            </a:r>
          </a:p>
          <a:p>
            <a:endParaRPr lang="en-GB" dirty="0"/>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We always have 60 distribution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You can ramp up or down compute power without affecting your storag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is a metadata operation</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Differentiator with redshift: when we reattach databases, we can scale much faster – no need to destroy/recreate the cluster</a:t>
            </a:r>
            <a:endParaRPr lang="en-US"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12: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352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3.emf"/><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7"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065">
              <a:lnSpc>
                <a:spcPct val="100000"/>
              </a:lnSpc>
              <a:spcBef>
                <a:spcPts val="685"/>
              </a:spcBef>
              <a:buFontTx/>
              <a:buNone/>
              <a:defRPr sz="2244" baseline="0">
                <a:solidFill>
                  <a:schemeClr val="bg1"/>
                </a:solidFill>
              </a:defRPr>
            </a:lvl1pPr>
            <a:lvl2pPr marL="0" indent="0" algn="l" defTabSz="951065">
              <a:lnSpc>
                <a:spcPct val="100000"/>
              </a:lnSpc>
              <a:spcBef>
                <a:spcPts val="685"/>
              </a:spcBef>
              <a:buFontTx/>
              <a:buNone/>
              <a:defRPr sz="2244" baseline="0">
                <a:solidFill>
                  <a:schemeClr val="bg1"/>
                </a:solidFill>
              </a:defRPr>
            </a:lvl2pPr>
            <a:lvl3pPr marL="0" indent="0" algn="l" defTabSz="951065">
              <a:lnSpc>
                <a:spcPct val="100000"/>
              </a:lnSpc>
              <a:spcBef>
                <a:spcPts val="685"/>
              </a:spcBef>
              <a:buFontTx/>
              <a:buNone/>
              <a:defRPr sz="2244" baseline="0">
                <a:solidFill>
                  <a:schemeClr val="bg1"/>
                </a:solidFill>
              </a:defRPr>
            </a:lvl3pPr>
            <a:lvl4pPr marL="0" indent="0" algn="l" defTabSz="951065">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065">
              <a:lnSpc>
                <a:spcPct val="100000"/>
              </a:lnSpc>
              <a:spcBef>
                <a:spcPts val="685"/>
              </a:spcBef>
              <a:buFontTx/>
              <a:buNone/>
              <a:defRPr sz="2244" baseline="0">
                <a:solidFill>
                  <a:schemeClr val="bg1"/>
                </a:solidFill>
              </a:defRPr>
            </a:lvl6pPr>
            <a:lvl7pPr marL="0" indent="0" algn="l" defTabSz="951065">
              <a:lnSpc>
                <a:spcPct val="100000"/>
              </a:lnSpc>
              <a:spcBef>
                <a:spcPts val="685"/>
              </a:spcBef>
              <a:buFontTx/>
              <a:buNone/>
              <a:defRPr sz="2244" baseline="0">
                <a:solidFill>
                  <a:schemeClr val="bg1"/>
                </a:solidFill>
              </a:defRPr>
            </a:lvl7pPr>
            <a:lvl8pPr marL="0" indent="0" algn="l" defTabSz="951065">
              <a:lnSpc>
                <a:spcPct val="100000"/>
              </a:lnSpc>
              <a:spcBef>
                <a:spcPts val="685"/>
              </a:spcBef>
              <a:buFontTx/>
              <a:buNone/>
              <a:defRPr sz="2244" baseline="0">
                <a:solidFill>
                  <a:schemeClr val="bg1"/>
                </a:solidFill>
              </a:defRPr>
            </a:lvl8pPr>
            <a:lvl9pPr marL="0" indent="0" algn="l" defTabSz="951065">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5" y="3594"/>
            <a:ext cx="6995517" cy="6990931"/>
          </a:xfrm>
          <a:solidFill>
            <a:srgbClr val="0078D4"/>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131089192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065">
              <a:lnSpc>
                <a:spcPct val="100000"/>
              </a:lnSpc>
              <a:spcBef>
                <a:spcPts val="685"/>
              </a:spcBef>
              <a:buFontTx/>
              <a:buNone/>
              <a:defRPr sz="2244"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5"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6936467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6"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065">
              <a:lnSpc>
                <a:spcPct val="100000"/>
              </a:lnSpc>
              <a:spcBef>
                <a:spcPts val="685"/>
              </a:spcBef>
              <a:buFontTx/>
              <a:buNone/>
              <a:defRPr sz="2244" baseline="0">
                <a:solidFill>
                  <a:schemeClr val="bg1"/>
                </a:solidFill>
              </a:defRPr>
            </a:lvl1pPr>
            <a:lvl2pPr marL="0" indent="0" algn="l" defTabSz="951065">
              <a:lnSpc>
                <a:spcPct val="100000"/>
              </a:lnSpc>
              <a:spcBef>
                <a:spcPts val="685"/>
              </a:spcBef>
              <a:buFontTx/>
              <a:buNone/>
              <a:defRPr sz="2244" baseline="0">
                <a:solidFill>
                  <a:schemeClr val="bg1"/>
                </a:solidFill>
              </a:defRPr>
            </a:lvl2pPr>
            <a:lvl3pPr marL="0" indent="0" algn="l" defTabSz="951065">
              <a:lnSpc>
                <a:spcPct val="100000"/>
              </a:lnSpc>
              <a:spcBef>
                <a:spcPts val="685"/>
              </a:spcBef>
              <a:buFontTx/>
              <a:buNone/>
              <a:defRPr sz="2244" baseline="0">
                <a:solidFill>
                  <a:schemeClr val="bg1"/>
                </a:solidFill>
              </a:defRPr>
            </a:lvl3pPr>
            <a:lvl4pPr marL="0" indent="0" algn="l" defTabSz="951065">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065">
              <a:lnSpc>
                <a:spcPct val="100000"/>
              </a:lnSpc>
              <a:spcBef>
                <a:spcPts val="685"/>
              </a:spcBef>
              <a:buFontTx/>
              <a:buNone/>
              <a:defRPr sz="2244" baseline="0">
                <a:solidFill>
                  <a:schemeClr val="bg1"/>
                </a:solidFill>
              </a:defRPr>
            </a:lvl6pPr>
            <a:lvl7pPr marL="0" indent="0" algn="l" defTabSz="951065">
              <a:lnSpc>
                <a:spcPct val="100000"/>
              </a:lnSpc>
              <a:spcBef>
                <a:spcPts val="685"/>
              </a:spcBef>
              <a:buFontTx/>
              <a:buNone/>
              <a:defRPr sz="2244" baseline="0">
                <a:solidFill>
                  <a:schemeClr val="bg1"/>
                </a:solidFill>
              </a:defRPr>
            </a:lvl7pPr>
            <a:lvl8pPr marL="0" indent="0" algn="l" defTabSz="951065">
              <a:lnSpc>
                <a:spcPct val="100000"/>
              </a:lnSpc>
              <a:spcBef>
                <a:spcPts val="685"/>
              </a:spcBef>
              <a:buFontTx/>
              <a:buNone/>
              <a:defRPr sz="2244" baseline="0">
                <a:solidFill>
                  <a:schemeClr val="bg1"/>
                </a:solidFill>
              </a:defRPr>
            </a:lvl8pPr>
            <a:lvl9pPr marL="0" indent="0" algn="l" defTabSz="951065">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91229753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8"/>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065">
              <a:lnSpc>
                <a:spcPct val="100000"/>
              </a:lnSpc>
              <a:spcBef>
                <a:spcPts val="685"/>
              </a:spcBef>
              <a:buFontTx/>
              <a:buNone/>
              <a:defRPr sz="2244"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242886475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7"/>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1541915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7"/>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9910543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7"/>
            <a:ext cx="11098907" cy="4915597"/>
          </a:xfrm>
          <a:prstGeom prst="rect">
            <a:avLst/>
          </a:prstGeom>
        </p:spPr>
        <p:txBody>
          <a:bodyPr/>
          <a:lstStyle>
            <a:lvl1pPr marL="0" indent="0">
              <a:buNone/>
              <a:defRPr sz="2448"/>
            </a:lvl1pPr>
            <a:lvl2pPr marL="317022" indent="0">
              <a:buNone/>
              <a:defRPr/>
            </a:lvl2pPr>
            <a:lvl3pPr marL="634044" indent="0">
              <a:buNone/>
              <a:defRPr/>
            </a:lvl3pPr>
            <a:lvl4pPr marL="951065" indent="0">
              <a:buNone/>
              <a:defRPr/>
            </a:lvl4pPr>
            <a:lvl5pPr marL="124943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7509640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7"/>
            <a:ext cx="11098907" cy="4915597"/>
          </a:xfrm>
          <a:prstGeom prst="rect">
            <a:avLst/>
          </a:prstGeom>
        </p:spPr>
        <p:txBody>
          <a:bodyPr/>
          <a:lstStyle>
            <a:lvl1pPr marL="0" indent="0">
              <a:buNone/>
              <a:defRPr sz="2448"/>
            </a:lvl1pPr>
            <a:lvl2pPr marL="317022" indent="0">
              <a:buNone/>
              <a:defRPr/>
            </a:lvl2pPr>
            <a:lvl3pPr marL="634044" indent="0">
              <a:buNone/>
              <a:defRPr/>
            </a:lvl3pPr>
            <a:lvl4pPr marL="951065" indent="0">
              <a:buNone/>
              <a:defRPr/>
            </a:lvl4pPr>
            <a:lvl5pPr marL="124943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8110495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6"/>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5" y="1436146"/>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549160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6"/>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5" y="1436146"/>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145964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8569327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66882096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6"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1413800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6"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9762493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8"/>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92621557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8"/>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804049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9"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942595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6"/>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9136338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6"/>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4892313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4"/>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7" y="642785"/>
            <a:ext cx="4440210" cy="5708957"/>
          </a:xfrm>
          <a:prstGeom prst="rect">
            <a:avLst/>
          </a:prstGeom>
        </p:spPr>
        <p:txBody>
          <a:bodyPr vert="horz" lIns="0" tIns="0" rIns="0" bIns="0" rtlCol="0">
            <a:normAutofit/>
          </a:bodyPr>
          <a:lstStyle>
            <a:lvl1pPr marL="0" indent="0">
              <a:buNone/>
              <a:defRPr sz="2448"/>
            </a:lvl1pPr>
            <a:lvl2pPr marL="317022" indent="0">
              <a:buNone/>
              <a:defRPr/>
            </a:lvl2pPr>
            <a:lvl3pPr marL="634044" indent="0">
              <a:buNone/>
              <a:defRPr/>
            </a:lvl3pPr>
            <a:lvl4pPr marL="951065" indent="0">
              <a:buNone/>
              <a:defRPr/>
            </a:lvl4pPr>
            <a:lvl5pPr marL="124943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8119"/>
          </a:xfrm>
          <a:solidFill>
            <a:srgbClr val="243A5E"/>
          </a:solidFill>
        </p:spPr>
        <p:txBody>
          <a:bodyPr tIns="18288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373879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6" y="3039058"/>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8119"/>
          </a:xfrm>
          <a:solidFill>
            <a:srgbClr val="243A5E"/>
          </a:solidFill>
        </p:spPr>
        <p:txBody>
          <a:bodyPr tIns="18288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33322903"/>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436151" cy="4765021"/>
          </a:xfrm>
          <a:solidFill>
            <a:srgbClr val="243A5E"/>
          </a:solidFill>
        </p:spPr>
        <p:txBody>
          <a:bodyPr tIns="100584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395237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1"/>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70834"/>
            <a:ext cx="12436151" cy="4923691"/>
          </a:xfrm>
          <a:solidFill>
            <a:srgbClr val="243A5E"/>
          </a:solidFill>
        </p:spPr>
        <p:txBody>
          <a:bodyPr tIns="1005840" anchor="t">
            <a:noAutofit/>
          </a:bodyPr>
          <a:lstStyle>
            <a:lvl1pPr marL="0" marR="0" indent="0" algn="ctr" defTabSz="951065"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1333929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4"/>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5"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0123828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4"/>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5"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12990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6"/>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4" y="5717056"/>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5" y="2065975"/>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6"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50"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5667340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6"/>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4" y="5717056"/>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5" y="2065975"/>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6"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50"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746557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6" y="476502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3"/>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5"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7"/>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7076631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6" y="476502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3"/>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5"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7"/>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7909190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6" y="1465289"/>
            <a:ext cx="7325861" cy="4928550"/>
          </a:xfrm>
          <a:solidFill>
            <a:srgbClr val="243A5E"/>
          </a:solidFill>
        </p:spPr>
        <p:txBody>
          <a:bodyPr tIns="100584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30"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591" indent="-171591">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410406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6" y="1465289"/>
            <a:ext cx="7325861" cy="4928550"/>
          </a:xfrm>
          <a:solidFill>
            <a:srgbClr val="243A5E"/>
          </a:solidFill>
        </p:spPr>
        <p:txBody>
          <a:bodyPr tIns="100584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30"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591" indent="-171591">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893869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5" y="802038"/>
            <a:ext cx="6870829"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0846"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6" y="1424813"/>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037" indent="-349656">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095923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5" y="642786"/>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6"/>
            <a:ext cx="6658696" cy="5708957"/>
          </a:xfrm>
          <a:prstGeom prst="rect">
            <a:avLst/>
          </a:prstGeom>
        </p:spPr>
        <p:txBody>
          <a:bodyPr anchor="ctr" anchorCtr="0">
            <a:noAutofit/>
          </a:bodyPr>
          <a:lstStyle>
            <a:lvl1pPr marL="466209" indent="-466209">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18488100"/>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2"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6"/>
            <a:ext cx="6658696" cy="5708957"/>
          </a:xfrm>
          <a:prstGeom prst="rect">
            <a:avLst/>
          </a:prstGeom>
        </p:spPr>
        <p:txBody>
          <a:bodyPr anchor="ctr" anchorCtr="0">
            <a:noAutofit/>
          </a:bodyPr>
          <a:lstStyle>
            <a:lvl1pPr marL="466209" indent="-466209">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97133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90"/>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280" indent="0">
              <a:spcBef>
                <a:spcPts val="337"/>
              </a:spcBef>
              <a:buFontTx/>
              <a:buNone/>
              <a:defRPr sz="1836" baseline="0">
                <a:solidFill>
                  <a:schemeClr val="tx1"/>
                </a:solidFill>
                <a:latin typeface="Comic Sans MS" panose="030F0702030302020204" pitchFamily="66" charset="0"/>
              </a:defRPr>
            </a:lvl6pPr>
            <a:lvl7pPr marL="1072280" indent="0">
              <a:spcBef>
                <a:spcPts val="337"/>
              </a:spcBef>
              <a:buFontTx/>
              <a:buNone/>
              <a:defRPr sz="1836" baseline="0">
                <a:solidFill>
                  <a:schemeClr val="tx1"/>
                </a:solidFill>
                <a:latin typeface="Comic Sans MS" panose="030F0702030302020204" pitchFamily="66" charset="0"/>
              </a:defRPr>
            </a:lvl7pPr>
            <a:lvl8pPr marL="1072280" indent="0">
              <a:spcBef>
                <a:spcPts val="337"/>
              </a:spcBef>
              <a:buFontTx/>
              <a:buNone/>
              <a:defRPr sz="1836" baseline="0">
                <a:solidFill>
                  <a:schemeClr val="tx1"/>
                </a:solidFill>
                <a:latin typeface="Comic Sans MS" panose="030F0702030302020204" pitchFamily="66" charset="0"/>
              </a:defRPr>
            </a:lvl8pPr>
            <a:lvl9pPr marL="1072280"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85085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90"/>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280" indent="0">
              <a:spcBef>
                <a:spcPts val="337"/>
              </a:spcBef>
              <a:buFontTx/>
              <a:buNone/>
              <a:defRPr sz="1836" baseline="0">
                <a:solidFill>
                  <a:schemeClr val="tx1"/>
                </a:solidFill>
                <a:latin typeface="Comic Sans MS" panose="030F0702030302020204" pitchFamily="66" charset="0"/>
              </a:defRPr>
            </a:lvl6pPr>
            <a:lvl7pPr marL="1072280" indent="0">
              <a:spcBef>
                <a:spcPts val="337"/>
              </a:spcBef>
              <a:buFontTx/>
              <a:buNone/>
              <a:defRPr sz="1836" baseline="0">
                <a:solidFill>
                  <a:schemeClr val="tx1"/>
                </a:solidFill>
                <a:latin typeface="Comic Sans MS" panose="030F0702030302020204" pitchFamily="66" charset="0"/>
              </a:defRPr>
            </a:lvl7pPr>
            <a:lvl8pPr marL="1072280" indent="0">
              <a:spcBef>
                <a:spcPts val="337"/>
              </a:spcBef>
              <a:buFontTx/>
              <a:buNone/>
              <a:defRPr sz="1836" baseline="0">
                <a:solidFill>
                  <a:schemeClr val="tx1"/>
                </a:solidFill>
                <a:latin typeface="Comic Sans MS" panose="030F0702030302020204" pitchFamily="66" charset="0"/>
              </a:defRPr>
            </a:lvl8pPr>
            <a:lvl9pPr marL="1072280"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022640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0407810"/>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9283140"/>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34" tIns="46616" rIns="93234" bIns="4661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32868812"/>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71738780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7" y="1465290"/>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307" indent="-167835">
              <a:spcBef>
                <a:spcPts val="337"/>
              </a:spcBef>
              <a:defRPr sz="1836" baseline="0"/>
            </a:lvl6pPr>
            <a:lvl7pPr marL="1044307" indent="-167835">
              <a:spcBef>
                <a:spcPts val="337"/>
              </a:spcBef>
              <a:defRPr sz="1836" baseline="0"/>
            </a:lvl7pPr>
            <a:lvl8pPr marL="1044307" indent="-167835">
              <a:spcBef>
                <a:spcPts val="337"/>
              </a:spcBef>
              <a:defRPr sz="1836" baseline="0"/>
            </a:lvl8pPr>
            <a:lvl9pPr marL="1044307" indent="-167835">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53247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13188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309753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7774573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5748725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9091262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911063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52182630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714541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22278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322242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307645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93613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748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874105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03721243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1827734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535775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62039663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024650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6900460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7049583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0997222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561830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419619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42629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8471424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5146535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044866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269225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728295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328757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0760547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4472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1058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863191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53553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664557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96679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45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232062"/>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550123"/>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22369441"/>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97130902"/>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3556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5974390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449382765"/>
      </p:ext>
    </p:extLst>
  </p:cSld>
  <p:clrMapOvr>
    <a:masterClrMapping/>
  </p:clrMapOvr>
  <p:transition>
    <p:fade/>
  </p:transition>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91105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77838826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6672653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20" name="Rectangle 7"/>
          <p:cNvSpPr>
            <a:spLocks noChangeArrowheads="1"/>
          </p:cNvSpPr>
          <p:nvPr userDrawn="1"/>
        </p:nvSpPr>
        <p:spPr bwMode="auto">
          <a:xfrm>
            <a:off x="1" y="5843588"/>
            <a:ext cx="12433301" cy="1154113"/>
          </a:xfrm>
          <a:prstGeom prst="rect">
            <a:avLst/>
          </a:prstGeom>
          <a:solidFill>
            <a:srgbClr val="00188F"/>
          </a:solidFill>
          <a:ln>
            <a:noFill/>
          </a:ln>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2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430956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31595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92753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039378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200"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177252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0" y="3802062"/>
            <a:ext cx="12436475" cy="2989024"/>
          </a:xfrm>
          <a:prstGeom prst="rect">
            <a:avLst/>
          </a:prstGeom>
        </p:spPr>
      </p:pic>
    </p:spTree>
    <p:extLst>
      <p:ext uri="{BB962C8B-B14F-4D97-AF65-F5344CB8AC3E}">
        <p14:creationId xmlns:p14="http://schemas.microsoft.com/office/powerpoint/2010/main" val="2544058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14089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amp;A">
    <p:bg>
      <p:bgPr>
        <a:solidFill>
          <a:schemeClr val="bg2"/>
        </a:solidFill>
        <a:effectLst/>
      </p:bgPr>
    </p:bg>
    <p:spTree>
      <p:nvGrpSpPr>
        <p:cNvPr id="1" name=""/>
        <p:cNvGrpSpPr/>
        <p:nvPr/>
      </p:nvGrpSpPr>
      <p:grpSpPr>
        <a:xfrm>
          <a:off x="0" y="0"/>
          <a:ext cx="0" cy="0"/>
          <a:chOff x="0" y="0"/>
          <a:chExt cx="0" cy="0"/>
        </a:xfrm>
      </p:grpSpPr>
      <p:sp>
        <p:nvSpPr>
          <p:cNvPr id="3" name="Title 3"/>
          <p:cNvSpPr txBox="1">
            <a:spLocks/>
          </p:cNvSpPr>
          <p:nvPr userDrawn="1"/>
        </p:nvSpPr>
        <p:spPr>
          <a:xfrm>
            <a:off x="274639" y="1364283"/>
            <a:ext cx="11887200" cy="18319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11497"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Q&amp;A</a:t>
            </a:r>
          </a:p>
        </p:txBody>
      </p:sp>
      <p:pic>
        <p:nvPicPr>
          <p:cNvPr id="4" name="Picture 3"/>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232295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611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95909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0"/>
            <a:ext cx="11887200" cy="2073072"/>
          </a:xfrm>
        </p:spPr>
        <p:txBody>
          <a:bodyPr/>
          <a:lstStyle>
            <a:lvl1pPr marL="0" indent="0">
              <a:buNone/>
              <a:defRPr sz="3672">
                <a:gradFill>
                  <a:gsLst>
                    <a:gs pos="1250">
                      <a:schemeClr val="tx1"/>
                    </a:gs>
                    <a:gs pos="99000">
                      <a:schemeClr val="tx1"/>
                    </a:gs>
                  </a:gsLst>
                  <a:lin ang="5400000" scaled="0"/>
                </a:gradFill>
              </a:defRPr>
            </a:lvl1pPr>
            <a:lvl2pPr marL="0" indent="0">
              <a:spcBef>
                <a:spcPts val="306"/>
              </a:spcBef>
              <a:spcAft>
                <a:spcPts val="612"/>
              </a:spcAft>
              <a:buFontTx/>
              <a:buNone/>
              <a:defRPr sz="2040"/>
            </a:lvl2pPr>
            <a:lvl3pPr marL="228513" indent="0">
              <a:spcBef>
                <a:spcPts val="306"/>
              </a:spcBef>
              <a:spcAft>
                <a:spcPts val="612"/>
              </a:spcAft>
              <a:buNone/>
              <a:defRPr sz="1836"/>
            </a:lvl3pPr>
            <a:lvl4pPr marL="457024" indent="0">
              <a:spcBef>
                <a:spcPts val="306"/>
              </a:spcBef>
              <a:spcAft>
                <a:spcPts val="612"/>
              </a:spcAft>
              <a:buNone/>
              <a:defRPr sz="1428">
                <a:latin typeface="Segoe UI" panose="020B0502040204020203" pitchFamily="34" charset="0"/>
                <a:cs typeface="Segoe UI" panose="020B0502040204020203" pitchFamily="34" charset="0"/>
              </a:defRPr>
            </a:lvl4pPr>
            <a:lvl5pPr marL="685537" indent="0">
              <a:spcBef>
                <a:spcPts val="306"/>
              </a:spcBef>
              <a:spcAft>
                <a:spcPts val="612"/>
              </a:spcAft>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311045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40" y="1212852"/>
            <a:ext cx="11889564" cy="2059025"/>
          </a:xfrm>
        </p:spPr>
        <p:txBody>
          <a:bodyPr/>
          <a:lstStyle>
            <a:lvl1pPr marL="0" indent="0">
              <a:buNone/>
              <a:defRPr/>
            </a:lvl1pPr>
            <a:lvl2pPr marL="28566" indent="0">
              <a:buNone/>
              <a:defRPr sz="2000"/>
            </a:lvl2pPr>
            <a:lvl3pPr marL="223776" indent="0">
              <a:buNone/>
              <a:defRPr sz="2000"/>
            </a:lvl3pPr>
            <a:lvl4pPr marL="476117" indent="0">
              <a:buNone/>
              <a:defRPr sz="1800"/>
            </a:lvl4pPr>
            <a:lvl5pPr marL="739568"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4516078"/>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993794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86A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5943536"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2"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grpSp>
        <p:nvGrpSpPr>
          <p:cNvPr id="58" name="Group 57"/>
          <p:cNvGrpSpPr/>
          <p:nvPr userDrawn="1"/>
        </p:nvGrpSpPr>
        <p:grpSpPr>
          <a:xfrm>
            <a:off x="9163050" y="4660901"/>
            <a:ext cx="511175" cy="787400"/>
            <a:chOff x="8189913" y="3194051"/>
            <a:chExt cx="511175" cy="787400"/>
          </a:xfrm>
        </p:grpSpPr>
        <p:sp>
          <p:nvSpPr>
            <p:cNvPr id="59" name="Freeform 65"/>
            <p:cNvSpPr>
              <a:spLocks/>
            </p:cNvSpPr>
            <p:nvPr userDrawn="1"/>
          </p:nvSpPr>
          <p:spPr bwMode="auto">
            <a:xfrm>
              <a:off x="8361363" y="3390901"/>
              <a:ext cx="169863" cy="96838"/>
            </a:xfrm>
            <a:custGeom>
              <a:avLst/>
              <a:gdLst>
                <a:gd name="T0" fmla="*/ 107 w 107"/>
                <a:gd name="T1" fmla="*/ 30 h 61"/>
                <a:gd name="T2" fmla="*/ 53 w 107"/>
                <a:gd name="T3" fmla="*/ 0 h 61"/>
                <a:gd name="T4" fmla="*/ 0 w 107"/>
                <a:gd name="T5" fmla="*/ 30 h 61"/>
                <a:gd name="T6" fmla="*/ 54 w 107"/>
                <a:gd name="T7" fmla="*/ 61 h 61"/>
                <a:gd name="T8" fmla="*/ 107 w 107"/>
                <a:gd name="T9" fmla="*/ 30 h 61"/>
              </a:gdLst>
              <a:ahLst/>
              <a:cxnLst>
                <a:cxn ang="0">
                  <a:pos x="T0" y="T1"/>
                </a:cxn>
                <a:cxn ang="0">
                  <a:pos x="T2" y="T3"/>
                </a:cxn>
                <a:cxn ang="0">
                  <a:pos x="T4" y="T5"/>
                </a:cxn>
                <a:cxn ang="0">
                  <a:pos x="T6" y="T7"/>
                </a:cxn>
                <a:cxn ang="0">
                  <a:pos x="T8" y="T9"/>
                </a:cxn>
              </a:cxnLst>
              <a:rect l="0" t="0" r="r" b="b"/>
              <a:pathLst>
                <a:path w="107" h="61">
                  <a:moveTo>
                    <a:pt x="107" y="30"/>
                  </a:moveTo>
                  <a:lnTo>
                    <a:pt x="53" y="0"/>
                  </a:lnTo>
                  <a:lnTo>
                    <a:pt x="0" y="30"/>
                  </a:lnTo>
                  <a:lnTo>
                    <a:pt x="54" y="61"/>
                  </a:lnTo>
                  <a:lnTo>
                    <a:pt x="107"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66"/>
            <p:cNvSpPr>
              <a:spLocks/>
            </p:cNvSpPr>
            <p:nvPr userDrawn="1"/>
          </p:nvSpPr>
          <p:spPr bwMode="auto">
            <a:xfrm>
              <a:off x="8447088" y="3340101"/>
              <a:ext cx="254000" cy="344488"/>
            </a:xfrm>
            <a:custGeom>
              <a:avLst/>
              <a:gdLst>
                <a:gd name="T0" fmla="*/ 0 w 160"/>
                <a:gd name="T1" fmla="*/ 217 h 217"/>
                <a:gd name="T2" fmla="*/ 160 w 160"/>
                <a:gd name="T3" fmla="*/ 124 h 217"/>
                <a:gd name="T4" fmla="*/ 160 w 160"/>
                <a:gd name="T5" fmla="*/ 0 h 217"/>
                <a:gd name="T6" fmla="*/ 0 w 160"/>
                <a:gd name="T7" fmla="*/ 93 h 217"/>
                <a:gd name="T8" fmla="*/ 0 w 160"/>
                <a:gd name="T9" fmla="*/ 217 h 217"/>
              </a:gdLst>
              <a:ahLst/>
              <a:cxnLst>
                <a:cxn ang="0">
                  <a:pos x="T0" y="T1"/>
                </a:cxn>
                <a:cxn ang="0">
                  <a:pos x="T2" y="T3"/>
                </a:cxn>
                <a:cxn ang="0">
                  <a:pos x="T4" y="T5"/>
                </a:cxn>
                <a:cxn ang="0">
                  <a:pos x="T6" y="T7"/>
                </a:cxn>
                <a:cxn ang="0">
                  <a:pos x="T8" y="T9"/>
                </a:cxn>
              </a:cxnLst>
              <a:rect l="0" t="0" r="r" b="b"/>
              <a:pathLst>
                <a:path w="160" h="217">
                  <a:moveTo>
                    <a:pt x="0" y="217"/>
                  </a:moveTo>
                  <a:lnTo>
                    <a:pt x="160" y="124"/>
                  </a:lnTo>
                  <a:lnTo>
                    <a:pt x="160" y="0"/>
                  </a:lnTo>
                  <a:lnTo>
                    <a:pt x="0" y="93"/>
                  </a:lnTo>
                  <a:lnTo>
                    <a:pt x="0" y="21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67"/>
            <p:cNvSpPr>
              <a:spLocks/>
            </p:cNvSpPr>
            <p:nvPr userDrawn="1"/>
          </p:nvSpPr>
          <p:spPr bwMode="auto">
            <a:xfrm>
              <a:off x="8274050" y="3389313"/>
              <a:ext cx="173038" cy="296863"/>
            </a:xfrm>
            <a:custGeom>
              <a:avLst/>
              <a:gdLst>
                <a:gd name="T0" fmla="*/ 109 w 109"/>
                <a:gd name="T1" fmla="*/ 187 h 187"/>
                <a:gd name="T2" fmla="*/ 0 w 109"/>
                <a:gd name="T3" fmla="*/ 124 h 187"/>
                <a:gd name="T4" fmla="*/ 0 w 109"/>
                <a:gd name="T5" fmla="*/ 0 h 187"/>
                <a:gd name="T6" fmla="*/ 109 w 109"/>
                <a:gd name="T7" fmla="*/ 62 h 187"/>
                <a:gd name="T8" fmla="*/ 109 w 109"/>
                <a:gd name="T9" fmla="*/ 187 h 187"/>
              </a:gdLst>
              <a:ahLst/>
              <a:cxnLst>
                <a:cxn ang="0">
                  <a:pos x="T0" y="T1"/>
                </a:cxn>
                <a:cxn ang="0">
                  <a:pos x="T2" y="T3"/>
                </a:cxn>
                <a:cxn ang="0">
                  <a:pos x="T4" y="T5"/>
                </a:cxn>
                <a:cxn ang="0">
                  <a:pos x="T6" y="T7"/>
                </a:cxn>
                <a:cxn ang="0">
                  <a:pos x="T8" y="T9"/>
                </a:cxn>
              </a:cxnLst>
              <a:rect l="0" t="0" r="r" b="b"/>
              <a:pathLst>
                <a:path w="109" h="187">
                  <a:moveTo>
                    <a:pt x="109" y="187"/>
                  </a:moveTo>
                  <a:lnTo>
                    <a:pt x="0" y="124"/>
                  </a:lnTo>
                  <a:lnTo>
                    <a:pt x="0" y="0"/>
                  </a:lnTo>
                  <a:lnTo>
                    <a:pt x="109" y="62"/>
                  </a:lnTo>
                  <a:lnTo>
                    <a:pt x="109" y="187"/>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68"/>
            <p:cNvSpPr>
              <a:spLocks/>
            </p:cNvSpPr>
            <p:nvPr userDrawn="1"/>
          </p:nvSpPr>
          <p:spPr bwMode="auto">
            <a:xfrm>
              <a:off x="8189913" y="3635376"/>
              <a:ext cx="150813" cy="233363"/>
            </a:xfrm>
            <a:custGeom>
              <a:avLst/>
              <a:gdLst>
                <a:gd name="T0" fmla="*/ 52 w 93"/>
                <a:gd name="T1" fmla="*/ 30 h 145"/>
                <a:gd name="T2" fmla="*/ 0 w 93"/>
                <a:gd name="T3" fmla="*/ 0 h 145"/>
                <a:gd name="T4" fmla="*/ 0 w 93"/>
                <a:gd name="T5" fmla="*/ 122 h 145"/>
                <a:gd name="T6" fmla="*/ 20 w 93"/>
                <a:gd name="T7" fmla="*/ 119 h 145"/>
                <a:gd name="T8" fmla="*/ 81 w 93"/>
                <a:gd name="T9" fmla="*/ 145 h 145"/>
                <a:gd name="T10" fmla="*/ 93 w 93"/>
                <a:gd name="T11" fmla="*/ 117 h 145"/>
                <a:gd name="T12" fmla="*/ 52 w 93"/>
                <a:gd name="T13" fmla="*/ 93 h 145"/>
                <a:gd name="T14" fmla="*/ 52 w 93"/>
                <a:gd name="T15" fmla="*/ 3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45">
                  <a:moveTo>
                    <a:pt x="52" y="30"/>
                  </a:moveTo>
                  <a:cubicBezTo>
                    <a:pt x="0" y="0"/>
                    <a:pt x="0" y="0"/>
                    <a:pt x="0" y="0"/>
                  </a:cubicBezTo>
                  <a:cubicBezTo>
                    <a:pt x="0" y="122"/>
                    <a:pt x="0" y="122"/>
                    <a:pt x="0" y="122"/>
                  </a:cubicBezTo>
                  <a:cubicBezTo>
                    <a:pt x="7" y="120"/>
                    <a:pt x="13" y="119"/>
                    <a:pt x="20" y="119"/>
                  </a:cubicBezTo>
                  <a:cubicBezTo>
                    <a:pt x="44" y="119"/>
                    <a:pt x="65" y="129"/>
                    <a:pt x="81" y="145"/>
                  </a:cubicBezTo>
                  <a:cubicBezTo>
                    <a:pt x="84" y="135"/>
                    <a:pt x="88" y="125"/>
                    <a:pt x="93" y="117"/>
                  </a:cubicBezTo>
                  <a:cubicBezTo>
                    <a:pt x="52" y="93"/>
                    <a:pt x="52" y="93"/>
                    <a:pt x="52" y="93"/>
                  </a:cubicBezTo>
                  <a:lnTo>
                    <a:pt x="52" y="3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69"/>
            <p:cNvSpPr>
              <a:spLocks/>
            </p:cNvSpPr>
            <p:nvPr userDrawn="1"/>
          </p:nvSpPr>
          <p:spPr bwMode="auto">
            <a:xfrm>
              <a:off x="8447088" y="3536951"/>
              <a:ext cx="254000" cy="244475"/>
            </a:xfrm>
            <a:custGeom>
              <a:avLst/>
              <a:gdLst>
                <a:gd name="T0" fmla="*/ 0 w 160"/>
                <a:gd name="T1" fmla="*/ 154 h 154"/>
                <a:gd name="T2" fmla="*/ 160 w 160"/>
                <a:gd name="T3" fmla="*/ 62 h 154"/>
                <a:gd name="T4" fmla="*/ 160 w 160"/>
                <a:gd name="T5" fmla="*/ 0 h 154"/>
                <a:gd name="T6" fmla="*/ 0 w 160"/>
                <a:gd name="T7" fmla="*/ 94 h 154"/>
                <a:gd name="T8" fmla="*/ 0 w 160"/>
                <a:gd name="T9" fmla="*/ 154 h 154"/>
              </a:gdLst>
              <a:ahLst/>
              <a:cxnLst>
                <a:cxn ang="0">
                  <a:pos x="T0" y="T1"/>
                </a:cxn>
                <a:cxn ang="0">
                  <a:pos x="T2" y="T3"/>
                </a:cxn>
                <a:cxn ang="0">
                  <a:pos x="T4" y="T5"/>
                </a:cxn>
                <a:cxn ang="0">
                  <a:pos x="T6" y="T7"/>
                </a:cxn>
                <a:cxn ang="0">
                  <a:pos x="T8" y="T9"/>
                </a:cxn>
              </a:cxnLst>
              <a:rect l="0" t="0" r="r" b="b"/>
              <a:pathLst>
                <a:path w="160" h="154">
                  <a:moveTo>
                    <a:pt x="0" y="154"/>
                  </a:moveTo>
                  <a:lnTo>
                    <a:pt x="160" y="62"/>
                  </a:lnTo>
                  <a:lnTo>
                    <a:pt x="160" y="0"/>
                  </a:lnTo>
                  <a:lnTo>
                    <a:pt x="0" y="94"/>
                  </a:lnTo>
                  <a:lnTo>
                    <a:pt x="0" y="154"/>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70"/>
            <p:cNvSpPr>
              <a:spLocks/>
            </p:cNvSpPr>
            <p:nvPr userDrawn="1"/>
          </p:nvSpPr>
          <p:spPr bwMode="auto">
            <a:xfrm>
              <a:off x="8447088" y="3633788"/>
              <a:ext cx="254000" cy="347663"/>
            </a:xfrm>
            <a:custGeom>
              <a:avLst/>
              <a:gdLst>
                <a:gd name="T0" fmla="*/ 0 w 160"/>
                <a:gd name="T1" fmla="*/ 219 h 219"/>
                <a:gd name="T2" fmla="*/ 160 w 160"/>
                <a:gd name="T3" fmla="*/ 125 h 219"/>
                <a:gd name="T4" fmla="*/ 160 w 160"/>
                <a:gd name="T5" fmla="*/ 0 h 219"/>
                <a:gd name="T6" fmla="*/ 0 w 160"/>
                <a:gd name="T7" fmla="*/ 93 h 219"/>
                <a:gd name="T8" fmla="*/ 0 w 160"/>
                <a:gd name="T9" fmla="*/ 219 h 219"/>
              </a:gdLst>
              <a:ahLst/>
              <a:cxnLst>
                <a:cxn ang="0">
                  <a:pos x="T0" y="T1"/>
                </a:cxn>
                <a:cxn ang="0">
                  <a:pos x="T2" y="T3"/>
                </a:cxn>
                <a:cxn ang="0">
                  <a:pos x="T4" y="T5"/>
                </a:cxn>
                <a:cxn ang="0">
                  <a:pos x="T6" y="T7"/>
                </a:cxn>
                <a:cxn ang="0">
                  <a:pos x="T8" y="T9"/>
                </a:cxn>
              </a:cxnLst>
              <a:rect l="0" t="0" r="r" b="b"/>
              <a:pathLst>
                <a:path w="160" h="219">
                  <a:moveTo>
                    <a:pt x="0" y="219"/>
                  </a:moveTo>
                  <a:lnTo>
                    <a:pt x="160" y="125"/>
                  </a:lnTo>
                  <a:lnTo>
                    <a:pt x="160" y="0"/>
                  </a:lnTo>
                  <a:lnTo>
                    <a:pt x="0" y="93"/>
                  </a:lnTo>
                  <a:lnTo>
                    <a:pt x="0" y="21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71"/>
            <p:cNvSpPr>
              <a:spLocks/>
            </p:cNvSpPr>
            <p:nvPr userDrawn="1"/>
          </p:nvSpPr>
          <p:spPr bwMode="auto">
            <a:xfrm>
              <a:off x="8189913" y="3824288"/>
              <a:ext cx="257175" cy="155575"/>
            </a:xfrm>
            <a:custGeom>
              <a:avLst/>
              <a:gdLst>
                <a:gd name="T0" fmla="*/ 158 w 158"/>
                <a:gd name="T1" fmla="*/ 37 h 96"/>
                <a:gd name="T2" fmla="*/ 158 w 158"/>
                <a:gd name="T3" fmla="*/ 37 h 96"/>
                <a:gd name="T4" fmla="*/ 93 w 158"/>
                <a:gd name="T5" fmla="*/ 0 h 96"/>
                <a:gd name="T6" fmla="*/ 81 w 158"/>
                <a:gd name="T7" fmla="*/ 28 h 96"/>
                <a:gd name="T8" fmla="*/ 20 w 158"/>
                <a:gd name="T9" fmla="*/ 2 h 96"/>
                <a:gd name="T10" fmla="*/ 0 w 158"/>
                <a:gd name="T11" fmla="*/ 5 h 96"/>
                <a:gd name="T12" fmla="*/ 0 w 158"/>
                <a:gd name="T13" fmla="*/ 5 h 96"/>
                <a:gd name="T14" fmla="*/ 158 w 158"/>
                <a:gd name="T15" fmla="*/ 96 h 96"/>
                <a:gd name="T16" fmla="*/ 158 w 158"/>
                <a:gd name="T17" fmla="*/ 96 h 96"/>
                <a:gd name="T18" fmla="*/ 158 w 158"/>
                <a:gd name="T19" fmla="*/ 3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6">
                  <a:moveTo>
                    <a:pt x="158" y="37"/>
                  </a:moveTo>
                  <a:cubicBezTo>
                    <a:pt x="158" y="37"/>
                    <a:pt x="158" y="37"/>
                    <a:pt x="158" y="37"/>
                  </a:cubicBezTo>
                  <a:cubicBezTo>
                    <a:pt x="93" y="0"/>
                    <a:pt x="93" y="0"/>
                    <a:pt x="93" y="0"/>
                  </a:cubicBezTo>
                  <a:cubicBezTo>
                    <a:pt x="88" y="8"/>
                    <a:pt x="84" y="18"/>
                    <a:pt x="81" y="28"/>
                  </a:cubicBezTo>
                  <a:cubicBezTo>
                    <a:pt x="65" y="12"/>
                    <a:pt x="44" y="2"/>
                    <a:pt x="20" y="2"/>
                  </a:cubicBezTo>
                  <a:cubicBezTo>
                    <a:pt x="13" y="2"/>
                    <a:pt x="7" y="3"/>
                    <a:pt x="0" y="5"/>
                  </a:cubicBezTo>
                  <a:cubicBezTo>
                    <a:pt x="0" y="5"/>
                    <a:pt x="0" y="5"/>
                    <a:pt x="0" y="5"/>
                  </a:cubicBezTo>
                  <a:cubicBezTo>
                    <a:pt x="158" y="96"/>
                    <a:pt x="158" y="96"/>
                    <a:pt x="158" y="96"/>
                  </a:cubicBezTo>
                  <a:cubicBezTo>
                    <a:pt x="158" y="96"/>
                    <a:pt x="158" y="96"/>
                    <a:pt x="158" y="96"/>
                  </a:cubicBezTo>
                  <a:lnTo>
                    <a:pt x="158" y="37"/>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72"/>
            <p:cNvSpPr>
              <a:spLocks/>
            </p:cNvSpPr>
            <p:nvPr userDrawn="1"/>
          </p:nvSpPr>
          <p:spPr bwMode="auto">
            <a:xfrm>
              <a:off x="8189913" y="3194051"/>
              <a:ext cx="511175" cy="587375"/>
            </a:xfrm>
            <a:custGeom>
              <a:avLst/>
              <a:gdLst>
                <a:gd name="T0" fmla="*/ 162 w 322"/>
                <a:gd name="T1" fmla="*/ 309 h 370"/>
                <a:gd name="T2" fmla="*/ 162 w 322"/>
                <a:gd name="T3" fmla="*/ 309 h 370"/>
                <a:gd name="T4" fmla="*/ 53 w 322"/>
                <a:gd name="T5" fmla="*/ 247 h 370"/>
                <a:gd name="T6" fmla="*/ 53 w 322"/>
                <a:gd name="T7" fmla="*/ 123 h 370"/>
                <a:gd name="T8" fmla="*/ 162 w 322"/>
                <a:gd name="T9" fmla="*/ 60 h 370"/>
                <a:gd name="T10" fmla="*/ 270 w 322"/>
                <a:gd name="T11" fmla="*/ 123 h 370"/>
                <a:gd name="T12" fmla="*/ 270 w 322"/>
                <a:gd name="T13" fmla="*/ 123 h 370"/>
                <a:gd name="T14" fmla="*/ 322 w 322"/>
                <a:gd name="T15" fmla="*/ 92 h 370"/>
                <a:gd name="T16" fmla="*/ 162 w 322"/>
                <a:gd name="T17" fmla="*/ 0 h 370"/>
                <a:gd name="T18" fmla="*/ 0 w 322"/>
                <a:gd name="T19" fmla="*/ 92 h 370"/>
                <a:gd name="T20" fmla="*/ 0 w 322"/>
                <a:gd name="T21" fmla="*/ 278 h 370"/>
                <a:gd name="T22" fmla="*/ 162 w 322"/>
                <a:gd name="T23" fmla="*/ 370 h 370"/>
                <a:gd name="T24" fmla="*/ 162 w 322"/>
                <a:gd name="T25" fmla="*/ 370 h 370"/>
                <a:gd name="T26" fmla="*/ 162 w 322"/>
                <a:gd name="T27" fmla="*/ 309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370">
                  <a:moveTo>
                    <a:pt x="162" y="309"/>
                  </a:moveTo>
                  <a:lnTo>
                    <a:pt x="162" y="309"/>
                  </a:lnTo>
                  <a:lnTo>
                    <a:pt x="53" y="247"/>
                  </a:lnTo>
                  <a:lnTo>
                    <a:pt x="53" y="123"/>
                  </a:lnTo>
                  <a:lnTo>
                    <a:pt x="162" y="60"/>
                  </a:lnTo>
                  <a:lnTo>
                    <a:pt x="270" y="123"/>
                  </a:lnTo>
                  <a:lnTo>
                    <a:pt x="270" y="123"/>
                  </a:lnTo>
                  <a:lnTo>
                    <a:pt x="322" y="92"/>
                  </a:lnTo>
                  <a:lnTo>
                    <a:pt x="162" y="0"/>
                  </a:lnTo>
                  <a:lnTo>
                    <a:pt x="0" y="92"/>
                  </a:lnTo>
                  <a:lnTo>
                    <a:pt x="0" y="278"/>
                  </a:lnTo>
                  <a:lnTo>
                    <a:pt x="162" y="370"/>
                  </a:lnTo>
                  <a:lnTo>
                    <a:pt x="162" y="370"/>
                  </a:lnTo>
                  <a:lnTo>
                    <a:pt x="162" y="3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67" name="Group 66"/>
          <p:cNvGrpSpPr/>
          <p:nvPr userDrawn="1"/>
        </p:nvGrpSpPr>
        <p:grpSpPr>
          <a:xfrm>
            <a:off x="5543551" y="4829175"/>
            <a:ext cx="458788" cy="709612"/>
            <a:chOff x="4570413" y="3209926"/>
            <a:chExt cx="458788" cy="709612"/>
          </a:xfrm>
        </p:grpSpPr>
        <p:sp>
          <p:nvSpPr>
            <p:cNvPr id="68" name="Freeform 21"/>
            <p:cNvSpPr>
              <a:spLocks/>
            </p:cNvSpPr>
            <p:nvPr userDrawn="1"/>
          </p:nvSpPr>
          <p:spPr bwMode="auto">
            <a:xfrm>
              <a:off x="4721225" y="3386138"/>
              <a:ext cx="153988" cy="88900"/>
            </a:xfrm>
            <a:custGeom>
              <a:avLst/>
              <a:gdLst>
                <a:gd name="T0" fmla="*/ 97 w 97"/>
                <a:gd name="T1" fmla="*/ 28 h 56"/>
                <a:gd name="T2" fmla="*/ 49 w 97"/>
                <a:gd name="T3" fmla="*/ 0 h 56"/>
                <a:gd name="T4" fmla="*/ 0 w 97"/>
                <a:gd name="T5" fmla="*/ 28 h 56"/>
                <a:gd name="T6" fmla="*/ 49 w 97"/>
                <a:gd name="T7" fmla="*/ 56 h 56"/>
                <a:gd name="T8" fmla="*/ 97 w 97"/>
                <a:gd name="T9" fmla="*/ 28 h 56"/>
              </a:gdLst>
              <a:ahLst/>
              <a:cxnLst>
                <a:cxn ang="0">
                  <a:pos x="T0" y="T1"/>
                </a:cxn>
                <a:cxn ang="0">
                  <a:pos x="T2" y="T3"/>
                </a:cxn>
                <a:cxn ang="0">
                  <a:pos x="T4" y="T5"/>
                </a:cxn>
                <a:cxn ang="0">
                  <a:pos x="T6" y="T7"/>
                </a:cxn>
                <a:cxn ang="0">
                  <a:pos x="T8" y="T9"/>
                </a:cxn>
              </a:cxnLst>
              <a:rect l="0" t="0" r="r" b="b"/>
              <a:pathLst>
                <a:path w="97" h="56">
                  <a:moveTo>
                    <a:pt x="97" y="28"/>
                  </a:moveTo>
                  <a:lnTo>
                    <a:pt x="49" y="0"/>
                  </a:lnTo>
                  <a:lnTo>
                    <a:pt x="0" y="28"/>
                  </a:lnTo>
                  <a:lnTo>
                    <a:pt x="49" y="56"/>
                  </a:lnTo>
                  <a:lnTo>
                    <a:pt x="97" y="28"/>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22"/>
            <p:cNvSpPr>
              <a:spLocks/>
            </p:cNvSpPr>
            <p:nvPr userDrawn="1"/>
          </p:nvSpPr>
          <p:spPr bwMode="auto">
            <a:xfrm>
              <a:off x="4799013" y="3341688"/>
              <a:ext cx="230188" cy="311150"/>
            </a:xfrm>
            <a:custGeom>
              <a:avLst/>
              <a:gdLst>
                <a:gd name="T0" fmla="*/ 0 w 145"/>
                <a:gd name="T1" fmla="*/ 196 h 196"/>
                <a:gd name="T2" fmla="*/ 145 w 145"/>
                <a:gd name="T3" fmla="*/ 111 h 196"/>
                <a:gd name="T4" fmla="*/ 145 w 145"/>
                <a:gd name="T5" fmla="*/ 0 h 196"/>
                <a:gd name="T6" fmla="*/ 0 w 145"/>
                <a:gd name="T7" fmla="*/ 84 h 196"/>
                <a:gd name="T8" fmla="*/ 0 w 145"/>
                <a:gd name="T9" fmla="*/ 196 h 196"/>
              </a:gdLst>
              <a:ahLst/>
              <a:cxnLst>
                <a:cxn ang="0">
                  <a:pos x="T0" y="T1"/>
                </a:cxn>
                <a:cxn ang="0">
                  <a:pos x="T2" y="T3"/>
                </a:cxn>
                <a:cxn ang="0">
                  <a:pos x="T4" y="T5"/>
                </a:cxn>
                <a:cxn ang="0">
                  <a:pos x="T6" y="T7"/>
                </a:cxn>
                <a:cxn ang="0">
                  <a:pos x="T8" y="T9"/>
                </a:cxn>
              </a:cxnLst>
              <a:rect l="0" t="0" r="r" b="b"/>
              <a:pathLst>
                <a:path w="145" h="196">
                  <a:moveTo>
                    <a:pt x="0" y="196"/>
                  </a:moveTo>
                  <a:lnTo>
                    <a:pt x="145" y="111"/>
                  </a:lnTo>
                  <a:lnTo>
                    <a:pt x="145" y="0"/>
                  </a:lnTo>
                  <a:lnTo>
                    <a:pt x="0" y="84"/>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23"/>
            <p:cNvSpPr>
              <a:spLocks/>
            </p:cNvSpPr>
            <p:nvPr userDrawn="1"/>
          </p:nvSpPr>
          <p:spPr bwMode="auto">
            <a:xfrm>
              <a:off x="4645025" y="3386138"/>
              <a:ext cx="153988" cy="266700"/>
            </a:xfrm>
            <a:custGeom>
              <a:avLst/>
              <a:gdLst>
                <a:gd name="T0" fmla="*/ 97 w 97"/>
                <a:gd name="T1" fmla="*/ 168 h 168"/>
                <a:gd name="T2" fmla="*/ 0 w 97"/>
                <a:gd name="T3" fmla="*/ 112 h 168"/>
                <a:gd name="T4" fmla="*/ 0 w 97"/>
                <a:gd name="T5" fmla="*/ 0 h 168"/>
                <a:gd name="T6" fmla="*/ 97 w 97"/>
                <a:gd name="T7" fmla="*/ 56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6"/>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24"/>
            <p:cNvSpPr>
              <a:spLocks/>
            </p:cNvSpPr>
            <p:nvPr userDrawn="1"/>
          </p:nvSpPr>
          <p:spPr bwMode="auto">
            <a:xfrm>
              <a:off x="4570413" y="3606801"/>
              <a:ext cx="134938" cy="212725"/>
            </a:xfrm>
            <a:custGeom>
              <a:avLst/>
              <a:gdLst>
                <a:gd name="T0" fmla="*/ 46 w 84"/>
                <a:gd name="T1" fmla="*/ 27 h 131"/>
                <a:gd name="T2" fmla="*/ 0 w 84"/>
                <a:gd name="T3" fmla="*/ 0 h 131"/>
                <a:gd name="T4" fmla="*/ 0 w 84"/>
                <a:gd name="T5" fmla="*/ 110 h 131"/>
                <a:gd name="T6" fmla="*/ 17 w 84"/>
                <a:gd name="T7" fmla="*/ 108 h 131"/>
                <a:gd name="T8" fmla="*/ 72 w 84"/>
                <a:gd name="T9" fmla="*/ 131 h 131"/>
                <a:gd name="T10" fmla="*/ 84 w 84"/>
                <a:gd name="T11" fmla="*/ 105 h 131"/>
                <a:gd name="T12" fmla="*/ 46 w 84"/>
                <a:gd name="T13" fmla="*/ 84 h 131"/>
                <a:gd name="T14" fmla="*/ 46 w 84"/>
                <a:gd name="T15" fmla="*/ 27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31">
                  <a:moveTo>
                    <a:pt x="46" y="27"/>
                  </a:moveTo>
                  <a:cubicBezTo>
                    <a:pt x="0" y="0"/>
                    <a:pt x="0" y="0"/>
                    <a:pt x="0" y="0"/>
                  </a:cubicBezTo>
                  <a:cubicBezTo>
                    <a:pt x="0" y="110"/>
                    <a:pt x="0" y="110"/>
                    <a:pt x="0" y="110"/>
                  </a:cubicBezTo>
                  <a:cubicBezTo>
                    <a:pt x="5" y="108"/>
                    <a:pt x="11" y="108"/>
                    <a:pt x="17" y="108"/>
                  </a:cubicBezTo>
                  <a:cubicBezTo>
                    <a:pt x="39" y="108"/>
                    <a:pt x="58" y="117"/>
                    <a:pt x="72" y="131"/>
                  </a:cubicBezTo>
                  <a:cubicBezTo>
                    <a:pt x="75" y="122"/>
                    <a:pt x="79" y="113"/>
                    <a:pt x="84" y="105"/>
                  </a:cubicBezTo>
                  <a:cubicBezTo>
                    <a:pt x="46" y="84"/>
                    <a:pt x="46" y="84"/>
                    <a:pt x="46" y="84"/>
                  </a:cubicBezTo>
                  <a:lnTo>
                    <a:pt x="4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25"/>
            <p:cNvSpPr>
              <a:spLocks/>
            </p:cNvSpPr>
            <p:nvPr userDrawn="1"/>
          </p:nvSpPr>
          <p:spPr bwMode="auto">
            <a:xfrm>
              <a:off x="4799013" y="3517901"/>
              <a:ext cx="230188" cy="222250"/>
            </a:xfrm>
            <a:custGeom>
              <a:avLst/>
              <a:gdLst>
                <a:gd name="T0" fmla="*/ 0 w 145"/>
                <a:gd name="T1" fmla="*/ 140 h 140"/>
                <a:gd name="T2" fmla="*/ 145 w 145"/>
                <a:gd name="T3" fmla="*/ 56 h 140"/>
                <a:gd name="T4" fmla="*/ 145 w 145"/>
                <a:gd name="T5" fmla="*/ 0 h 140"/>
                <a:gd name="T6" fmla="*/ 0 w 145"/>
                <a:gd name="T7" fmla="*/ 86 h 140"/>
                <a:gd name="T8" fmla="*/ 0 w 145"/>
                <a:gd name="T9" fmla="*/ 140 h 140"/>
              </a:gdLst>
              <a:ahLst/>
              <a:cxnLst>
                <a:cxn ang="0">
                  <a:pos x="T0" y="T1"/>
                </a:cxn>
                <a:cxn ang="0">
                  <a:pos x="T2" y="T3"/>
                </a:cxn>
                <a:cxn ang="0">
                  <a:pos x="T4" y="T5"/>
                </a:cxn>
                <a:cxn ang="0">
                  <a:pos x="T6" y="T7"/>
                </a:cxn>
                <a:cxn ang="0">
                  <a:pos x="T8" y="T9"/>
                </a:cxn>
              </a:cxnLst>
              <a:rect l="0" t="0" r="r" b="b"/>
              <a:pathLst>
                <a:path w="145" h="140">
                  <a:moveTo>
                    <a:pt x="0" y="140"/>
                  </a:moveTo>
                  <a:lnTo>
                    <a:pt x="145" y="56"/>
                  </a:lnTo>
                  <a:lnTo>
                    <a:pt x="145" y="0"/>
                  </a:lnTo>
                  <a:lnTo>
                    <a:pt x="0" y="86"/>
                  </a:lnTo>
                  <a:lnTo>
                    <a:pt x="0" y="140"/>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26"/>
            <p:cNvSpPr>
              <a:spLocks/>
            </p:cNvSpPr>
            <p:nvPr userDrawn="1"/>
          </p:nvSpPr>
          <p:spPr bwMode="auto">
            <a:xfrm>
              <a:off x="4799013" y="3605213"/>
              <a:ext cx="230188" cy="314325"/>
            </a:xfrm>
            <a:custGeom>
              <a:avLst/>
              <a:gdLst>
                <a:gd name="T0" fmla="*/ 0 w 145"/>
                <a:gd name="T1" fmla="*/ 198 h 198"/>
                <a:gd name="T2" fmla="*/ 145 w 145"/>
                <a:gd name="T3" fmla="*/ 113 h 198"/>
                <a:gd name="T4" fmla="*/ 145 w 145"/>
                <a:gd name="T5" fmla="*/ 0 h 198"/>
                <a:gd name="T6" fmla="*/ 0 w 145"/>
                <a:gd name="T7" fmla="*/ 85 h 198"/>
                <a:gd name="T8" fmla="*/ 0 w 145"/>
                <a:gd name="T9" fmla="*/ 198 h 198"/>
              </a:gdLst>
              <a:ahLst/>
              <a:cxnLst>
                <a:cxn ang="0">
                  <a:pos x="T0" y="T1"/>
                </a:cxn>
                <a:cxn ang="0">
                  <a:pos x="T2" y="T3"/>
                </a:cxn>
                <a:cxn ang="0">
                  <a:pos x="T4" y="T5"/>
                </a:cxn>
                <a:cxn ang="0">
                  <a:pos x="T6" y="T7"/>
                </a:cxn>
                <a:cxn ang="0">
                  <a:pos x="T8" y="T9"/>
                </a:cxn>
              </a:cxnLst>
              <a:rect l="0" t="0" r="r" b="b"/>
              <a:pathLst>
                <a:path w="145" h="198">
                  <a:moveTo>
                    <a:pt x="0" y="198"/>
                  </a:moveTo>
                  <a:lnTo>
                    <a:pt x="145" y="113"/>
                  </a:lnTo>
                  <a:lnTo>
                    <a:pt x="145" y="0"/>
                  </a:lnTo>
                  <a:lnTo>
                    <a:pt x="0" y="85"/>
                  </a:lnTo>
                  <a:lnTo>
                    <a:pt x="0" y="1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27"/>
            <p:cNvSpPr>
              <a:spLocks/>
            </p:cNvSpPr>
            <p:nvPr userDrawn="1"/>
          </p:nvSpPr>
          <p:spPr bwMode="auto">
            <a:xfrm>
              <a:off x="4570413" y="3776663"/>
              <a:ext cx="228600" cy="142875"/>
            </a:xfrm>
            <a:custGeom>
              <a:avLst/>
              <a:gdLst>
                <a:gd name="T0" fmla="*/ 142 w 142"/>
                <a:gd name="T1" fmla="*/ 34 h 88"/>
                <a:gd name="T2" fmla="*/ 142 w 142"/>
                <a:gd name="T3" fmla="*/ 34 h 88"/>
                <a:gd name="T4" fmla="*/ 84 w 142"/>
                <a:gd name="T5" fmla="*/ 0 h 88"/>
                <a:gd name="T6" fmla="*/ 72 w 142"/>
                <a:gd name="T7" fmla="*/ 26 h 88"/>
                <a:gd name="T8" fmla="*/ 17 w 142"/>
                <a:gd name="T9" fmla="*/ 3 h 88"/>
                <a:gd name="T10" fmla="*/ 0 w 142"/>
                <a:gd name="T11" fmla="*/ 5 h 88"/>
                <a:gd name="T12" fmla="*/ 0 w 142"/>
                <a:gd name="T13" fmla="*/ 5 h 88"/>
                <a:gd name="T14" fmla="*/ 142 w 142"/>
                <a:gd name="T15" fmla="*/ 88 h 88"/>
                <a:gd name="T16" fmla="*/ 142 w 142"/>
                <a:gd name="T17" fmla="*/ 88 h 88"/>
                <a:gd name="T18" fmla="*/ 142 w 142"/>
                <a:gd name="T19" fmla="*/ 3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88">
                  <a:moveTo>
                    <a:pt x="142" y="34"/>
                  </a:moveTo>
                  <a:cubicBezTo>
                    <a:pt x="142" y="34"/>
                    <a:pt x="142" y="34"/>
                    <a:pt x="142" y="34"/>
                  </a:cubicBezTo>
                  <a:cubicBezTo>
                    <a:pt x="84" y="0"/>
                    <a:pt x="84" y="0"/>
                    <a:pt x="84" y="0"/>
                  </a:cubicBezTo>
                  <a:cubicBezTo>
                    <a:pt x="79" y="8"/>
                    <a:pt x="75" y="17"/>
                    <a:pt x="72" y="26"/>
                  </a:cubicBezTo>
                  <a:cubicBezTo>
                    <a:pt x="58" y="12"/>
                    <a:pt x="39" y="3"/>
                    <a:pt x="17" y="3"/>
                  </a:cubicBezTo>
                  <a:cubicBezTo>
                    <a:pt x="11" y="3"/>
                    <a:pt x="5" y="3"/>
                    <a:pt x="0" y="5"/>
                  </a:cubicBezTo>
                  <a:cubicBezTo>
                    <a:pt x="0" y="5"/>
                    <a:pt x="0" y="5"/>
                    <a:pt x="0" y="5"/>
                  </a:cubicBezTo>
                  <a:cubicBezTo>
                    <a:pt x="142" y="88"/>
                    <a:pt x="142" y="88"/>
                    <a:pt x="142" y="88"/>
                  </a:cubicBezTo>
                  <a:cubicBezTo>
                    <a:pt x="142" y="88"/>
                    <a:pt x="142" y="88"/>
                    <a:pt x="142" y="88"/>
                  </a:cubicBezTo>
                  <a:lnTo>
                    <a:pt x="142" y="34"/>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28"/>
            <p:cNvSpPr>
              <a:spLocks/>
            </p:cNvSpPr>
            <p:nvPr userDrawn="1"/>
          </p:nvSpPr>
          <p:spPr bwMode="auto">
            <a:xfrm>
              <a:off x="4570413" y="3209926"/>
              <a:ext cx="458788" cy="530225"/>
            </a:xfrm>
            <a:custGeom>
              <a:avLst/>
              <a:gdLst>
                <a:gd name="T0" fmla="*/ 144 w 289"/>
                <a:gd name="T1" fmla="*/ 279 h 334"/>
                <a:gd name="T2" fmla="*/ 144 w 289"/>
                <a:gd name="T3" fmla="*/ 279 h 334"/>
                <a:gd name="T4" fmla="*/ 47 w 289"/>
                <a:gd name="T5" fmla="*/ 223 h 334"/>
                <a:gd name="T6" fmla="*/ 47 w 289"/>
                <a:gd name="T7" fmla="*/ 110 h 334"/>
                <a:gd name="T8" fmla="*/ 144 w 289"/>
                <a:gd name="T9" fmla="*/ 54 h 334"/>
                <a:gd name="T10" fmla="*/ 242 w 289"/>
                <a:gd name="T11" fmla="*/ 110 h 334"/>
                <a:gd name="T12" fmla="*/ 242 w 289"/>
                <a:gd name="T13" fmla="*/ 111 h 334"/>
                <a:gd name="T14" fmla="*/ 289 w 289"/>
                <a:gd name="T15" fmla="*/ 83 h 334"/>
                <a:gd name="T16" fmla="*/ 144 w 289"/>
                <a:gd name="T17" fmla="*/ 0 h 334"/>
                <a:gd name="T18" fmla="*/ 0 w 289"/>
                <a:gd name="T19" fmla="*/ 83 h 334"/>
                <a:gd name="T20" fmla="*/ 0 w 289"/>
                <a:gd name="T21" fmla="*/ 250 h 334"/>
                <a:gd name="T22" fmla="*/ 144 w 289"/>
                <a:gd name="T23" fmla="*/ 334 h 334"/>
                <a:gd name="T24" fmla="*/ 144 w 289"/>
                <a:gd name="T25" fmla="*/ 334 h 334"/>
                <a:gd name="T26" fmla="*/ 144 w 289"/>
                <a:gd name="T27" fmla="*/ 27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34">
                  <a:moveTo>
                    <a:pt x="144" y="279"/>
                  </a:moveTo>
                  <a:lnTo>
                    <a:pt x="144" y="279"/>
                  </a:lnTo>
                  <a:lnTo>
                    <a:pt x="47" y="223"/>
                  </a:lnTo>
                  <a:lnTo>
                    <a:pt x="47" y="110"/>
                  </a:lnTo>
                  <a:lnTo>
                    <a:pt x="144" y="54"/>
                  </a:lnTo>
                  <a:lnTo>
                    <a:pt x="242" y="110"/>
                  </a:lnTo>
                  <a:lnTo>
                    <a:pt x="242" y="111"/>
                  </a:lnTo>
                  <a:lnTo>
                    <a:pt x="289" y="83"/>
                  </a:lnTo>
                  <a:lnTo>
                    <a:pt x="144" y="0"/>
                  </a:lnTo>
                  <a:lnTo>
                    <a:pt x="0" y="83"/>
                  </a:lnTo>
                  <a:lnTo>
                    <a:pt x="0" y="250"/>
                  </a:lnTo>
                  <a:lnTo>
                    <a:pt x="144" y="334"/>
                  </a:lnTo>
                  <a:lnTo>
                    <a:pt x="144" y="334"/>
                  </a:lnTo>
                  <a:lnTo>
                    <a:pt x="144" y="2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76" name="Freeform 6"/>
          <p:cNvSpPr>
            <a:spLocks/>
          </p:cNvSpPr>
          <p:nvPr userDrawn="1"/>
        </p:nvSpPr>
        <p:spPr bwMode="auto">
          <a:xfrm>
            <a:off x="9418638" y="2273302"/>
            <a:ext cx="2049463" cy="823913"/>
          </a:xfrm>
          <a:custGeom>
            <a:avLst/>
            <a:gdLst>
              <a:gd name="T0" fmla="*/ 1131 w 1266"/>
              <a:gd name="T1" fmla="*/ 241 h 510"/>
              <a:gd name="T2" fmla="*/ 1108 w 1266"/>
              <a:gd name="T3" fmla="*/ 241 h 510"/>
              <a:gd name="T4" fmla="*/ 853 w 1266"/>
              <a:gd name="T5" fmla="*/ 0 h 510"/>
              <a:gd name="T6" fmla="*/ 605 w 1266"/>
              <a:gd name="T7" fmla="*/ 188 h 510"/>
              <a:gd name="T8" fmla="*/ 469 w 1266"/>
              <a:gd name="T9" fmla="*/ 131 h 510"/>
              <a:gd name="T10" fmla="*/ 280 w 1266"/>
              <a:gd name="T11" fmla="*/ 303 h 510"/>
              <a:gd name="T12" fmla="*/ 192 w 1266"/>
              <a:gd name="T13" fmla="*/ 344 h 510"/>
              <a:gd name="T14" fmla="*/ 107 w 1266"/>
              <a:gd name="T15" fmla="*/ 300 h 510"/>
              <a:gd name="T16" fmla="*/ 0 w 1266"/>
              <a:gd name="T17" fmla="*/ 404 h 510"/>
              <a:gd name="T18" fmla="*/ 107 w 1266"/>
              <a:gd name="T19" fmla="*/ 510 h 510"/>
              <a:gd name="T20" fmla="*/ 135 w 1266"/>
              <a:gd name="T21" fmla="*/ 510 h 510"/>
              <a:gd name="T22" fmla="*/ 482 w 1266"/>
              <a:gd name="T23" fmla="*/ 510 h 510"/>
              <a:gd name="T24" fmla="*/ 674 w 1266"/>
              <a:gd name="T25" fmla="*/ 510 h 510"/>
              <a:gd name="T26" fmla="*/ 1140 w 1266"/>
              <a:gd name="T27" fmla="*/ 510 h 510"/>
              <a:gd name="T28" fmla="*/ 1140 w 1266"/>
              <a:gd name="T29" fmla="*/ 510 h 510"/>
              <a:gd name="T30" fmla="*/ 1266 w 1266"/>
              <a:gd name="T31" fmla="*/ 375 h 510"/>
              <a:gd name="T32" fmla="*/ 1131 w 1266"/>
              <a:gd name="T33" fmla="*/ 24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6" h="510">
                <a:moveTo>
                  <a:pt x="1131" y="241"/>
                </a:moveTo>
                <a:cubicBezTo>
                  <a:pt x="1124" y="241"/>
                  <a:pt x="1118" y="241"/>
                  <a:pt x="1108" y="241"/>
                </a:cubicBezTo>
                <a:cubicBezTo>
                  <a:pt x="1102" y="106"/>
                  <a:pt x="992" y="0"/>
                  <a:pt x="853" y="0"/>
                </a:cubicBezTo>
                <a:cubicBezTo>
                  <a:pt x="734" y="0"/>
                  <a:pt x="636" y="81"/>
                  <a:pt x="605" y="188"/>
                </a:cubicBezTo>
                <a:cubicBezTo>
                  <a:pt x="570" y="153"/>
                  <a:pt x="523" y="131"/>
                  <a:pt x="469" y="131"/>
                </a:cubicBezTo>
                <a:cubicBezTo>
                  <a:pt x="372" y="131"/>
                  <a:pt x="290" y="206"/>
                  <a:pt x="280" y="303"/>
                </a:cubicBezTo>
                <a:cubicBezTo>
                  <a:pt x="249" y="307"/>
                  <a:pt x="217" y="322"/>
                  <a:pt x="192" y="344"/>
                </a:cubicBezTo>
                <a:cubicBezTo>
                  <a:pt x="173" y="316"/>
                  <a:pt x="142" y="300"/>
                  <a:pt x="107" y="300"/>
                </a:cubicBezTo>
                <a:cubicBezTo>
                  <a:pt x="47" y="300"/>
                  <a:pt x="0" y="347"/>
                  <a:pt x="0" y="404"/>
                </a:cubicBezTo>
                <a:cubicBezTo>
                  <a:pt x="0" y="463"/>
                  <a:pt x="47" y="510"/>
                  <a:pt x="107" y="510"/>
                </a:cubicBezTo>
                <a:cubicBezTo>
                  <a:pt x="135" y="510"/>
                  <a:pt x="135" y="510"/>
                  <a:pt x="135" y="510"/>
                </a:cubicBezTo>
                <a:cubicBezTo>
                  <a:pt x="482" y="510"/>
                  <a:pt x="482" y="510"/>
                  <a:pt x="482" y="510"/>
                </a:cubicBezTo>
                <a:cubicBezTo>
                  <a:pt x="674" y="510"/>
                  <a:pt x="674" y="510"/>
                  <a:pt x="674" y="510"/>
                </a:cubicBezTo>
                <a:cubicBezTo>
                  <a:pt x="1140" y="510"/>
                  <a:pt x="1140" y="510"/>
                  <a:pt x="1140" y="510"/>
                </a:cubicBezTo>
                <a:cubicBezTo>
                  <a:pt x="1140" y="510"/>
                  <a:pt x="1140" y="510"/>
                  <a:pt x="1140" y="510"/>
                </a:cubicBezTo>
                <a:cubicBezTo>
                  <a:pt x="1209" y="504"/>
                  <a:pt x="1266" y="447"/>
                  <a:pt x="1266" y="375"/>
                </a:cubicBezTo>
                <a:cubicBezTo>
                  <a:pt x="1266" y="300"/>
                  <a:pt x="1206" y="241"/>
                  <a:pt x="113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77" name="Group 76"/>
          <p:cNvGrpSpPr/>
          <p:nvPr userDrawn="1"/>
        </p:nvGrpSpPr>
        <p:grpSpPr>
          <a:xfrm>
            <a:off x="4631530" y="906464"/>
            <a:ext cx="4872038" cy="4795838"/>
            <a:chOff x="3657600" y="-6505575"/>
            <a:chExt cx="4872038" cy="4795838"/>
          </a:xfrm>
        </p:grpSpPr>
        <p:sp>
          <p:nvSpPr>
            <p:cNvPr id="78" name="Freeform 78"/>
            <p:cNvSpPr>
              <a:spLocks/>
            </p:cNvSpPr>
            <p:nvPr userDrawn="1"/>
          </p:nvSpPr>
          <p:spPr bwMode="auto">
            <a:xfrm>
              <a:off x="6442075" y="-3392488"/>
              <a:ext cx="1101725" cy="520700"/>
            </a:xfrm>
            <a:custGeom>
              <a:avLst/>
              <a:gdLst>
                <a:gd name="T0" fmla="*/ 0 w 694"/>
                <a:gd name="T1" fmla="*/ 256 h 328"/>
                <a:gd name="T2" fmla="*/ 125 w 694"/>
                <a:gd name="T3" fmla="*/ 328 h 328"/>
                <a:gd name="T4" fmla="*/ 694 w 694"/>
                <a:gd name="T5" fmla="*/ 0 h 328"/>
                <a:gd name="T6" fmla="*/ 694 w 694"/>
                <a:gd name="T7" fmla="*/ 0 h 328"/>
                <a:gd name="T8" fmla="*/ 125 w 694"/>
                <a:gd name="T9" fmla="*/ 328 h 328"/>
                <a:gd name="T10" fmla="*/ 0 w 694"/>
                <a:gd name="T11" fmla="*/ 256 h 328"/>
              </a:gdLst>
              <a:ahLst/>
              <a:cxnLst>
                <a:cxn ang="0">
                  <a:pos x="T0" y="T1"/>
                </a:cxn>
                <a:cxn ang="0">
                  <a:pos x="T2" y="T3"/>
                </a:cxn>
                <a:cxn ang="0">
                  <a:pos x="T4" y="T5"/>
                </a:cxn>
                <a:cxn ang="0">
                  <a:pos x="T6" y="T7"/>
                </a:cxn>
                <a:cxn ang="0">
                  <a:pos x="T8" y="T9"/>
                </a:cxn>
                <a:cxn ang="0">
                  <a:pos x="T10" y="T11"/>
                </a:cxn>
              </a:cxnLst>
              <a:rect l="0" t="0" r="r" b="b"/>
              <a:pathLst>
                <a:path w="694" h="328">
                  <a:moveTo>
                    <a:pt x="0" y="256"/>
                  </a:moveTo>
                  <a:lnTo>
                    <a:pt x="125" y="328"/>
                  </a:lnTo>
                  <a:lnTo>
                    <a:pt x="694" y="0"/>
                  </a:lnTo>
                  <a:lnTo>
                    <a:pt x="694" y="0"/>
                  </a:lnTo>
                  <a:lnTo>
                    <a:pt x="125" y="328"/>
                  </a:lnTo>
                  <a:lnTo>
                    <a:pt x="0" y="256"/>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9" name="Freeform 87"/>
            <p:cNvSpPr>
              <a:spLocks/>
            </p:cNvSpPr>
            <p:nvPr userDrawn="1"/>
          </p:nvSpPr>
          <p:spPr bwMode="auto">
            <a:xfrm>
              <a:off x="5737225" y="-5473700"/>
              <a:ext cx="903288" cy="1560513"/>
            </a:xfrm>
            <a:custGeom>
              <a:avLst/>
              <a:gdLst>
                <a:gd name="T0" fmla="*/ 569 w 569"/>
                <a:gd name="T1" fmla="*/ 983 h 983"/>
                <a:gd name="T2" fmla="*/ 0 w 569"/>
                <a:gd name="T3" fmla="*/ 655 h 983"/>
                <a:gd name="T4" fmla="*/ 0 w 569"/>
                <a:gd name="T5" fmla="*/ 0 h 983"/>
                <a:gd name="T6" fmla="*/ 569 w 569"/>
                <a:gd name="T7" fmla="*/ 329 h 983"/>
                <a:gd name="T8" fmla="*/ 569 w 569"/>
                <a:gd name="T9" fmla="*/ 983 h 983"/>
              </a:gdLst>
              <a:ahLst/>
              <a:cxnLst>
                <a:cxn ang="0">
                  <a:pos x="T0" y="T1"/>
                </a:cxn>
                <a:cxn ang="0">
                  <a:pos x="T2" y="T3"/>
                </a:cxn>
                <a:cxn ang="0">
                  <a:pos x="T4" y="T5"/>
                </a:cxn>
                <a:cxn ang="0">
                  <a:pos x="T6" y="T7"/>
                </a:cxn>
                <a:cxn ang="0">
                  <a:pos x="T8" y="T9"/>
                </a:cxn>
              </a:cxnLst>
              <a:rect l="0" t="0" r="r" b="b"/>
              <a:pathLst>
                <a:path w="569" h="983">
                  <a:moveTo>
                    <a:pt x="569" y="983"/>
                  </a:moveTo>
                  <a:lnTo>
                    <a:pt x="0" y="655"/>
                  </a:lnTo>
                  <a:lnTo>
                    <a:pt x="0" y="0"/>
                  </a:lnTo>
                  <a:lnTo>
                    <a:pt x="569" y="329"/>
                  </a:lnTo>
                  <a:lnTo>
                    <a:pt x="569" y="983"/>
                  </a:lnTo>
                  <a:close/>
                </a:path>
              </a:pathLst>
            </a:custGeom>
            <a:solidFill>
              <a:srgbClr val="CECECE"/>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0" name="Freeform 88"/>
            <p:cNvSpPr>
              <a:spLocks/>
            </p:cNvSpPr>
            <p:nvPr userDrawn="1"/>
          </p:nvSpPr>
          <p:spPr bwMode="auto">
            <a:xfrm>
              <a:off x="5299075" y="-4183063"/>
              <a:ext cx="790575" cy="1233488"/>
            </a:xfrm>
            <a:custGeom>
              <a:avLst/>
              <a:gdLst>
                <a:gd name="T0" fmla="*/ 271 w 489"/>
                <a:gd name="T1" fmla="*/ 157 h 763"/>
                <a:gd name="T2" fmla="*/ 0 w 489"/>
                <a:gd name="T3" fmla="*/ 0 h 763"/>
                <a:gd name="T4" fmla="*/ 0 w 489"/>
                <a:gd name="T5" fmla="*/ 641 h 763"/>
                <a:gd name="T6" fmla="*/ 102 w 489"/>
                <a:gd name="T7" fmla="*/ 629 h 763"/>
                <a:gd name="T8" fmla="*/ 423 w 489"/>
                <a:gd name="T9" fmla="*/ 763 h 763"/>
                <a:gd name="T10" fmla="*/ 489 w 489"/>
                <a:gd name="T11" fmla="*/ 615 h 763"/>
                <a:gd name="T12" fmla="*/ 271 w 489"/>
                <a:gd name="T13" fmla="*/ 489 h 763"/>
                <a:gd name="T14" fmla="*/ 271 w 489"/>
                <a:gd name="T15" fmla="*/ 157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9" h="763">
                  <a:moveTo>
                    <a:pt x="271" y="157"/>
                  </a:moveTo>
                  <a:cubicBezTo>
                    <a:pt x="0" y="0"/>
                    <a:pt x="0" y="0"/>
                    <a:pt x="0" y="0"/>
                  </a:cubicBezTo>
                  <a:cubicBezTo>
                    <a:pt x="0" y="641"/>
                    <a:pt x="0" y="641"/>
                    <a:pt x="0" y="641"/>
                  </a:cubicBezTo>
                  <a:cubicBezTo>
                    <a:pt x="33" y="633"/>
                    <a:pt x="67" y="629"/>
                    <a:pt x="102" y="629"/>
                  </a:cubicBezTo>
                  <a:cubicBezTo>
                    <a:pt x="229" y="629"/>
                    <a:pt x="341" y="681"/>
                    <a:pt x="423" y="763"/>
                  </a:cubicBezTo>
                  <a:cubicBezTo>
                    <a:pt x="439" y="711"/>
                    <a:pt x="461" y="661"/>
                    <a:pt x="489" y="615"/>
                  </a:cubicBezTo>
                  <a:cubicBezTo>
                    <a:pt x="271" y="489"/>
                    <a:pt x="271" y="489"/>
                    <a:pt x="271" y="489"/>
                  </a:cubicBezTo>
                  <a:lnTo>
                    <a:pt x="271" y="157"/>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97"/>
            <p:cNvSpPr>
              <a:spLocks/>
            </p:cNvSpPr>
            <p:nvPr userDrawn="1"/>
          </p:nvSpPr>
          <p:spPr bwMode="auto">
            <a:xfrm>
              <a:off x="5956300" y="-3586163"/>
              <a:ext cx="57150" cy="228600"/>
            </a:xfrm>
            <a:custGeom>
              <a:avLst/>
              <a:gdLst>
                <a:gd name="T0" fmla="*/ 0 w 36"/>
                <a:gd name="T1" fmla="*/ 144 h 144"/>
                <a:gd name="T2" fmla="*/ 36 w 36"/>
                <a:gd name="T3" fmla="*/ 122 h 144"/>
                <a:gd name="T4" fmla="*/ 36 w 36"/>
                <a:gd name="T5" fmla="*/ 21 h 144"/>
                <a:gd name="T6" fmla="*/ 0 w 36"/>
                <a:gd name="T7" fmla="*/ 0 h 144"/>
                <a:gd name="T8" fmla="*/ 0 w 36"/>
                <a:gd name="T9" fmla="*/ 144 h 144"/>
              </a:gdLst>
              <a:ahLst/>
              <a:cxnLst>
                <a:cxn ang="0">
                  <a:pos x="T0" y="T1"/>
                </a:cxn>
                <a:cxn ang="0">
                  <a:pos x="T2" y="T3"/>
                </a:cxn>
                <a:cxn ang="0">
                  <a:pos x="T4" y="T5"/>
                </a:cxn>
                <a:cxn ang="0">
                  <a:pos x="T6" y="T7"/>
                </a:cxn>
                <a:cxn ang="0">
                  <a:pos x="T8" y="T9"/>
                </a:cxn>
              </a:cxnLst>
              <a:rect l="0" t="0" r="r" b="b"/>
              <a:pathLst>
                <a:path w="36" h="144">
                  <a:moveTo>
                    <a:pt x="0" y="144"/>
                  </a:moveTo>
                  <a:lnTo>
                    <a:pt x="36" y="122"/>
                  </a:lnTo>
                  <a:lnTo>
                    <a:pt x="36" y="21"/>
                  </a:lnTo>
                  <a:lnTo>
                    <a:pt x="0" y="0"/>
                  </a:lnTo>
                  <a:lnTo>
                    <a:pt x="0" y="144"/>
                  </a:lnTo>
                  <a:close/>
                </a:path>
              </a:pathLst>
            </a:custGeom>
            <a:solidFill>
              <a:srgbClr val="91A80A"/>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2" name="Freeform 98"/>
            <p:cNvSpPr>
              <a:spLocks/>
            </p:cNvSpPr>
            <p:nvPr userDrawn="1"/>
          </p:nvSpPr>
          <p:spPr bwMode="auto">
            <a:xfrm>
              <a:off x="5930900" y="-3598863"/>
              <a:ext cx="25400" cy="255588"/>
            </a:xfrm>
            <a:custGeom>
              <a:avLst/>
              <a:gdLst>
                <a:gd name="T0" fmla="*/ 0 w 16"/>
                <a:gd name="T1" fmla="*/ 161 h 161"/>
                <a:gd name="T2" fmla="*/ 16 w 16"/>
                <a:gd name="T3" fmla="*/ 152 h 161"/>
                <a:gd name="T4" fmla="*/ 16 w 16"/>
                <a:gd name="T5" fmla="*/ 8 h 161"/>
                <a:gd name="T6" fmla="*/ 0 w 16"/>
                <a:gd name="T7" fmla="*/ 0 h 161"/>
                <a:gd name="T8" fmla="*/ 0 w 16"/>
                <a:gd name="T9" fmla="*/ 161 h 161"/>
              </a:gdLst>
              <a:ahLst/>
              <a:cxnLst>
                <a:cxn ang="0">
                  <a:pos x="T0" y="T1"/>
                </a:cxn>
                <a:cxn ang="0">
                  <a:pos x="T2" y="T3"/>
                </a:cxn>
                <a:cxn ang="0">
                  <a:pos x="T4" y="T5"/>
                </a:cxn>
                <a:cxn ang="0">
                  <a:pos x="T6" y="T7"/>
                </a:cxn>
                <a:cxn ang="0">
                  <a:pos x="T8" y="T9"/>
                </a:cxn>
              </a:cxnLst>
              <a:rect l="0" t="0" r="r" b="b"/>
              <a:pathLst>
                <a:path w="16" h="161">
                  <a:moveTo>
                    <a:pt x="0" y="161"/>
                  </a:moveTo>
                  <a:lnTo>
                    <a:pt x="16" y="152"/>
                  </a:lnTo>
                  <a:lnTo>
                    <a:pt x="16" y="8"/>
                  </a:lnTo>
                  <a:lnTo>
                    <a:pt x="0" y="0"/>
                  </a:lnTo>
                  <a:lnTo>
                    <a:pt x="0" y="161"/>
                  </a:lnTo>
                  <a:close/>
                </a:path>
              </a:pathLst>
            </a:custGeom>
            <a:solidFill>
              <a:srgbClr val="004B1C"/>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3" name="Freeform 99"/>
            <p:cNvSpPr>
              <a:spLocks/>
            </p:cNvSpPr>
            <p:nvPr userDrawn="1"/>
          </p:nvSpPr>
          <p:spPr bwMode="auto">
            <a:xfrm>
              <a:off x="5881688" y="-3629025"/>
              <a:ext cx="49213" cy="314325"/>
            </a:xfrm>
            <a:custGeom>
              <a:avLst/>
              <a:gdLst>
                <a:gd name="T0" fmla="*/ 0 w 31"/>
                <a:gd name="T1" fmla="*/ 198 h 198"/>
                <a:gd name="T2" fmla="*/ 31 w 31"/>
                <a:gd name="T3" fmla="*/ 180 h 198"/>
                <a:gd name="T4" fmla="*/ 31 w 31"/>
                <a:gd name="T5" fmla="*/ 19 h 198"/>
                <a:gd name="T6" fmla="*/ 0 w 31"/>
                <a:gd name="T7" fmla="*/ 0 h 198"/>
                <a:gd name="T8" fmla="*/ 0 w 31"/>
                <a:gd name="T9" fmla="*/ 198 h 198"/>
              </a:gdLst>
              <a:ahLst/>
              <a:cxnLst>
                <a:cxn ang="0">
                  <a:pos x="T0" y="T1"/>
                </a:cxn>
                <a:cxn ang="0">
                  <a:pos x="T2" y="T3"/>
                </a:cxn>
                <a:cxn ang="0">
                  <a:pos x="T4" y="T5"/>
                </a:cxn>
                <a:cxn ang="0">
                  <a:pos x="T6" y="T7"/>
                </a:cxn>
                <a:cxn ang="0">
                  <a:pos x="T8" y="T9"/>
                </a:cxn>
              </a:cxnLst>
              <a:rect l="0" t="0" r="r" b="b"/>
              <a:pathLst>
                <a:path w="31" h="198">
                  <a:moveTo>
                    <a:pt x="0" y="198"/>
                  </a:moveTo>
                  <a:lnTo>
                    <a:pt x="31" y="180"/>
                  </a:lnTo>
                  <a:lnTo>
                    <a:pt x="31" y="19"/>
                  </a:lnTo>
                  <a:lnTo>
                    <a:pt x="0" y="0"/>
                  </a:lnTo>
                  <a:lnTo>
                    <a:pt x="0" y="198"/>
                  </a:lnTo>
                  <a:close/>
                </a:path>
              </a:pathLst>
            </a:custGeom>
            <a:solidFill>
              <a:srgbClr val="BAD80A"/>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4" name="Freeform 100"/>
            <p:cNvSpPr>
              <a:spLocks/>
            </p:cNvSpPr>
            <p:nvPr userDrawn="1"/>
          </p:nvSpPr>
          <p:spPr bwMode="auto">
            <a:xfrm>
              <a:off x="5737225" y="-3632200"/>
              <a:ext cx="144463" cy="320675"/>
            </a:xfrm>
            <a:custGeom>
              <a:avLst/>
              <a:gdLst>
                <a:gd name="T0" fmla="*/ 91 w 91"/>
                <a:gd name="T1" fmla="*/ 2 h 202"/>
                <a:gd name="T2" fmla="*/ 87 w 91"/>
                <a:gd name="T3" fmla="*/ 0 h 202"/>
                <a:gd name="T4" fmla="*/ 0 w 91"/>
                <a:gd name="T5" fmla="*/ 50 h 202"/>
                <a:gd name="T6" fmla="*/ 0 w 91"/>
                <a:gd name="T7" fmla="*/ 151 h 202"/>
                <a:gd name="T8" fmla="*/ 87 w 91"/>
                <a:gd name="T9" fmla="*/ 202 h 202"/>
                <a:gd name="T10" fmla="*/ 91 w 91"/>
                <a:gd name="T11" fmla="*/ 200 h 202"/>
                <a:gd name="T12" fmla="*/ 91 w 91"/>
                <a:gd name="T13" fmla="*/ 2 h 202"/>
              </a:gdLst>
              <a:ahLst/>
              <a:cxnLst>
                <a:cxn ang="0">
                  <a:pos x="T0" y="T1"/>
                </a:cxn>
                <a:cxn ang="0">
                  <a:pos x="T2" y="T3"/>
                </a:cxn>
                <a:cxn ang="0">
                  <a:pos x="T4" y="T5"/>
                </a:cxn>
                <a:cxn ang="0">
                  <a:pos x="T6" y="T7"/>
                </a:cxn>
                <a:cxn ang="0">
                  <a:pos x="T8" y="T9"/>
                </a:cxn>
                <a:cxn ang="0">
                  <a:pos x="T10" y="T11"/>
                </a:cxn>
                <a:cxn ang="0">
                  <a:pos x="T12" y="T13"/>
                </a:cxn>
              </a:cxnLst>
              <a:rect l="0" t="0" r="r" b="b"/>
              <a:pathLst>
                <a:path w="91" h="202">
                  <a:moveTo>
                    <a:pt x="91" y="2"/>
                  </a:moveTo>
                  <a:lnTo>
                    <a:pt x="87" y="0"/>
                  </a:lnTo>
                  <a:lnTo>
                    <a:pt x="0" y="50"/>
                  </a:lnTo>
                  <a:lnTo>
                    <a:pt x="0" y="151"/>
                  </a:lnTo>
                  <a:lnTo>
                    <a:pt x="87" y="202"/>
                  </a:lnTo>
                  <a:lnTo>
                    <a:pt x="91" y="200"/>
                  </a:lnTo>
                  <a:lnTo>
                    <a:pt x="91" y="2"/>
                  </a:lnTo>
                  <a:close/>
                </a:path>
              </a:pathLst>
            </a:custGeom>
            <a:solidFill>
              <a:srgbClr val="107C10"/>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5" name="Freeform 129"/>
            <p:cNvSpPr>
              <a:spLocks/>
            </p:cNvSpPr>
            <p:nvPr userDrawn="1"/>
          </p:nvSpPr>
          <p:spPr bwMode="auto">
            <a:xfrm>
              <a:off x="6640513" y="-4192588"/>
              <a:ext cx="1343025" cy="1831975"/>
            </a:xfrm>
            <a:custGeom>
              <a:avLst/>
              <a:gdLst>
                <a:gd name="T0" fmla="*/ 0 w 846"/>
                <a:gd name="T1" fmla="*/ 1154 h 1154"/>
                <a:gd name="T2" fmla="*/ 846 w 846"/>
                <a:gd name="T3" fmla="*/ 660 h 1154"/>
                <a:gd name="T4" fmla="*/ 846 w 846"/>
                <a:gd name="T5" fmla="*/ 0 h 1154"/>
                <a:gd name="T6" fmla="*/ 0 w 846"/>
                <a:gd name="T7" fmla="*/ 494 h 1154"/>
                <a:gd name="T8" fmla="*/ 0 w 846"/>
                <a:gd name="T9" fmla="*/ 1154 h 1154"/>
              </a:gdLst>
              <a:ahLst/>
              <a:cxnLst>
                <a:cxn ang="0">
                  <a:pos x="T0" y="T1"/>
                </a:cxn>
                <a:cxn ang="0">
                  <a:pos x="T2" y="T3"/>
                </a:cxn>
                <a:cxn ang="0">
                  <a:pos x="T4" y="T5"/>
                </a:cxn>
                <a:cxn ang="0">
                  <a:pos x="T6" y="T7"/>
                </a:cxn>
                <a:cxn ang="0">
                  <a:pos x="T8" y="T9"/>
                </a:cxn>
              </a:cxnLst>
              <a:rect l="0" t="0" r="r" b="b"/>
              <a:pathLst>
                <a:path w="846" h="1154">
                  <a:moveTo>
                    <a:pt x="0" y="1154"/>
                  </a:moveTo>
                  <a:lnTo>
                    <a:pt x="846" y="660"/>
                  </a:lnTo>
                  <a:lnTo>
                    <a:pt x="846" y="0"/>
                  </a:lnTo>
                  <a:lnTo>
                    <a:pt x="0" y="494"/>
                  </a:lnTo>
                  <a:lnTo>
                    <a:pt x="0" y="1154"/>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6" name="Freeform 132"/>
            <p:cNvSpPr>
              <a:spLocks/>
            </p:cNvSpPr>
            <p:nvPr userDrawn="1"/>
          </p:nvSpPr>
          <p:spPr bwMode="auto">
            <a:xfrm>
              <a:off x="5299075" y="-3189288"/>
              <a:ext cx="1341438" cy="823913"/>
            </a:xfrm>
            <a:custGeom>
              <a:avLst/>
              <a:gdLst>
                <a:gd name="T0" fmla="*/ 829 w 829"/>
                <a:gd name="T1" fmla="*/ 196 h 509"/>
                <a:gd name="T2" fmla="*/ 829 w 829"/>
                <a:gd name="T3" fmla="*/ 196 h 509"/>
                <a:gd name="T4" fmla="*/ 489 w 829"/>
                <a:gd name="T5" fmla="*/ 0 h 509"/>
                <a:gd name="T6" fmla="*/ 423 w 829"/>
                <a:gd name="T7" fmla="*/ 148 h 509"/>
                <a:gd name="T8" fmla="*/ 102 w 829"/>
                <a:gd name="T9" fmla="*/ 14 h 509"/>
                <a:gd name="T10" fmla="*/ 0 w 829"/>
                <a:gd name="T11" fmla="*/ 26 h 509"/>
                <a:gd name="T12" fmla="*/ 0 w 829"/>
                <a:gd name="T13" fmla="*/ 31 h 509"/>
                <a:gd name="T14" fmla="*/ 829 w 829"/>
                <a:gd name="T15" fmla="*/ 509 h 509"/>
                <a:gd name="T16" fmla="*/ 829 w 829"/>
                <a:gd name="T17" fmla="*/ 509 h 509"/>
                <a:gd name="T18" fmla="*/ 829 w 829"/>
                <a:gd name="T19" fmla="*/ 196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9" h="509">
                  <a:moveTo>
                    <a:pt x="829" y="196"/>
                  </a:moveTo>
                  <a:cubicBezTo>
                    <a:pt x="829" y="196"/>
                    <a:pt x="829" y="196"/>
                    <a:pt x="829" y="196"/>
                  </a:cubicBezTo>
                  <a:cubicBezTo>
                    <a:pt x="489" y="0"/>
                    <a:pt x="489" y="0"/>
                    <a:pt x="489" y="0"/>
                  </a:cubicBezTo>
                  <a:cubicBezTo>
                    <a:pt x="461" y="46"/>
                    <a:pt x="439" y="96"/>
                    <a:pt x="423" y="148"/>
                  </a:cubicBezTo>
                  <a:cubicBezTo>
                    <a:pt x="341" y="66"/>
                    <a:pt x="229" y="14"/>
                    <a:pt x="102" y="14"/>
                  </a:cubicBezTo>
                  <a:cubicBezTo>
                    <a:pt x="67" y="14"/>
                    <a:pt x="33" y="18"/>
                    <a:pt x="0" y="26"/>
                  </a:cubicBezTo>
                  <a:cubicBezTo>
                    <a:pt x="0" y="31"/>
                    <a:pt x="0" y="31"/>
                    <a:pt x="0" y="31"/>
                  </a:cubicBezTo>
                  <a:cubicBezTo>
                    <a:pt x="829" y="509"/>
                    <a:pt x="829" y="509"/>
                    <a:pt x="829" y="509"/>
                  </a:cubicBezTo>
                  <a:cubicBezTo>
                    <a:pt x="829" y="509"/>
                    <a:pt x="829" y="509"/>
                    <a:pt x="829" y="509"/>
                  </a:cubicBezTo>
                  <a:lnTo>
                    <a:pt x="829" y="196"/>
                  </a:lnTo>
                  <a:close/>
                </a:path>
              </a:pathLst>
            </a:custGeom>
            <a:solidFill>
              <a:srgbClr val="A0E6FA"/>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7" name="Freeform 133"/>
            <p:cNvSpPr>
              <a:spLocks/>
            </p:cNvSpPr>
            <p:nvPr userDrawn="1"/>
          </p:nvSpPr>
          <p:spPr bwMode="auto">
            <a:xfrm>
              <a:off x="6199188" y="-5461000"/>
              <a:ext cx="885825" cy="509588"/>
            </a:xfrm>
            <a:custGeom>
              <a:avLst/>
              <a:gdLst>
                <a:gd name="T0" fmla="*/ 558 w 558"/>
                <a:gd name="T1" fmla="*/ 161 h 321"/>
                <a:gd name="T2" fmla="*/ 278 w 558"/>
                <a:gd name="T3" fmla="*/ 0 h 321"/>
                <a:gd name="T4" fmla="*/ 0 w 558"/>
                <a:gd name="T5" fmla="*/ 160 h 321"/>
                <a:gd name="T6" fmla="*/ 276 w 558"/>
                <a:gd name="T7" fmla="*/ 320 h 321"/>
                <a:gd name="T8" fmla="*/ 278 w 558"/>
                <a:gd name="T9" fmla="*/ 319 h 321"/>
                <a:gd name="T10" fmla="*/ 282 w 558"/>
                <a:gd name="T11" fmla="*/ 321 h 321"/>
                <a:gd name="T12" fmla="*/ 558 w 558"/>
                <a:gd name="T13" fmla="*/ 161 h 321"/>
              </a:gdLst>
              <a:ahLst/>
              <a:cxnLst>
                <a:cxn ang="0">
                  <a:pos x="T0" y="T1"/>
                </a:cxn>
                <a:cxn ang="0">
                  <a:pos x="T2" y="T3"/>
                </a:cxn>
                <a:cxn ang="0">
                  <a:pos x="T4" y="T5"/>
                </a:cxn>
                <a:cxn ang="0">
                  <a:pos x="T6" y="T7"/>
                </a:cxn>
                <a:cxn ang="0">
                  <a:pos x="T8" y="T9"/>
                </a:cxn>
                <a:cxn ang="0">
                  <a:pos x="T10" y="T11"/>
                </a:cxn>
                <a:cxn ang="0">
                  <a:pos x="T12" y="T13"/>
                </a:cxn>
              </a:cxnLst>
              <a:rect l="0" t="0" r="r" b="b"/>
              <a:pathLst>
                <a:path w="558" h="321">
                  <a:moveTo>
                    <a:pt x="558" y="161"/>
                  </a:moveTo>
                  <a:lnTo>
                    <a:pt x="278" y="0"/>
                  </a:lnTo>
                  <a:lnTo>
                    <a:pt x="0" y="160"/>
                  </a:lnTo>
                  <a:lnTo>
                    <a:pt x="276" y="320"/>
                  </a:lnTo>
                  <a:lnTo>
                    <a:pt x="278" y="319"/>
                  </a:lnTo>
                  <a:lnTo>
                    <a:pt x="282" y="321"/>
                  </a:lnTo>
                  <a:lnTo>
                    <a:pt x="558" y="161"/>
                  </a:lnTo>
                  <a:close/>
                </a:path>
              </a:pathLst>
            </a:custGeom>
            <a:solidFill>
              <a:srgbClr val="40CDF5"/>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8" name="Freeform 134"/>
            <p:cNvSpPr>
              <a:spLocks/>
            </p:cNvSpPr>
            <p:nvPr userDrawn="1"/>
          </p:nvSpPr>
          <p:spPr bwMode="auto">
            <a:xfrm>
              <a:off x="5299075" y="-6505575"/>
              <a:ext cx="2684463" cy="3097213"/>
            </a:xfrm>
            <a:custGeom>
              <a:avLst/>
              <a:gdLst>
                <a:gd name="T0" fmla="*/ 1691 w 1691"/>
                <a:gd name="T1" fmla="*/ 488 h 1951"/>
                <a:gd name="T2" fmla="*/ 845 w 1691"/>
                <a:gd name="T3" fmla="*/ 0 h 1951"/>
                <a:gd name="T4" fmla="*/ 0 w 1691"/>
                <a:gd name="T5" fmla="*/ 488 h 1951"/>
                <a:gd name="T6" fmla="*/ 0 w 1691"/>
                <a:gd name="T7" fmla="*/ 1463 h 1951"/>
                <a:gd name="T8" fmla="*/ 845 w 1691"/>
                <a:gd name="T9" fmla="*/ 1951 h 1951"/>
                <a:gd name="T10" fmla="*/ 845 w 1691"/>
                <a:gd name="T11" fmla="*/ 1951 h 1951"/>
                <a:gd name="T12" fmla="*/ 845 w 1691"/>
                <a:gd name="T13" fmla="*/ 1632 h 1951"/>
                <a:gd name="T14" fmla="*/ 845 w 1691"/>
                <a:gd name="T15" fmla="*/ 1632 h 1951"/>
                <a:gd name="T16" fmla="*/ 276 w 1691"/>
                <a:gd name="T17" fmla="*/ 1304 h 1951"/>
                <a:gd name="T18" fmla="*/ 276 w 1691"/>
                <a:gd name="T19" fmla="*/ 647 h 1951"/>
                <a:gd name="T20" fmla="*/ 845 w 1691"/>
                <a:gd name="T21" fmla="*/ 319 h 1951"/>
                <a:gd name="T22" fmla="*/ 1414 w 1691"/>
                <a:gd name="T23" fmla="*/ 647 h 1951"/>
                <a:gd name="T24" fmla="*/ 1414 w 1691"/>
                <a:gd name="T25" fmla="*/ 649 h 1951"/>
                <a:gd name="T26" fmla="*/ 845 w 1691"/>
                <a:gd name="T27" fmla="*/ 982 h 1951"/>
                <a:gd name="T28" fmla="*/ 845 w 1691"/>
                <a:gd name="T29" fmla="*/ 1632 h 1951"/>
                <a:gd name="T30" fmla="*/ 1691 w 1691"/>
                <a:gd name="T31" fmla="*/ 1137 h 1951"/>
                <a:gd name="T32" fmla="*/ 1691 w 1691"/>
                <a:gd name="T33" fmla="*/ 488 h 1951"/>
                <a:gd name="T34" fmla="*/ 1691 w 1691"/>
                <a:gd name="T35" fmla="*/ 488 h 1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1" h="1951">
                  <a:moveTo>
                    <a:pt x="1691" y="488"/>
                  </a:moveTo>
                  <a:lnTo>
                    <a:pt x="845" y="0"/>
                  </a:lnTo>
                  <a:lnTo>
                    <a:pt x="0" y="488"/>
                  </a:lnTo>
                  <a:lnTo>
                    <a:pt x="0" y="1463"/>
                  </a:lnTo>
                  <a:lnTo>
                    <a:pt x="845" y="1951"/>
                  </a:lnTo>
                  <a:lnTo>
                    <a:pt x="845" y="1951"/>
                  </a:lnTo>
                  <a:lnTo>
                    <a:pt x="845" y="1632"/>
                  </a:lnTo>
                  <a:lnTo>
                    <a:pt x="845" y="1632"/>
                  </a:lnTo>
                  <a:lnTo>
                    <a:pt x="276" y="1304"/>
                  </a:lnTo>
                  <a:lnTo>
                    <a:pt x="276" y="647"/>
                  </a:lnTo>
                  <a:lnTo>
                    <a:pt x="845" y="319"/>
                  </a:lnTo>
                  <a:lnTo>
                    <a:pt x="1414" y="647"/>
                  </a:lnTo>
                  <a:lnTo>
                    <a:pt x="1414" y="649"/>
                  </a:lnTo>
                  <a:lnTo>
                    <a:pt x="845" y="982"/>
                  </a:lnTo>
                  <a:lnTo>
                    <a:pt x="845" y="1632"/>
                  </a:lnTo>
                  <a:lnTo>
                    <a:pt x="1691" y="1137"/>
                  </a:lnTo>
                  <a:lnTo>
                    <a:pt x="1691" y="488"/>
                  </a:lnTo>
                  <a:lnTo>
                    <a:pt x="1691" y="488"/>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9" name="Freeform 135"/>
            <p:cNvSpPr>
              <a:spLocks/>
            </p:cNvSpPr>
            <p:nvPr userDrawn="1"/>
          </p:nvSpPr>
          <p:spPr bwMode="auto">
            <a:xfrm>
              <a:off x="6640513" y="-4712993"/>
              <a:ext cx="1343025" cy="1304630"/>
            </a:xfrm>
            <a:custGeom>
              <a:avLst/>
              <a:gdLst>
                <a:gd name="T0" fmla="*/ 0 w 846"/>
                <a:gd name="T1" fmla="*/ 814 h 814"/>
                <a:gd name="T2" fmla="*/ 0 w 846"/>
                <a:gd name="T3" fmla="*/ 814 h 814"/>
                <a:gd name="T4" fmla="*/ 846 w 846"/>
                <a:gd name="T5" fmla="*/ 326 h 814"/>
                <a:gd name="T6" fmla="*/ 846 w 846"/>
                <a:gd name="T7" fmla="*/ 0 h 814"/>
                <a:gd name="T8" fmla="*/ 0 w 846"/>
                <a:gd name="T9" fmla="*/ 495 h 814"/>
                <a:gd name="T10" fmla="*/ 0 w 846"/>
                <a:gd name="T11" fmla="*/ 814 h 814"/>
                <a:gd name="connsiteX0" fmla="*/ 0 w 10000"/>
                <a:gd name="connsiteY0" fmla="*/ 10096 h 10096"/>
                <a:gd name="connsiteX1" fmla="*/ 0 w 10000"/>
                <a:gd name="connsiteY1" fmla="*/ 10096 h 10096"/>
                <a:gd name="connsiteX2" fmla="*/ 10000 w 10000"/>
                <a:gd name="connsiteY2" fmla="*/ 4101 h 10096"/>
                <a:gd name="connsiteX3" fmla="*/ 10000 w 10000"/>
                <a:gd name="connsiteY3" fmla="*/ 0 h 10096"/>
                <a:gd name="connsiteX4" fmla="*/ 0 w 10000"/>
                <a:gd name="connsiteY4" fmla="*/ 6177 h 10096"/>
                <a:gd name="connsiteX5" fmla="*/ 0 w 10000"/>
                <a:gd name="connsiteY5" fmla="*/ 10096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96">
                  <a:moveTo>
                    <a:pt x="0" y="10096"/>
                  </a:moveTo>
                  <a:lnTo>
                    <a:pt x="0" y="10096"/>
                  </a:lnTo>
                  <a:lnTo>
                    <a:pt x="10000" y="4101"/>
                  </a:lnTo>
                  <a:lnTo>
                    <a:pt x="10000" y="0"/>
                  </a:lnTo>
                  <a:lnTo>
                    <a:pt x="0" y="6177"/>
                  </a:lnTo>
                  <a:lnTo>
                    <a:pt x="0" y="10096"/>
                  </a:lnTo>
                  <a:close/>
                </a:path>
              </a:pathLst>
            </a:custGeom>
            <a:solidFill>
              <a:srgbClr val="7B7B7B"/>
            </a:solidFill>
            <a:ln w="19050">
              <a:solidFill>
                <a:srgbClr val="7B7B7B"/>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0" name="Freeform 144"/>
            <p:cNvSpPr>
              <a:spLocks/>
            </p:cNvSpPr>
            <p:nvPr userDrawn="1"/>
          </p:nvSpPr>
          <p:spPr bwMode="auto">
            <a:xfrm>
              <a:off x="6091238" y="-3529013"/>
              <a:ext cx="549275" cy="657225"/>
            </a:xfrm>
            <a:custGeom>
              <a:avLst/>
              <a:gdLst>
                <a:gd name="T0" fmla="*/ 339 w 339"/>
                <a:gd name="T1" fmla="*/ 407 h 407"/>
                <a:gd name="T2" fmla="*/ 339 w 339"/>
                <a:gd name="T3" fmla="*/ 75 h 407"/>
                <a:gd name="T4" fmla="*/ 339 w 339"/>
                <a:gd name="T5" fmla="*/ 75 h 407"/>
                <a:gd name="T6" fmla="*/ 210 w 339"/>
                <a:gd name="T7" fmla="*/ 0 h 407"/>
                <a:gd name="T8" fmla="*/ 0 w 339"/>
                <a:gd name="T9" fmla="*/ 212 h 407"/>
                <a:gd name="T10" fmla="*/ 339 w 339"/>
                <a:gd name="T11" fmla="*/ 407 h 407"/>
              </a:gdLst>
              <a:ahLst/>
              <a:cxnLst>
                <a:cxn ang="0">
                  <a:pos x="T0" y="T1"/>
                </a:cxn>
                <a:cxn ang="0">
                  <a:pos x="T2" y="T3"/>
                </a:cxn>
                <a:cxn ang="0">
                  <a:pos x="T4" y="T5"/>
                </a:cxn>
                <a:cxn ang="0">
                  <a:pos x="T6" y="T7"/>
                </a:cxn>
                <a:cxn ang="0">
                  <a:pos x="T8" y="T9"/>
                </a:cxn>
                <a:cxn ang="0">
                  <a:pos x="T10" y="T11"/>
                </a:cxn>
              </a:cxnLst>
              <a:rect l="0" t="0" r="r" b="b"/>
              <a:pathLst>
                <a:path w="339" h="407">
                  <a:moveTo>
                    <a:pt x="339" y="407"/>
                  </a:moveTo>
                  <a:cubicBezTo>
                    <a:pt x="339" y="75"/>
                    <a:pt x="339" y="75"/>
                    <a:pt x="339" y="75"/>
                  </a:cubicBezTo>
                  <a:cubicBezTo>
                    <a:pt x="339" y="75"/>
                    <a:pt x="339" y="75"/>
                    <a:pt x="339" y="75"/>
                  </a:cubicBezTo>
                  <a:cubicBezTo>
                    <a:pt x="210" y="0"/>
                    <a:pt x="210" y="0"/>
                    <a:pt x="210" y="0"/>
                  </a:cubicBezTo>
                  <a:cubicBezTo>
                    <a:pt x="111" y="61"/>
                    <a:pt x="18" y="187"/>
                    <a:pt x="0" y="212"/>
                  </a:cubicBezTo>
                  <a:cubicBezTo>
                    <a:pt x="339" y="407"/>
                    <a:pt x="339" y="407"/>
                    <a:pt x="339" y="40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1" name="Freeform 145"/>
            <p:cNvSpPr>
              <a:spLocks/>
            </p:cNvSpPr>
            <p:nvPr userDrawn="1"/>
          </p:nvSpPr>
          <p:spPr bwMode="auto">
            <a:xfrm>
              <a:off x="6083300" y="-3189288"/>
              <a:ext cx="7938" cy="11113"/>
            </a:xfrm>
            <a:custGeom>
              <a:avLst/>
              <a:gdLst>
                <a:gd name="T0" fmla="*/ 5 w 5"/>
                <a:gd name="T1" fmla="*/ 1 h 6"/>
                <a:gd name="T2" fmla="*/ 4 w 5"/>
                <a:gd name="T3" fmla="*/ 0 h 6"/>
                <a:gd name="T4" fmla="*/ 5 w 5"/>
                <a:gd name="T5" fmla="*/ 1 h 6"/>
              </a:gdLst>
              <a:ahLst/>
              <a:cxnLst>
                <a:cxn ang="0">
                  <a:pos x="T0" y="T1"/>
                </a:cxn>
                <a:cxn ang="0">
                  <a:pos x="T2" y="T3"/>
                </a:cxn>
                <a:cxn ang="0">
                  <a:pos x="T4" y="T5"/>
                </a:cxn>
              </a:cxnLst>
              <a:rect l="0" t="0" r="r" b="b"/>
              <a:pathLst>
                <a:path w="5" h="6">
                  <a:moveTo>
                    <a:pt x="5" y="1"/>
                  </a:moveTo>
                  <a:cubicBezTo>
                    <a:pt x="4" y="0"/>
                    <a:pt x="4" y="0"/>
                    <a:pt x="4" y="0"/>
                  </a:cubicBezTo>
                  <a:cubicBezTo>
                    <a:pt x="0" y="6"/>
                    <a:pt x="1" y="6"/>
                    <a:pt x="5"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2" name="Freeform 146"/>
            <p:cNvSpPr>
              <a:spLocks/>
            </p:cNvSpPr>
            <p:nvPr userDrawn="1"/>
          </p:nvSpPr>
          <p:spPr bwMode="auto">
            <a:xfrm>
              <a:off x="3657600" y="-3146425"/>
              <a:ext cx="4872038" cy="1436688"/>
            </a:xfrm>
            <a:custGeom>
              <a:avLst/>
              <a:gdLst>
                <a:gd name="T0" fmla="*/ 2686 w 3008"/>
                <a:gd name="T1" fmla="*/ 249 h 888"/>
                <a:gd name="T2" fmla="*/ 2634 w 3008"/>
                <a:gd name="T3" fmla="*/ 249 h 888"/>
                <a:gd name="T4" fmla="*/ 2590 w 3008"/>
                <a:gd name="T5" fmla="*/ 49 h 888"/>
                <a:gd name="T6" fmla="*/ 1842 w 3008"/>
                <a:gd name="T7" fmla="*/ 486 h 888"/>
                <a:gd name="T8" fmla="*/ 1842 w 3008"/>
                <a:gd name="T9" fmla="*/ 483 h 888"/>
                <a:gd name="T10" fmla="*/ 1842 w 3008"/>
                <a:gd name="T11" fmla="*/ 483 h 888"/>
                <a:gd name="T12" fmla="*/ 1013 w 3008"/>
                <a:gd name="T13" fmla="*/ 5 h 888"/>
                <a:gd name="T14" fmla="*/ 1013 w 3008"/>
                <a:gd name="T15" fmla="*/ 0 h 888"/>
                <a:gd name="T16" fmla="*/ 1012 w 3008"/>
                <a:gd name="T17" fmla="*/ 0 h 888"/>
                <a:gd name="T18" fmla="*/ 666 w 3008"/>
                <a:gd name="T19" fmla="*/ 397 h 888"/>
                <a:gd name="T20" fmla="*/ 456 w 3008"/>
                <a:gd name="T21" fmla="*/ 494 h 888"/>
                <a:gd name="T22" fmla="*/ 254 w 3008"/>
                <a:gd name="T23" fmla="*/ 390 h 888"/>
                <a:gd name="T24" fmla="*/ 0 w 3008"/>
                <a:gd name="T25" fmla="*/ 635 h 888"/>
                <a:gd name="T26" fmla="*/ 254 w 3008"/>
                <a:gd name="T27" fmla="*/ 888 h 888"/>
                <a:gd name="T28" fmla="*/ 321 w 3008"/>
                <a:gd name="T29" fmla="*/ 888 h 888"/>
                <a:gd name="T30" fmla="*/ 1145 w 3008"/>
                <a:gd name="T31" fmla="*/ 888 h 888"/>
                <a:gd name="T32" fmla="*/ 1601 w 3008"/>
                <a:gd name="T33" fmla="*/ 888 h 888"/>
                <a:gd name="T34" fmla="*/ 2709 w 3008"/>
                <a:gd name="T35" fmla="*/ 888 h 888"/>
                <a:gd name="T36" fmla="*/ 3008 w 3008"/>
                <a:gd name="T37" fmla="*/ 568 h 888"/>
                <a:gd name="T38" fmla="*/ 2686 w 3008"/>
                <a:gd name="T39" fmla="*/ 24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8" h="888">
                  <a:moveTo>
                    <a:pt x="2686" y="249"/>
                  </a:moveTo>
                  <a:cubicBezTo>
                    <a:pt x="2671" y="249"/>
                    <a:pt x="2656" y="249"/>
                    <a:pt x="2634" y="249"/>
                  </a:cubicBezTo>
                  <a:cubicBezTo>
                    <a:pt x="2631" y="178"/>
                    <a:pt x="2615" y="111"/>
                    <a:pt x="2590" y="49"/>
                  </a:cubicBezTo>
                  <a:cubicBezTo>
                    <a:pt x="1842" y="486"/>
                    <a:pt x="1842" y="486"/>
                    <a:pt x="1842" y="486"/>
                  </a:cubicBezTo>
                  <a:cubicBezTo>
                    <a:pt x="1842" y="483"/>
                    <a:pt x="1842" y="483"/>
                    <a:pt x="1842" y="483"/>
                  </a:cubicBezTo>
                  <a:cubicBezTo>
                    <a:pt x="1842" y="483"/>
                    <a:pt x="1842" y="483"/>
                    <a:pt x="1842" y="483"/>
                  </a:cubicBezTo>
                  <a:cubicBezTo>
                    <a:pt x="1013" y="5"/>
                    <a:pt x="1013" y="5"/>
                    <a:pt x="1013" y="5"/>
                  </a:cubicBezTo>
                  <a:cubicBezTo>
                    <a:pt x="1013" y="0"/>
                    <a:pt x="1013" y="0"/>
                    <a:pt x="1013" y="0"/>
                  </a:cubicBezTo>
                  <a:cubicBezTo>
                    <a:pt x="1012" y="0"/>
                    <a:pt x="1012" y="0"/>
                    <a:pt x="1012" y="0"/>
                  </a:cubicBezTo>
                  <a:cubicBezTo>
                    <a:pt x="827" y="44"/>
                    <a:pt x="685" y="202"/>
                    <a:pt x="666" y="397"/>
                  </a:cubicBezTo>
                  <a:cubicBezTo>
                    <a:pt x="591" y="405"/>
                    <a:pt x="516" y="442"/>
                    <a:pt x="456" y="494"/>
                  </a:cubicBezTo>
                  <a:cubicBezTo>
                    <a:pt x="411" y="427"/>
                    <a:pt x="336" y="390"/>
                    <a:pt x="254" y="390"/>
                  </a:cubicBezTo>
                  <a:cubicBezTo>
                    <a:pt x="112" y="390"/>
                    <a:pt x="0" y="501"/>
                    <a:pt x="0" y="635"/>
                  </a:cubicBezTo>
                  <a:cubicBezTo>
                    <a:pt x="0" y="776"/>
                    <a:pt x="112" y="888"/>
                    <a:pt x="254" y="888"/>
                  </a:cubicBezTo>
                  <a:cubicBezTo>
                    <a:pt x="321" y="888"/>
                    <a:pt x="321" y="888"/>
                    <a:pt x="321" y="888"/>
                  </a:cubicBezTo>
                  <a:cubicBezTo>
                    <a:pt x="1145" y="888"/>
                    <a:pt x="1145" y="888"/>
                    <a:pt x="1145" y="888"/>
                  </a:cubicBezTo>
                  <a:cubicBezTo>
                    <a:pt x="1601" y="888"/>
                    <a:pt x="1601" y="888"/>
                    <a:pt x="1601" y="888"/>
                  </a:cubicBezTo>
                  <a:cubicBezTo>
                    <a:pt x="2709" y="888"/>
                    <a:pt x="2709" y="888"/>
                    <a:pt x="2709" y="888"/>
                  </a:cubicBezTo>
                  <a:cubicBezTo>
                    <a:pt x="2873" y="873"/>
                    <a:pt x="3008" y="739"/>
                    <a:pt x="3008" y="568"/>
                  </a:cubicBezTo>
                  <a:cubicBezTo>
                    <a:pt x="3008" y="390"/>
                    <a:pt x="2866" y="249"/>
                    <a:pt x="2686" y="249"/>
                  </a:cubicBezTo>
                  <a:close/>
                </a:path>
              </a:pathLst>
            </a:custGeom>
            <a:solidFill>
              <a:srgbClr val="FFFFFF"/>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93" name="Group 92"/>
          <p:cNvGrpSpPr/>
          <p:nvPr userDrawn="1"/>
        </p:nvGrpSpPr>
        <p:grpSpPr>
          <a:xfrm>
            <a:off x="8232775" y="6223000"/>
            <a:ext cx="454025" cy="703262"/>
            <a:chOff x="7259638" y="4756151"/>
            <a:chExt cx="454025" cy="703262"/>
          </a:xfrm>
        </p:grpSpPr>
        <p:sp>
          <p:nvSpPr>
            <p:cNvPr id="94" name="Freeform 10"/>
            <p:cNvSpPr>
              <a:spLocks/>
            </p:cNvSpPr>
            <p:nvPr userDrawn="1"/>
          </p:nvSpPr>
          <p:spPr bwMode="auto">
            <a:xfrm>
              <a:off x="7410450" y="4933951"/>
              <a:ext cx="152400" cy="87313"/>
            </a:xfrm>
            <a:custGeom>
              <a:avLst/>
              <a:gdLst>
                <a:gd name="T0" fmla="*/ 96 w 96"/>
                <a:gd name="T1" fmla="*/ 27 h 55"/>
                <a:gd name="T2" fmla="*/ 47 w 96"/>
                <a:gd name="T3" fmla="*/ 0 h 55"/>
                <a:gd name="T4" fmla="*/ 0 w 96"/>
                <a:gd name="T5" fmla="*/ 27 h 55"/>
                <a:gd name="T6" fmla="*/ 48 w 96"/>
                <a:gd name="T7" fmla="*/ 55 h 55"/>
                <a:gd name="T8" fmla="*/ 96 w 96"/>
                <a:gd name="T9" fmla="*/ 27 h 55"/>
              </a:gdLst>
              <a:ahLst/>
              <a:cxnLst>
                <a:cxn ang="0">
                  <a:pos x="T0" y="T1"/>
                </a:cxn>
                <a:cxn ang="0">
                  <a:pos x="T2" y="T3"/>
                </a:cxn>
                <a:cxn ang="0">
                  <a:pos x="T4" y="T5"/>
                </a:cxn>
                <a:cxn ang="0">
                  <a:pos x="T6" y="T7"/>
                </a:cxn>
                <a:cxn ang="0">
                  <a:pos x="T8" y="T9"/>
                </a:cxn>
              </a:cxnLst>
              <a:rect l="0" t="0" r="r" b="b"/>
              <a:pathLst>
                <a:path w="96" h="55">
                  <a:moveTo>
                    <a:pt x="96" y="27"/>
                  </a:moveTo>
                  <a:lnTo>
                    <a:pt x="47" y="0"/>
                  </a:lnTo>
                  <a:lnTo>
                    <a:pt x="0" y="27"/>
                  </a:lnTo>
                  <a:lnTo>
                    <a:pt x="48" y="55"/>
                  </a:lnTo>
                  <a:lnTo>
                    <a:pt x="96"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11"/>
            <p:cNvSpPr>
              <a:spLocks/>
            </p:cNvSpPr>
            <p:nvPr userDrawn="1"/>
          </p:nvSpPr>
          <p:spPr bwMode="auto">
            <a:xfrm>
              <a:off x="7486650" y="4887913"/>
              <a:ext cx="227013" cy="307975"/>
            </a:xfrm>
            <a:custGeom>
              <a:avLst/>
              <a:gdLst>
                <a:gd name="T0" fmla="*/ 0 w 143"/>
                <a:gd name="T1" fmla="*/ 194 h 194"/>
                <a:gd name="T2" fmla="*/ 143 w 143"/>
                <a:gd name="T3" fmla="*/ 110 h 194"/>
                <a:gd name="T4" fmla="*/ 143 w 143"/>
                <a:gd name="T5" fmla="*/ 0 h 194"/>
                <a:gd name="T6" fmla="*/ 0 w 143"/>
                <a:gd name="T7" fmla="*/ 84 h 194"/>
                <a:gd name="T8" fmla="*/ 0 w 143"/>
                <a:gd name="T9" fmla="*/ 194 h 194"/>
              </a:gdLst>
              <a:ahLst/>
              <a:cxnLst>
                <a:cxn ang="0">
                  <a:pos x="T0" y="T1"/>
                </a:cxn>
                <a:cxn ang="0">
                  <a:pos x="T2" y="T3"/>
                </a:cxn>
                <a:cxn ang="0">
                  <a:pos x="T4" y="T5"/>
                </a:cxn>
                <a:cxn ang="0">
                  <a:pos x="T6" y="T7"/>
                </a:cxn>
                <a:cxn ang="0">
                  <a:pos x="T8" y="T9"/>
                </a:cxn>
              </a:cxnLst>
              <a:rect l="0" t="0" r="r" b="b"/>
              <a:pathLst>
                <a:path w="143" h="194">
                  <a:moveTo>
                    <a:pt x="0" y="194"/>
                  </a:moveTo>
                  <a:lnTo>
                    <a:pt x="143" y="110"/>
                  </a:lnTo>
                  <a:lnTo>
                    <a:pt x="143" y="0"/>
                  </a:lnTo>
                  <a:lnTo>
                    <a:pt x="0" y="84"/>
                  </a:lnTo>
                  <a:lnTo>
                    <a:pt x="0" y="19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2"/>
            <p:cNvSpPr>
              <a:spLocks/>
            </p:cNvSpPr>
            <p:nvPr userDrawn="1"/>
          </p:nvSpPr>
          <p:spPr bwMode="auto">
            <a:xfrm>
              <a:off x="7332663" y="4930776"/>
              <a:ext cx="153988" cy="266700"/>
            </a:xfrm>
            <a:custGeom>
              <a:avLst/>
              <a:gdLst>
                <a:gd name="T0" fmla="*/ 97 w 97"/>
                <a:gd name="T1" fmla="*/ 168 h 168"/>
                <a:gd name="T2" fmla="*/ 0 w 97"/>
                <a:gd name="T3" fmla="*/ 112 h 168"/>
                <a:gd name="T4" fmla="*/ 0 w 97"/>
                <a:gd name="T5" fmla="*/ 0 h 168"/>
                <a:gd name="T6" fmla="*/ 97 w 97"/>
                <a:gd name="T7" fmla="*/ 57 h 168"/>
                <a:gd name="T8" fmla="*/ 97 w 97"/>
                <a:gd name="T9" fmla="*/ 168 h 168"/>
              </a:gdLst>
              <a:ahLst/>
              <a:cxnLst>
                <a:cxn ang="0">
                  <a:pos x="T0" y="T1"/>
                </a:cxn>
                <a:cxn ang="0">
                  <a:pos x="T2" y="T3"/>
                </a:cxn>
                <a:cxn ang="0">
                  <a:pos x="T4" y="T5"/>
                </a:cxn>
                <a:cxn ang="0">
                  <a:pos x="T6" y="T7"/>
                </a:cxn>
                <a:cxn ang="0">
                  <a:pos x="T8" y="T9"/>
                </a:cxn>
              </a:cxnLst>
              <a:rect l="0" t="0" r="r" b="b"/>
              <a:pathLst>
                <a:path w="97" h="168">
                  <a:moveTo>
                    <a:pt x="97" y="168"/>
                  </a:moveTo>
                  <a:lnTo>
                    <a:pt x="0" y="112"/>
                  </a:lnTo>
                  <a:lnTo>
                    <a:pt x="0" y="0"/>
                  </a:lnTo>
                  <a:lnTo>
                    <a:pt x="97" y="57"/>
                  </a:lnTo>
                  <a:lnTo>
                    <a:pt x="97" y="168"/>
                  </a:lnTo>
                  <a:close/>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3"/>
            <p:cNvSpPr>
              <a:spLocks/>
            </p:cNvSpPr>
            <p:nvPr userDrawn="1"/>
          </p:nvSpPr>
          <p:spPr bwMode="auto">
            <a:xfrm>
              <a:off x="7259638" y="5149851"/>
              <a:ext cx="133350" cy="209550"/>
            </a:xfrm>
            <a:custGeom>
              <a:avLst/>
              <a:gdLst>
                <a:gd name="T0" fmla="*/ 45 w 82"/>
                <a:gd name="T1" fmla="*/ 27 h 130"/>
                <a:gd name="T2" fmla="*/ 0 w 82"/>
                <a:gd name="T3" fmla="*/ 0 h 130"/>
                <a:gd name="T4" fmla="*/ 0 w 82"/>
                <a:gd name="T5" fmla="*/ 109 h 130"/>
                <a:gd name="T6" fmla="*/ 17 w 82"/>
                <a:gd name="T7" fmla="*/ 107 h 130"/>
                <a:gd name="T8" fmla="*/ 71 w 82"/>
                <a:gd name="T9" fmla="*/ 130 h 130"/>
                <a:gd name="T10" fmla="*/ 82 w 82"/>
                <a:gd name="T11" fmla="*/ 105 h 130"/>
                <a:gd name="T12" fmla="*/ 45 w 82"/>
                <a:gd name="T13" fmla="*/ 83 h 130"/>
                <a:gd name="T14" fmla="*/ 45 w 82"/>
                <a:gd name="T15" fmla="*/ 27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0">
                  <a:moveTo>
                    <a:pt x="45" y="27"/>
                  </a:moveTo>
                  <a:cubicBezTo>
                    <a:pt x="0" y="0"/>
                    <a:pt x="0" y="0"/>
                    <a:pt x="0" y="0"/>
                  </a:cubicBezTo>
                  <a:cubicBezTo>
                    <a:pt x="0" y="109"/>
                    <a:pt x="0" y="109"/>
                    <a:pt x="0" y="109"/>
                  </a:cubicBezTo>
                  <a:cubicBezTo>
                    <a:pt x="5" y="108"/>
                    <a:pt x="11" y="107"/>
                    <a:pt x="17" y="107"/>
                  </a:cubicBezTo>
                  <a:cubicBezTo>
                    <a:pt x="38" y="107"/>
                    <a:pt x="57" y="116"/>
                    <a:pt x="71" y="130"/>
                  </a:cubicBezTo>
                  <a:cubicBezTo>
                    <a:pt x="74" y="121"/>
                    <a:pt x="78" y="112"/>
                    <a:pt x="82" y="105"/>
                  </a:cubicBezTo>
                  <a:cubicBezTo>
                    <a:pt x="45" y="83"/>
                    <a:pt x="45" y="83"/>
                    <a:pt x="45" y="83"/>
                  </a:cubicBezTo>
                  <a:lnTo>
                    <a:pt x="45" y="27"/>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14"/>
            <p:cNvSpPr>
              <a:spLocks/>
            </p:cNvSpPr>
            <p:nvPr userDrawn="1"/>
          </p:nvSpPr>
          <p:spPr bwMode="auto">
            <a:xfrm>
              <a:off x="7486650" y="5062538"/>
              <a:ext cx="227013" cy="217488"/>
            </a:xfrm>
            <a:custGeom>
              <a:avLst/>
              <a:gdLst>
                <a:gd name="T0" fmla="*/ 0 w 143"/>
                <a:gd name="T1" fmla="*/ 137 h 137"/>
                <a:gd name="T2" fmla="*/ 143 w 143"/>
                <a:gd name="T3" fmla="*/ 55 h 137"/>
                <a:gd name="T4" fmla="*/ 143 w 143"/>
                <a:gd name="T5" fmla="*/ 0 h 137"/>
                <a:gd name="T6" fmla="*/ 0 w 143"/>
                <a:gd name="T7" fmla="*/ 85 h 137"/>
                <a:gd name="T8" fmla="*/ 0 w 143"/>
                <a:gd name="T9" fmla="*/ 137 h 137"/>
              </a:gdLst>
              <a:ahLst/>
              <a:cxnLst>
                <a:cxn ang="0">
                  <a:pos x="T0" y="T1"/>
                </a:cxn>
                <a:cxn ang="0">
                  <a:pos x="T2" y="T3"/>
                </a:cxn>
                <a:cxn ang="0">
                  <a:pos x="T4" y="T5"/>
                </a:cxn>
                <a:cxn ang="0">
                  <a:pos x="T6" y="T7"/>
                </a:cxn>
                <a:cxn ang="0">
                  <a:pos x="T8" y="T9"/>
                </a:cxn>
              </a:cxnLst>
              <a:rect l="0" t="0" r="r" b="b"/>
              <a:pathLst>
                <a:path w="143" h="137">
                  <a:moveTo>
                    <a:pt x="0" y="137"/>
                  </a:moveTo>
                  <a:lnTo>
                    <a:pt x="143" y="55"/>
                  </a:lnTo>
                  <a:lnTo>
                    <a:pt x="143" y="0"/>
                  </a:lnTo>
                  <a:lnTo>
                    <a:pt x="0" y="85"/>
                  </a:lnTo>
                  <a:lnTo>
                    <a:pt x="0" y="137"/>
                  </a:lnTo>
                  <a:close/>
                </a:path>
              </a:pathLst>
            </a:custGeom>
            <a:solidFill>
              <a:srgbClr val="7B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5"/>
            <p:cNvSpPr>
              <a:spLocks/>
            </p:cNvSpPr>
            <p:nvPr userDrawn="1"/>
          </p:nvSpPr>
          <p:spPr bwMode="auto">
            <a:xfrm>
              <a:off x="7486650" y="5148263"/>
              <a:ext cx="227013" cy="311150"/>
            </a:xfrm>
            <a:custGeom>
              <a:avLst/>
              <a:gdLst>
                <a:gd name="T0" fmla="*/ 0 w 143"/>
                <a:gd name="T1" fmla="*/ 196 h 196"/>
                <a:gd name="T2" fmla="*/ 143 w 143"/>
                <a:gd name="T3" fmla="*/ 112 h 196"/>
                <a:gd name="T4" fmla="*/ 143 w 143"/>
                <a:gd name="T5" fmla="*/ 0 h 196"/>
                <a:gd name="T6" fmla="*/ 0 w 143"/>
                <a:gd name="T7" fmla="*/ 83 h 196"/>
                <a:gd name="T8" fmla="*/ 0 w 143"/>
                <a:gd name="T9" fmla="*/ 196 h 196"/>
              </a:gdLst>
              <a:ahLst/>
              <a:cxnLst>
                <a:cxn ang="0">
                  <a:pos x="T0" y="T1"/>
                </a:cxn>
                <a:cxn ang="0">
                  <a:pos x="T2" y="T3"/>
                </a:cxn>
                <a:cxn ang="0">
                  <a:pos x="T4" y="T5"/>
                </a:cxn>
                <a:cxn ang="0">
                  <a:pos x="T6" y="T7"/>
                </a:cxn>
                <a:cxn ang="0">
                  <a:pos x="T8" y="T9"/>
                </a:cxn>
              </a:cxnLst>
              <a:rect l="0" t="0" r="r" b="b"/>
              <a:pathLst>
                <a:path w="143" h="196">
                  <a:moveTo>
                    <a:pt x="0" y="196"/>
                  </a:moveTo>
                  <a:lnTo>
                    <a:pt x="143" y="112"/>
                  </a:lnTo>
                  <a:lnTo>
                    <a:pt x="143" y="0"/>
                  </a:lnTo>
                  <a:lnTo>
                    <a:pt x="0" y="83"/>
                  </a:lnTo>
                  <a:lnTo>
                    <a:pt x="0" y="19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6"/>
            <p:cNvSpPr>
              <a:spLocks/>
            </p:cNvSpPr>
            <p:nvPr userDrawn="1"/>
          </p:nvSpPr>
          <p:spPr bwMode="auto">
            <a:xfrm>
              <a:off x="7259638" y="5319713"/>
              <a:ext cx="227013" cy="139700"/>
            </a:xfrm>
            <a:custGeom>
              <a:avLst/>
              <a:gdLst>
                <a:gd name="T0" fmla="*/ 140 w 140"/>
                <a:gd name="T1" fmla="*/ 33 h 86"/>
                <a:gd name="T2" fmla="*/ 140 w 140"/>
                <a:gd name="T3" fmla="*/ 33 h 86"/>
                <a:gd name="T4" fmla="*/ 82 w 140"/>
                <a:gd name="T5" fmla="*/ 0 h 86"/>
                <a:gd name="T6" fmla="*/ 71 w 140"/>
                <a:gd name="T7" fmla="*/ 25 h 86"/>
                <a:gd name="T8" fmla="*/ 17 w 140"/>
                <a:gd name="T9" fmla="*/ 2 h 86"/>
                <a:gd name="T10" fmla="*/ 0 w 140"/>
                <a:gd name="T11" fmla="*/ 4 h 86"/>
                <a:gd name="T12" fmla="*/ 0 w 140"/>
                <a:gd name="T13" fmla="*/ 5 h 86"/>
                <a:gd name="T14" fmla="*/ 140 w 140"/>
                <a:gd name="T15" fmla="*/ 86 h 86"/>
                <a:gd name="T16" fmla="*/ 140 w 140"/>
                <a:gd name="T17" fmla="*/ 86 h 86"/>
                <a:gd name="T18" fmla="*/ 140 w 140"/>
                <a:gd name="T19" fmla="*/ 3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86">
                  <a:moveTo>
                    <a:pt x="140" y="33"/>
                  </a:moveTo>
                  <a:cubicBezTo>
                    <a:pt x="140" y="33"/>
                    <a:pt x="140" y="33"/>
                    <a:pt x="140" y="33"/>
                  </a:cubicBezTo>
                  <a:cubicBezTo>
                    <a:pt x="82" y="0"/>
                    <a:pt x="82" y="0"/>
                    <a:pt x="82" y="0"/>
                  </a:cubicBezTo>
                  <a:cubicBezTo>
                    <a:pt x="78" y="7"/>
                    <a:pt x="74" y="16"/>
                    <a:pt x="71" y="25"/>
                  </a:cubicBezTo>
                  <a:cubicBezTo>
                    <a:pt x="57" y="11"/>
                    <a:pt x="38" y="2"/>
                    <a:pt x="17" y="2"/>
                  </a:cubicBezTo>
                  <a:cubicBezTo>
                    <a:pt x="11" y="2"/>
                    <a:pt x="5" y="3"/>
                    <a:pt x="0" y="4"/>
                  </a:cubicBezTo>
                  <a:cubicBezTo>
                    <a:pt x="0" y="5"/>
                    <a:pt x="0" y="5"/>
                    <a:pt x="0" y="5"/>
                  </a:cubicBezTo>
                  <a:cubicBezTo>
                    <a:pt x="140" y="86"/>
                    <a:pt x="140" y="86"/>
                    <a:pt x="140" y="86"/>
                  </a:cubicBezTo>
                  <a:cubicBezTo>
                    <a:pt x="140" y="86"/>
                    <a:pt x="140" y="86"/>
                    <a:pt x="140" y="86"/>
                  </a:cubicBezTo>
                  <a:lnTo>
                    <a:pt x="140" y="33"/>
                  </a:lnTo>
                  <a:close/>
                </a:path>
              </a:pathLst>
            </a:custGeom>
            <a:solidFill>
              <a:srgbClr val="A0E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7"/>
            <p:cNvSpPr>
              <a:spLocks/>
            </p:cNvSpPr>
            <p:nvPr userDrawn="1"/>
          </p:nvSpPr>
          <p:spPr bwMode="auto">
            <a:xfrm>
              <a:off x="7259638" y="4756151"/>
              <a:ext cx="454025" cy="523875"/>
            </a:xfrm>
            <a:custGeom>
              <a:avLst/>
              <a:gdLst>
                <a:gd name="T0" fmla="*/ 143 w 286"/>
                <a:gd name="T1" fmla="*/ 277 h 330"/>
                <a:gd name="T2" fmla="*/ 143 w 286"/>
                <a:gd name="T3" fmla="*/ 277 h 330"/>
                <a:gd name="T4" fmla="*/ 46 w 286"/>
                <a:gd name="T5" fmla="*/ 222 h 330"/>
                <a:gd name="T6" fmla="*/ 46 w 286"/>
                <a:gd name="T7" fmla="*/ 110 h 330"/>
                <a:gd name="T8" fmla="*/ 143 w 286"/>
                <a:gd name="T9" fmla="*/ 54 h 330"/>
                <a:gd name="T10" fmla="*/ 239 w 286"/>
                <a:gd name="T11" fmla="*/ 110 h 330"/>
                <a:gd name="T12" fmla="*/ 239 w 286"/>
                <a:gd name="T13" fmla="*/ 110 h 330"/>
                <a:gd name="T14" fmla="*/ 286 w 286"/>
                <a:gd name="T15" fmla="*/ 83 h 330"/>
                <a:gd name="T16" fmla="*/ 143 w 286"/>
                <a:gd name="T17" fmla="*/ 0 h 330"/>
                <a:gd name="T18" fmla="*/ 0 w 286"/>
                <a:gd name="T19" fmla="*/ 83 h 330"/>
                <a:gd name="T20" fmla="*/ 0 w 286"/>
                <a:gd name="T21" fmla="*/ 248 h 330"/>
                <a:gd name="T22" fmla="*/ 143 w 286"/>
                <a:gd name="T23" fmla="*/ 330 h 330"/>
                <a:gd name="T24" fmla="*/ 143 w 286"/>
                <a:gd name="T25" fmla="*/ 330 h 330"/>
                <a:gd name="T26" fmla="*/ 143 w 286"/>
                <a:gd name="T27" fmla="*/ 2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0">
                  <a:moveTo>
                    <a:pt x="143" y="277"/>
                  </a:moveTo>
                  <a:lnTo>
                    <a:pt x="143" y="277"/>
                  </a:lnTo>
                  <a:lnTo>
                    <a:pt x="46" y="222"/>
                  </a:lnTo>
                  <a:lnTo>
                    <a:pt x="46" y="110"/>
                  </a:lnTo>
                  <a:lnTo>
                    <a:pt x="143" y="54"/>
                  </a:lnTo>
                  <a:lnTo>
                    <a:pt x="239" y="110"/>
                  </a:lnTo>
                  <a:lnTo>
                    <a:pt x="239" y="110"/>
                  </a:lnTo>
                  <a:lnTo>
                    <a:pt x="286" y="83"/>
                  </a:lnTo>
                  <a:lnTo>
                    <a:pt x="143" y="0"/>
                  </a:lnTo>
                  <a:lnTo>
                    <a:pt x="0" y="83"/>
                  </a:lnTo>
                  <a:lnTo>
                    <a:pt x="0" y="248"/>
                  </a:lnTo>
                  <a:lnTo>
                    <a:pt x="143" y="330"/>
                  </a:lnTo>
                  <a:lnTo>
                    <a:pt x="143" y="330"/>
                  </a:lnTo>
                  <a:lnTo>
                    <a:pt x="143" y="2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859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anim calcmode="lin" valueType="num">
                                      <p:cBhvr>
                                        <p:cTn id="8" dur="500" fill="hold"/>
                                        <p:tgtEl>
                                          <p:spTgt spid="77"/>
                                        </p:tgtEl>
                                        <p:attrNameLst>
                                          <p:attrName>ppt_x</p:attrName>
                                        </p:attrNameLst>
                                      </p:cBhvr>
                                      <p:tavLst>
                                        <p:tav tm="0">
                                          <p:val>
                                            <p:strVal val="#ppt_x"/>
                                          </p:val>
                                        </p:tav>
                                        <p:tav tm="100000">
                                          <p:val>
                                            <p:strVal val="#ppt_x"/>
                                          </p:val>
                                        </p:tav>
                                      </p:tavLst>
                                    </p:anim>
                                    <p:anim calcmode="lin" valueType="num">
                                      <p:cBhvr>
                                        <p:cTn id="9" dur="500" fill="hold"/>
                                        <p:tgtEl>
                                          <p:spTgt spid="77"/>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00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250"/>
                                        <p:tgtEl>
                                          <p:spTgt spid="76"/>
                                        </p:tgtEl>
                                      </p:cBhvr>
                                    </p:animEffect>
                                  </p:childTnLst>
                                </p:cTn>
                              </p:par>
                              <p:par>
                                <p:cTn id="13" presetID="42" presetClass="path" presetSubtype="0" accel="50000" decel="50000" fill="hold" grpId="1" nodeType="withEffect">
                                  <p:stCondLst>
                                    <p:cond delay="750"/>
                                  </p:stCondLst>
                                  <p:childTnLst>
                                    <p:animMotion origin="layout" path="M -3.2193E-6 -4.82524E-6 L -0.10326 -4.82524E-6 " pathEditMode="relative" rAng="0" ptsTypes="AA">
                                      <p:cBhvr>
                                        <p:cTn id="14" dur="1250" fill="hold"/>
                                        <p:tgtEl>
                                          <p:spTgt spid="76"/>
                                        </p:tgtEl>
                                        <p:attrNameLst>
                                          <p:attrName>ppt_x</p:attrName>
                                          <p:attrName>ppt_y</p:attrName>
                                        </p:attrNameLst>
                                      </p:cBhvr>
                                      <p:rCtr x="-5170" y="0"/>
                                    </p:animMotion>
                                  </p:childTnLst>
                                </p:cTn>
                              </p:par>
                              <p:par>
                                <p:cTn id="15" presetID="10" presetClass="entr" presetSubtype="0" fill="hold" nodeType="withEffect">
                                  <p:stCondLst>
                                    <p:cond delay="100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100"/>
                                        <p:tgtEl>
                                          <p:spTgt spid="58"/>
                                        </p:tgtEl>
                                      </p:cBhvr>
                                    </p:animEffect>
                                  </p:childTnLst>
                                </p:cTn>
                              </p:par>
                              <p:par>
                                <p:cTn id="18" presetID="42" presetClass="path" presetSubtype="0" accel="50000" decel="50000" fill="hold" nodeType="withEffect">
                                  <p:stCondLst>
                                    <p:cond delay="750"/>
                                  </p:stCondLst>
                                  <p:childTnLst>
                                    <p:animMotion origin="layout" path="M 1.99132E-7 -9.30549E-7 L -0.00064 -0.20608 " pathEditMode="relative" rAng="0" ptsTypes="AA">
                                      <p:cBhvr>
                                        <p:cTn id="19" dur="750" fill="hold"/>
                                        <p:tgtEl>
                                          <p:spTgt spid="58"/>
                                        </p:tgtEl>
                                        <p:attrNameLst>
                                          <p:attrName>ppt_x</p:attrName>
                                          <p:attrName>ppt_y</p:attrName>
                                        </p:attrNameLst>
                                      </p:cBhvr>
                                      <p:rCtr x="-38" y="-10304"/>
                                    </p:animMotion>
                                  </p:childTnLst>
                                </p:cTn>
                              </p:par>
                              <p:par>
                                <p:cTn id="20" presetID="10" presetClass="entr" presetSubtype="0" fill="hold" nodeType="withEffect">
                                  <p:stCondLst>
                                    <p:cond delay="125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100"/>
                                        <p:tgtEl>
                                          <p:spTgt spid="93"/>
                                        </p:tgtEl>
                                      </p:cBhvr>
                                    </p:animEffect>
                                  </p:childTnLst>
                                </p:cTn>
                              </p:par>
                              <p:par>
                                <p:cTn id="23" presetID="42" presetClass="path" presetSubtype="0" accel="50000" decel="50000" fill="hold" nodeType="withEffect">
                                  <p:stCondLst>
                                    <p:cond delay="1000"/>
                                  </p:stCondLst>
                                  <p:childTnLst>
                                    <p:animMotion origin="layout" path="M 2.04238E-8 -4.74353E-6 L -0.00064 -0.20608 " pathEditMode="relative" rAng="0" ptsTypes="AA">
                                      <p:cBhvr>
                                        <p:cTn id="24" dur="750" fill="hold"/>
                                        <p:tgtEl>
                                          <p:spTgt spid="93"/>
                                        </p:tgtEl>
                                        <p:attrNameLst>
                                          <p:attrName>ppt_x</p:attrName>
                                          <p:attrName>ppt_y</p:attrName>
                                        </p:attrNameLst>
                                      </p:cBhvr>
                                      <p:rCtr x="-38" y="-10304"/>
                                    </p:animMotion>
                                  </p:childTnLst>
                                </p:cTn>
                              </p:par>
                              <p:par>
                                <p:cTn id="25" presetID="10" presetClass="entr" presetSubtype="0" fill="hold" nodeType="withEffect">
                                  <p:stCondLst>
                                    <p:cond delay="150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
                                        <p:tgtEl>
                                          <p:spTgt spid="67"/>
                                        </p:tgtEl>
                                      </p:cBhvr>
                                    </p:animEffect>
                                  </p:childTnLst>
                                </p:cTn>
                              </p:par>
                              <p:par>
                                <p:cTn id="28" presetID="42" presetClass="path" presetSubtype="0" accel="50000" decel="50000" fill="hold" nodeType="withEffect">
                                  <p:stCondLst>
                                    <p:cond delay="1250"/>
                                  </p:stCondLst>
                                  <p:childTnLst>
                                    <p:animMotion origin="layout" path="M -7.1228E-7 -4.95234E-6 L 0.00498 -0.21402 " pathEditMode="relative" rAng="0" ptsTypes="AA">
                                      <p:cBhvr>
                                        <p:cTn id="29" dur="750" fill="hold"/>
                                        <p:tgtEl>
                                          <p:spTgt spid="67"/>
                                        </p:tgtEl>
                                        <p:attrNameLst>
                                          <p:attrName>ppt_x</p:attrName>
                                          <p:attrName>ppt_y</p:attrName>
                                        </p:attrNameLst>
                                      </p:cBhvr>
                                      <p:rCtr x="243" y="-10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6" grpId="1" animBg="1"/>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Slide - ANIMATED">
    <p:bg>
      <p:bgPr>
        <a:solidFill>
          <a:srgbClr val="0086AC"/>
        </a:solidFill>
        <a:effectLst/>
      </p:bgPr>
    </p:bg>
    <p:spTree>
      <p:nvGrpSpPr>
        <p:cNvPr id="1" name=""/>
        <p:cNvGrpSpPr/>
        <p:nvPr/>
      </p:nvGrpSpPr>
      <p:grpSpPr>
        <a:xfrm>
          <a:off x="0" y="0"/>
          <a:ext cx="0" cy="0"/>
          <a:chOff x="0" y="0"/>
          <a:chExt cx="0" cy="0"/>
        </a:xfrm>
      </p:grpSpPr>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43286" y="6696086"/>
            <a:ext cx="354990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3"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
        <p:nvSpPr>
          <p:cNvPr id="12"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9" name="Title 1"/>
          <p:cNvSpPr>
            <a:spLocks noGrp="1"/>
          </p:cNvSpPr>
          <p:nvPr>
            <p:ph type="title" hasCustomPrompt="1"/>
          </p:nvPr>
        </p:nvSpPr>
        <p:spPr>
          <a:xfrm>
            <a:off x="274702" y="2125678"/>
            <a:ext cx="5839241"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584837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2" name="Group 1"/>
          <p:cNvGrpSpPr/>
          <p:nvPr userDrawn="1"/>
        </p:nvGrpSpPr>
        <p:grpSpPr>
          <a:xfrm>
            <a:off x="5813395" y="124441"/>
            <a:ext cx="6245593" cy="7209808"/>
            <a:chOff x="5813395" y="124441"/>
            <a:chExt cx="6245593" cy="7209808"/>
          </a:xfrm>
        </p:grpSpPr>
        <p:pic>
          <p:nvPicPr>
            <p:cNvPr id="889" name="Picture 888"/>
            <p:cNvPicPr>
              <a:picLocks noChangeAspect="1"/>
            </p:cNvPicPr>
            <p:nvPr userDrawn="1"/>
          </p:nvPicPr>
          <p:blipFill>
            <a:blip r:embed="rId3">
              <a:lum bright="70000" contrast="-70000"/>
            </a:blip>
            <a:stretch>
              <a:fillRect/>
            </a:stretch>
          </p:blipFill>
          <p:spPr>
            <a:xfrm>
              <a:off x="6647005" y="2354262"/>
              <a:ext cx="1489168" cy="693233"/>
            </a:xfrm>
            <a:prstGeom prst="rect">
              <a:avLst/>
            </a:prstGeom>
          </p:spPr>
        </p:pic>
        <p:pic>
          <p:nvPicPr>
            <p:cNvPr id="888" name="Picture 887"/>
            <p:cNvPicPr>
              <a:picLocks noChangeAspect="1"/>
            </p:cNvPicPr>
            <p:nvPr userDrawn="1"/>
          </p:nvPicPr>
          <p:blipFill>
            <a:blip r:embed="rId3">
              <a:lum bright="70000" contrast="-70000"/>
            </a:blip>
            <a:stretch>
              <a:fillRect/>
            </a:stretch>
          </p:blipFill>
          <p:spPr>
            <a:xfrm>
              <a:off x="9191017" y="2724150"/>
              <a:ext cx="2867971" cy="1335090"/>
            </a:xfrm>
            <a:prstGeom prst="rect">
              <a:avLst/>
            </a:prstGeom>
          </p:spPr>
        </p:pic>
        <p:pic>
          <p:nvPicPr>
            <p:cNvPr id="883" name="Picture 882"/>
            <p:cNvPicPr>
              <a:picLocks noChangeAspect="1"/>
            </p:cNvPicPr>
            <p:nvPr/>
          </p:nvPicPr>
          <p:blipFill>
            <a:blip r:embed="rId4"/>
            <a:stretch>
              <a:fillRect/>
            </a:stretch>
          </p:blipFill>
          <p:spPr>
            <a:xfrm>
              <a:off x="6133373" y="124441"/>
              <a:ext cx="3035177" cy="4104659"/>
            </a:xfrm>
            <a:prstGeom prst="rect">
              <a:avLst/>
            </a:prstGeom>
          </p:spPr>
        </p:pic>
        <p:pic>
          <p:nvPicPr>
            <p:cNvPr id="884" name="Picture 883"/>
            <p:cNvPicPr>
              <a:picLocks noChangeAspect="1"/>
            </p:cNvPicPr>
            <p:nvPr/>
          </p:nvPicPr>
          <p:blipFill>
            <a:blip r:embed="rId5"/>
            <a:stretch>
              <a:fillRect/>
            </a:stretch>
          </p:blipFill>
          <p:spPr>
            <a:xfrm>
              <a:off x="8198644" y="1001712"/>
              <a:ext cx="3079149" cy="4083737"/>
            </a:xfrm>
            <a:prstGeom prst="rect">
              <a:avLst/>
            </a:prstGeom>
          </p:spPr>
        </p:pic>
        <p:pic>
          <p:nvPicPr>
            <p:cNvPr id="885" name="Picture 884"/>
            <p:cNvPicPr>
              <a:picLocks noChangeAspect="1"/>
            </p:cNvPicPr>
            <p:nvPr/>
          </p:nvPicPr>
          <p:blipFill>
            <a:blip r:embed="rId3">
              <a:lum bright="70000" contrast="-70000"/>
            </a:blip>
            <a:stretch>
              <a:fillRect/>
            </a:stretch>
          </p:blipFill>
          <p:spPr>
            <a:xfrm>
              <a:off x="5813395" y="2831443"/>
              <a:ext cx="3563938" cy="1659075"/>
            </a:xfrm>
            <a:prstGeom prst="rect">
              <a:avLst/>
            </a:prstGeom>
          </p:spPr>
        </p:pic>
        <p:pic>
          <p:nvPicPr>
            <p:cNvPr id="886" name="Picture 885"/>
            <p:cNvPicPr>
              <a:picLocks noChangeAspect="1"/>
            </p:cNvPicPr>
            <p:nvPr/>
          </p:nvPicPr>
          <p:blipFill>
            <a:blip r:embed="rId6"/>
            <a:stretch>
              <a:fillRect/>
            </a:stretch>
          </p:blipFill>
          <p:spPr>
            <a:xfrm>
              <a:off x="6950974" y="3178032"/>
              <a:ext cx="3266895" cy="4156217"/>
            </a:xfrm>
            <a:prstGeom prst="rect">
              <a:avLst/>
            </a:prstGeom>
          </p:spPr>
        </p:pic>
        <p:pic>
          <p:nvPicPr>
            <p:cNvPr id="887" name="Picture 886"/>
            <p:cNvPicPr>
              <a:picLocks noChangeAspect="1"/>
            </p:cNvPicPr>
            <p:nvPr/>
          </p:nvPicPr>
          <p:blipFill>
            <a:blip r:embed="rId7"/>
            <a:stretch>
              <a:fillRect/>
            </a:stretch>
          </p:blipFill>
          <p:spPr>
            <a:xfrm>
              <a:off x="7451355" y="4105275"/>
              <a:ext cx="1046428" cy="1449387"/>
            </a:xfrm>
            <a:prstGeom prst="rect">
              <a:avLst/>
            </a:prstGeom>
          </p:spPr>
        </p:pic>
        <p:pic>
          <p:nvPicPr>
            <p:cNvPr id="890" name="Picture 889"/>
            <p:cNvPicPr>
              <a:picLocks noChangeAspect="1"/>
            </p:cNvPicPr>
            <p:nvPr userDrawn="1"/>
          </p:nvPicPr>
          <p:blipFill>
            <a:blip r:embed="rId3">
              <a:lum bright="70000" contrast="-70000"/>
            </a:blip>
            <a:stretch>
              <a:fillRect/>
            </a:stretch>
          </p:blipFill>
          <p:spPr>
            <a:xfrm>
              <a:off x="9424683" y="5810253"/>
              <a:ext cx="906259" cy="421879"/>
            </a:xfrm>
            <a:prstGeom prst="rect">
              <a:avLst/>
            </a:prstGeom>
          </p:spPr>
        </p:pic>
      </p:grpSp>
    </p:spTree>
    <p:extLst>
      <p:ext uri="{BB962C8B-B14F-4D97-AF65-F5344CB8AC3E}">
        <p14:creationId xmlns:p14="http://schemas.microsoft.com/office/powerpoint/2010/main" val="150195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4.96142E-6 L -4.34261E-6 4.9614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2.42851E-6 L -3.02783E-6 2.42851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nodeType="withEffect">
                                  <p:stCondLst>
                                    <p:cond delay="9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950"/>
                                        <p:tgtEl>
                                          <p:spTgt spid="7"/>
                                        </p:tgtEl>
                                      </p:cBhvr>
                                    </p:animEffect>
                                  </p:childTnLst>
                                </p:cTn>
                              </p:par>
                              <p:par>
                                <p:cTn id="22" presetID="63" presetClass="path" presetSubtype="0" decel="100000" fill="hold" nodeType="withEffect">
                                  <p:stCondLst>
                                    <p:cond delay="900"/>
                                  </p:stCondLst>
                                  <p:childTnLst>
                                    <p:animMotion origin="layout" path="M -0.01455 -1.34362E-6 L -3.90605E-7 -1.34362E-6 " pathEditMode="relative" rAng="0" ptsTypes="AA">
                                      <p:cBhvr>
                                        <p:cTn id="23" dur="950" fill="hold"/>
                                        <p:tgtEl>
                                          <p:spTgt spid="7"/>
                                        </p:tgtEl>
                                        <p:attrNameLst>
                                          <p:attrName>ppt_x</p:attrName>
                                          <p:attrName>ppt_y</p:attrName>
                                        </p:attrNameLst>
                                      </p:cBhvr>
                                      <p:rCtr x="728" y="0"/>
                                    </p:animMotion>
                                  </p:childTnLst>
                                </p:cTn>
                              </p:par>
                              <p:par>
                                <p:cTn id="24" presetID="6" presetClass="emph" presetSubtype="0" accel="100000" autoRev="1" fill="hold" nodeType="withEffect">
                                  <p:stCondLst>
                                    <p:cond delay="200"/>
                                  </p:stCondLst>
                                  <p:childTnLst>
                                    <p:animScale>
                                      <p:cBhvr>
                                        <p:cTn id="25" dur="500" fill="hold"/>
                                        <p:tgtEl>
                                          <p:spTgt spid="7"/>
                                        </p:tgtEl>
                                      </p:cBhvr>
                                      <p:by x="95000" y="95000"/>
                                    </p:animScale>
                                  </p:childTnLst>
                                </p:cTn>
                              </p:par>
                              <p:par>
                                <p:cTn id="26" presetID="10" presetClass="entr" presetSubtype="0" fill="hold" grpId="0"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950"/>
                                        <p:tgtEl>
                                          <p:spTgt spid="11"/>
                                        </p:tgtEl>
                                      </p:cBhvr>
                                    </p:animEffect>
                                  </p:childTnLst>
                                </p:cTn>
                              </p:par>
                              <p:par>
                                <p:cTn id="29" presetID="63" presetClass="path" presetSubtype="0" decel="100000" fill="hold" grpId="1" nodeType="withEffect">
                                  <p:stCondLst>
                                    <p:cond delay="1000"/>
                                  </p:stCondLst>
                                  <p:childTnLst>
                                    <p:animMotion origin="layout" path="M -0.01455 -1.34362E-6 L -3.90605E-7 -1.34362E-6 " pathEditMode="relative" rAng="0" ptsTypes="AA">
                                      <p:cBhvr>
                                        <p:cTn id="30" dur="950" fill="hold"/>
                                        <p:tgtEl>
                                          <p:spTgt spid="11"/>
                                        </p:tgtEl>
                                        <p:attrNameLst>
                                          <p:attrName>ppt_x</p:attrName>
                                          <p:attrName>ppt_y</p:attrName>
                                        </p:attrNameLst>
                                      </p:cBhvr>
                                      <p:rCtr x="728" y="0"/>
                                    </p:animMotion>
                                  </p:childTnLst>
                                </p:cTn>
                              </p:par>
                              <p:par>
                                <p:cTn id="31" presetID="6" presetClass="emph" presetSubtype="0" accel="100000" autoRev="1" fill="hold" grpId="2" nodeType="withEffect">
                                  <p:stCondLst>
                                    <p:cond delay="300"/>
                                  </p:stCondLst>
                                  <p:childTnLst>
                                    <p:animScale>
                                      <p:cBhvr>
                                        <p:cTn id="32" dur="500" fill="hold"/>
                                        <p:tgtEl>
                                          <p:spTgt spid="11"/>
                                        </p:tgtEl>
                                      </p:cBhvr>
                                      <p:by x="95000" y="95000"/>
                                    </p:animScale>
                                  </p:childTnLst>
                                </p:cTn>
                              </p:par>
                              <p:par>
                                <p:cTn id="33" presetID="10" presetClass="entr" presetSubtype="0" fill="hold" grpId="0" nodeType="withEffect">
                                  <p:stCondLst>
                                    <p:cond delay="7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950"/>
                                        <p:tgtEl>
                                          <p:spTgt spid="12"/>
                                        </p:tgtEl>
                                      </p:cBhvr>
                                    </p:animEffect>
                                  </p:childTnLst>
                                </p:cTn>
                              </p:par>
                              <p:par>
                                <p:cTn id="36" presetID="63" presetClass="path" presetSubtype="0" decel="100000" fill="hold" grpId="1" nodeType="withEffect">
                                  <p:stCondLst>
                                    <p:cond delay="700"/>
                                  </p:stCondLst>
                                  <p:childTnLst>
                                    <p:animMotion origin="layout" path="M -0.01455 2.13345E-6 L 1.62369E-6 2.13345E-6 " pathEditMode="relative" rAng="0" ptsTypes="AA">
                                      <p:cBhvr>
                                        <p:cTn id="37" dur="950" fill="hold"/>
                                        <p:tgtEl>
                                          <p:spTgt spid="12"/>
                                        </p:tgtEl>
                                        <p:attrNameLst>
                                          <p:attrName>ppt_x</p:attrName>
                                          <p:attrName>ppt_y</p:attrName>
                                        </p:attrNameLst>
                                      </p:cBhvr>
                                      <p:rCtr x="728" y="0"/>
                                    </p:animMotion>
                                  </p:childTnLst>
                                </p:cTn>
                              </p:par>
                              <p:par>
                                <p:cTn id="38" presetID="6" presetClass="emph" presetSubtype="0" accel="100000" autoRev="1" fill="hold" grpId="2" nodeType="withEffect">
                                  <p:stCondLst>
                                    <p:cond delay="0"/>
                                  </p:stCondLst>
                                  <p:childTnLst>
                                    <p:animScale>
                                      <p:cBhvr>
                                        <p:cTn id="39" dur="500" fill="hold"/>
                                        <p:tgtEl>
                                          <p:spTgt spid="12"/>
                                        </p:tgtEl>
                                      </p:cBhvr>
                                      <p:by x="95000" y="95000"/>
                                    </p:animScale>
                                  </p:childTnLst>
                                </p:cTn>
                              </p:par>
                              <p:par>
                                <p:cTn id="40" presetID="10" presetClass="entr" presetSubtype="0" fill="hold" grpId="0" nodeType="withEffect">
                                  <p:stCondLst>
                                    <p:cond delay="70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950"/>
                                        <p:tgtEl>
                                          <p:spTgt spid="13"/>
                                        </p:tgtEl>
                                      </p:cBhvr>
                                    </p:animEffect>
                                  </p:childTnLst>
                                </p:cTn>
                              </p:par>
                              <p:par>
                                <p:cTn id="43" presetID="63" presetClass="path" presetSubtype="0" decel="100000" fill="hold" grpId="1" nodeType="withEffect">
                                  <p:stCondLst>
                                    <p:cond delay="700"/>
                                  </p:stCondLst>
                                  <p:childTnLst>
                                    <p:animMotion origin="layout" path="M -0.01455 -2.09714E-6 L -4.54174E-6 -2.09714E-6 " pathEditMode="relative" rAng="0" ptsTypes="AA">
                                      <p:cBhvr>
                                        <p:cTn id="44" dur="950" fill="hold"/>
                                        <p:tgtEl>
                                          <p:spTgt spid="13"/>
                                        </p:tgtEl>
                                        <p:attrNameLst>
                                          <p:attrName>ppt_x</p:attrName>
                                          <p:attrName>ppt_y</p:attrName>
                                        </p:attrNameLst>
                                      </p:cBhvr>
                                      <p:rCtr x="728" y="0"/>
                                    </p:animMotion>
                                  </p:childTnLst>
                                </p:cTn>
                              </p:par>
                              <p:par>
                                <p:cTn id="45" presetID="6" presetClass="emph" presetSubtype="0" accel="100000" autoRev="1" fill="hold" grpId="2" nodeType="withEffect">
                                  <p:stCondLst>
                                    <p:cond delay="0"/>
                                  </p:stCondLst>
                                  <p:childTnLst>
                                    <p:animScale>
                                      <p:cBhvr>
                                        <p:cTn id="46" dur="500" fill="hold"/>
                                        <p:tgtEl>
                                          <p:spTgt spid="13"/>
                                        </p:tgtEl>
                                      </p:cBhvr>
                                      <p:by x="95000" y="95000"/>
                                    </p:animScale>
                                  </p:childTnLst>
                                </p:cTn>
                              </p:par>
                              <p:par>
                                <p:cTn id="47" presetID="2" presetClass="entr" presetSubtype="2" decel="100000" fill="hold" nodeType="with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additive="base">
                                        <p:cTn id="49" dur="1750" fill="hold"/>
                                        <p:tgtEl>
                                          <p:spTgt spid="2"/>
                                        </p:tgtEl>
                                        <p:attrNameLst>
                                          <p:attrName>ppt_x</p:attrName>
                                        </p:attrNameLst>
                                      </p:cBhvr>
                                      <p:tavLst>
                                        <p:tav tm="0">
                                          <p:val>
                                            <p:strVal val="1+#ppt_w/2"/>
                                          </p:val>
                                        </p:tav>
                                        <p:tav tm="100000">
                                          <p:val>
                                            <p:strVal val="#ppt_x"/>
                                          </p:val>
                                        </p:tav>
                                      </p:tavLst>
                                    </p:anim>
                                    <p:anim calcmode="lin" valueType="num">
                                      <p:cBhvr additive="base">
                                        <p:cTn id="50" dur="17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1"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436475" cy="102037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122550626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8F5E6-98CA-44AA-ACE5-8FB6A3B44F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97D43C-C7CC-4C03-8FEB-74175E39D04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42643-6095-4B28-9DA8-4DB4981CCE1F}"/>
              </a:ext>
            </a:extLst>
          </p:cNvPr>
          <p:cNvSpPr>
            <a:spLocks noGrp="1"/>
          </p:cNvSpPr>
          <p:nvPr>
            <p:ph type="dt" sz="half" idx="10"/>
          </p:nvPr>
        </p:nvSpPr>
        <p:spPr/>
        <p:txBody>
          <a:bodyPr/>
          <a:lstStyle/>
          <a:p>
            <a:fld id="{3782754A-0B2B-46F8-BE27-8C3C8FD3C502}" type="datetimeFigureOut">
              <a:rPr lang="en-US" smtClean="0"/>
              <a:t>4/19/2022</a:t>
            </a:fld>
            <a:endParaRPr lang="en-US"/>
          </a:p>
        </p:txBody>
      </p:sp>
      <p:sp>
        <p:nvSpPr>
          <p:cNvPr id="5" name="Footer Placeholder 4">
            <a:extLst>
              <a:ext uri="{FF2B5EF4-FFF2-40B4-BE49-F238E27FC236}">
                <a16:creationId xmlns:a16="http://schemas.microsoft.com/office/drawing/2014/main" id="{8C3BD41A-BA9D-468B-B0CF-916784B94A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6392C-88B2-4727-B3CF-89C8681355F8}"/>
              </a:ext>
            </a:extLst>
          </p:cNvPr>
          <p:cNvSpPr>
            <a:spLocks noGrp="1"/>
          </p:cNvSpPr>
          <p:nvPr>
            <p:ph type="sldNum" sz="quarter" idx="12"/>
          </p:nvPr>
        </p:nvSpPr>
        <p:spPr/>
        <p:txBody>
          <a:bodyPr/>
          <a:lstStyle/>
          <a:p>
            <a:fld id="{1AD306F1-5C75-4FF6-9BC7-DE23D31E2C6A}" type="slidenum">
              <a:rPr lang="en-US" smtClean="0"/>
              <a:t>‹#›</a:t>
            </a:fld>
            <a:endParaRPr lang="en-US"/>
          </a:p>
        </p:txBody>
      </p:sp>
    </p:spTree>
    <p:extLst>
      <p:ext uri="{BB962C8B-B14F-4D97-AF65-F5344CB8AC3E}">
        <p14:creationId xmlns:p14="http://schemas.microsoft.com/office/powerpoint/2010/main" val="29182583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itle | Sub |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9564" cy="917575"/>
          </a:xfrm>
        </p:spPr>
        <p:txBody>
          <a:bodyPr/>
          <a:lstStyle/>
          <a:p>
            <a:r>
              <a:rPr lang="en-US"/>
              <a:t>Click to edit Master title style</a:t>
            </a:r>
          </a:p>
        </p:txBody>
      </p:sp>
      <p:sp>
        <p:nvSpPr>
          <p:cNvPr id="4" name="Text Placeholder 3"/>
          <p:cNvSpPr>
            <a:spLocks noGrp="1"/>
          </p:cNvSpPr>
          <p:nvPr>
            <p:ph type="body" sz="quarter" idx="10"/>
          </p:nvPr>
        </p:nvSpPr>
        <p:spPr>
          <a:xfrm>
            <a:off x="273051" y="1744663"/>
            <a:ext cx="12115800" cy="2092881"/>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273051" y="982662"/>
            <a:ext cx="11888787" cy="572464"/>
          </a:xfrm>
        </p:spPr>
        <p:txBody>
          <a:bodyPr/>
          <a:lstStyle>
            <a:lvl1pPr marL="0" indent="0">
              <a:buFont typeface="Arial" panose="020B0604020202020204" pitchFamily="34" charset="0"/>
              <a:buNone/>
              <a:defRPr sz="2800">
                <a:solidFill>
                  <a:schemeClr val="tx2"/>
                </a:solidFill>
              </a:defRPr>
            </a:lvl1pPr>
            <a:lvl2pPr marL="342768" indent="0">
              <a:buNone/>
              <a:defRPr/>
            </a:lvl2pPr>
            <a:lvl3pPr marL="571281" indent="0">
              <a:buNone/>
              <a:defRPr/>
            </a:lvl3pPr>
            <a:lvl4pPr marL="799792" indent="0">
              <a:buNone/>
              <a:defRPr/>
            </a:lvl4pPr>
            <a:lvl5pPr marL="1028305" indent="0">
              <a:buNone/>
              <a:defRPr/>
            </a:lvl5pPr>
          </a:lstStyle>
          <a:p>
            <a:pPr lvl="0"/>
            <a:r>
              <a:rPr lang="en-US"/>
              <a:t>Edit Master text styles</a:t>
            </a:r>
          </a:p>
        </p:txBody>
      </p:sp>
    </p:spTree>
    <p:extLst>
      <p:ext uri="{BB962C8B-B14F-4D97-AF65-F5344CB8AC3E}">
        <p14:creationId xmlns:p14="http://schemas.microsoft.com/office/powerpoint/2010/main" val="99570326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049294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436475" cy="102037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007444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4152704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8829744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6787650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7747544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7337266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44255008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416762186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276083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306667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2264442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4012783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57384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1517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37712180"/>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99769921"/>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2899562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5016622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05091866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97564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2392572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6837948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4320323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1428454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1340367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46258779"/>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4517085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0654070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511298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729792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320737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8216827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14830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078731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09047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963999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689777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483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17D2209-9C50-45BA-9545-E634E6074F76}"/>
              </a:ext>
            </a:extLst>
          </p:cNvPr>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9915017"/>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052711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098396"/>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08266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Content Placeholder 2">
            <a:extLst>
              <a:ext uri="{FF2B5EF4-FFF2-40B4-BE49-F238E27FC236}">
                <a16:creationId xmlns:a16="http://schemas.microsoft.com/office/drawing/2014/main" id="{8500AB92-CA5E-48D5-91A6-B0A5DF2D563E}"/>
              </a:ext>
            </a:extLst>
          </p:cNvPr>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7884421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4" name="Text Box 3">
            <a:extLst>
              <a:ext uri="{FF2B5EF4-FFF2-40B4-BE49-F238E27FC236}">
                <a16:creationId xmlns:a16="http://schemas.microsoft.com/office/drawing/2014/main" id="{0FA03E5C-33EF-41FA-AC2A-7D0954F5486B}"/>
              </a:ext>
            </a:extLst>
          </p:cNvPr>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a:extLst>
              <a:ext uri="{FF2B5EF4-FFF2-40B4-BE49-F238E27FC236}">
                <a16:creationId xmlns:a16="http://schemas.microsoft.com/office/drawing/2014/main" id="{87A43778-A269-4069-9C72-E8E8EC3B4B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278135133"/>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574398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17189006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r>
              <a:rPr lang="en-US"/>
              <a:t>Click to edit Master title styl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119433154"/>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98648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17137586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813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436475" cy="102037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37356617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4"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8"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47448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8"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734887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065">
              <a:lnSpc>
                <a:spcPct val="100000"/>
              </a:lnSpc>
              <a:spcBef>
                <a:spcPts val="685"/>
              </a:spcBef>
              <a:buFontTx/>
              <a:buNone/>
              <a:defRPr sz="2244"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5" y="3594"/>
            <a:ext cx="6995517" cy="6994525"/>
          </a:xfrm>
          <a:no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263151971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slideLayout" Target="../slideLayouts/slideLayout96.xml"/><Relationship Id="rId55" Type="http://schemas.openxmlformats.org/officeDocument/2006/relationships/image" Target="../media/image7.emf"/><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tags" Target="../tags/tag2.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tags" Target="../tags/tag1.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56" Type="http://schemas.openxmlformats.org/officeDocument/2006/relationships/image" Target="../media/image1.png"/><Relationship Id="rId8" Type="http://schemas.openxmlformats.org/officeDocument/2006/relationships/slideLayout" Target="../slideLayouts/slideLayout54.xml"/><Relationship Id="rId51" Type="http://schemas.openxmlformats.org/officeDocument/2006/relationships/theme" Target="../theme/theme3.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tags" Target="../tags/tag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tags" Target="../tags/tag5.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theme" Target="../theme/theme4.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image" Target="../media/image7.emf"/><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ags" Target="../tags/tag6.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tags" Target="../tags/tag4.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tags" Target="../tags/tag7.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9" Type="http://schemas.openxmlformats.org/officeDocument/2006/relationships/slideLayout" Target="../slideLayouts/slideLayout169.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3" Type="http://schemas.openxmlformats.org/officeDocument/2006/relationships/image" Target="../media/image7.emf"/><Relationship Id="rId5" Type="http://schemas.openxmlformats.org/officeDocument/2006/relationships/slideLayout" Target="../slideLayouts/slideLayout14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52" Type="http://schemas.openxmlformats.org/officeDocument/2006/relationships/tags" Target="../tags/tag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slideLayout" Target="../slideLayouts/slideLayout188.xml"/><Relationship Id="rId8" Type="http://schemas.openxmlformats.org/officeDocument/2006/relationships/slideLayout" Target="../slideLayouts/slideLayout148.xml"/><Relationship Id="rId51" Type="http://schemas.openxmlformats.org/officeDocument/2006/relationships/tags" Target="../tags/tag8.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image" Target="../media/image11.emf"/><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theme" Target="../theme/theme6.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BE0058CC-D3E9-49F8-B1E4-C4A489E5C0A7}"/>
              </a:ext>
            </a:extLst>
          </p:cNvPr>
          <p:cNvPicPr>
            <a:picLocks noChangeAspect="1"/>
          </p:cNvPicPr>
          <p:nvPr userDrawn="1"/>
        </p:nvPicPr>
        <p:blipFill>
          <a:blip r:embed="rId5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29282719"/>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 id="2147484299" r:id="rId29"/>
    <p:sldLayoutId id="2147484300" r:id="rId30"/>
    <p:sldLayoutId id="2147484301" r:id="rId31"/>
    <p:sldLayoutId id="2147484302" r:id="rId32"/>
    <p:sldLayoutId id="2147484303" r:id="rId33"/>
    <p:sldLayoutId id="2147484304" r:id="rId34"/>
    <p:sldLayoutId id="2147484305" r:id="rId35"/>
    <p:sldLayoutId id="2147484306" r:id="rId36"/>
    <p:sldLayoutId id="2147484307" r:id="rId37"/>
    <p:sldLayoutId id="2147484308" r:id="rId38"/>
    <p:sldLayoutId id="2147484309" r:id="rId39"/>
    <p:sldLayoutId id="2147484310" r:id="rId40"/>
    <p:sldLayoutId id="2147484311" r:id="rId41"/>
    <p:sldLayoutId id="2147484312" r:id="rId42"/>
    <p:sldLayoutId id="2147484313" r:id="rId43"/>
    <p:sldLayoutId id="2147484314" r:id="rId44"/>
    <p:sldLayoutId id="2147484315" r:id="rId45"/>
    <p:sldLayoutId id="2147484316" r:id="rId46"/>
    <p:sldLayoutId id="2147484317" r:id="rId47"/>
    <p:sldLayoutId id="2147484318" r:id="rId48"/>
    <p:sldLayoutId id="2147484321" r:id="rId49"/>
    <p:sldLayoutId id="2147484322" r:id="rId50"/>
  </p:sldLayoutIdLst>
  <p:transition>
    <p:fade/>
  </p:transition>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7"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7" y="1436146"/>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8"/>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lvl="0" algn="l" defTabSz="950846"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lvl="0" algn="l" defTabSz="950846"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20" tIns="158520" rIns="158520" bIns="158520"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677675"/>
      </p:ext>
    </p:extLst>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 id="2147484349" r:id="rId26"/>
    <p:sldLayoutId id="2147484350" r:id="rId27"/>
    <p:sldLayoutId id="2147484351" r:id="rId28"/>
    <p:sldLayoutId id="2147484352" r:id="rId29"/>
    <p:sldLayoutId id="2147484353" r:id="rId30"/>
    <p:sldLayoutId id="2147484354" r:id="rId31"/>
    <p:sldLayoutId id="2147484355" r:id="rId32"/>
    <p:sldLayoutId id="2147484356" r:id="rId33"/>
    <p:sldLayoutId id="2147484357" r:id="rId34"/>
    <p:sldLayoutId id="2147484358" r:id="rId35"/>
    <p:sldLayoutId id="2147484359" r:id="rId36"/>
    <p:sldLayoutId id="2147484360" r:id="rId37"/>
    <p:sldLayoutId id="2147484361" r:id="rId38"/>
    <p:sldLayoutId id="2147484362" r:id="rId39"/>
    <p:sldLayoutId id="2147484363" r:id="rId40"/>
    <p:sldLayoutId id="2147484364" r:id="rId41"/>
    <p:sldLayoutId id="2147484365" r:id="rId42"/>
    <p:sldLayoutId id="2147484366" r:id="rId43"/>
    <p:sldLayoutId id="2147484367" r:id="rId44"/>
  </p:sldLayoutIdLst>
  <p:txStyles>
    <p:titleStyle>
      <a:lvl1pPr algn="l" defTabSz="951121" rtl="0" eaLnBrk="1" latinLnBrk="0" hangingPunct="1">
        <a:lnSpc>
          <a:spcPts val="3691"/>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22" indent="-317022" algn="l" defTabSz="951065"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044" indent="-317022" algn="l" defTabSz="951065"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065" indent="-317022" algn="l" defTabSz="951065"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088" indent="-317022" algn="l" defTabSz="951065"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109" indent="-335671" algn="l" defTabSz="951065"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22" indent="-317022" algn="l" defTabSz="951065"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044" indent="-317022" algn="l" defTabSz="951065"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065"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065"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2743908"/>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 id="2147484412" r:id="rId44"/>
    <p:sldLayoutId id="2147484413" r:id="rId45"/>
    <p:sldLayoutId id="2147484414" r:id="rId46"/>
    <p:sldLayoutId id="2147484415" r:id="rId47"/>
    <p:sldLayoutId id="2147484416"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866778319"/>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xml"/><Relationship Id="rId7" Type="http://schemas.openxmlformats.org/officeDocument/2006/relationships/image" Target="../media/image22.png"/><Relationship Id="rId2" Type="http://schemas.openxmlformats.org/officeDocument/2006/relationships/customXml" Target="../../customXml/item2.xml"/><Relationship Id="rId1" Type="http://schemas.openxmlformats.org/officeDocument/2006/relationships/tags" Target="../tags/tag10.xml"/><Relationship Id="rId6" Type="http://schemas.microsoft.com/office/2018/10/relationships/comments" Target="../comments/modernComment_14C_3C06997.xml"/><Relationship Id="rId5" Type="http://schemas.openxmlformats.org/officeDocument/2006/relationships/notesSlide" Target="../notesSlides/notesSlide1.xml"/><Relationship Id="rId4" Type="http://schemas.openxmlformats.org/officeDocument/2006/relationships/slideLayout" Target="../slideLayouts/slideLayout143.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50.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50.xml"/><Relationship Id="rId5" Type="http://schemas.openxmlformats.org/officeDocument/2006/relationships/image" Target="../media/image27.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50.xml"/><Relationship Id="rId5" Type="http://schemas.openxmlformats.org/officeDocument/2006/relationships/image" Target="../media/image27.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50.xml"/><Relationship Id="rId5" Type="http://schemas.openxmlformats.org/officeDocument/2006/relationships/image" Target="../media/image27.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customXml" Target="../../customXml/item8.xml"/><Relationship Id="rId7" Type="http://schemas.openxmlformats.org/officeDocument/2006/relationships/notesSlide" Target="../notesSlides/notesSlide15.xml"/><Relationship Id="rId2" Type="http://schemas.openxmlformats.org/officeDocument/2006/relationships/customXml" Target="../../customXml/item5.xml"/><Relationship Id="rId1" Type="http://schemas.openxmlformats.org/officeDocument/2006/relationships/tags" Target="../tags/tag12.xml"/><Relationship Id="rId6" Type="http://schemas.openxmlformats.org/officeDocument/2006/relationships/slideLayout" Target="../slideLayouts/slideLayout149.xml"/><Relationship Id="rId5" Type="http://schemas.openxmlformats.org/officeDocument/2006/relationships/customXml" Target="../../customXml/item6.xml"/><Relationship Id="rId4" Type="http://schemas.openxmlformats.org/officeDocument/2006/relationships/customXml" Target="../../customXml/item7.xml"/></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microsoft.com/office/2018/10/relationships/comments" Target="../comments/modernComment_14D_5F5FBCF0.xml"/><Relationship Id="rId7" Type="http://schemas.openxmlformats.org/officeDocument/2006/relationships/diagramColors" Target="../diagrams/colors1.xml"/><Relationship Id="rId2" Type="http://schemas.openxmlformats.org/officeDocument/2006/relationships/notesSlide" Target="../notesSlides/notesSlide16.xml"/><Relationship Id="rId1" Type="http://schemas.openxmlformats.org/officeDocument/2006/relationships/slideLayout" Target="../slideLayouts/slideLayout5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7.xml"/><Relationship Id="rId7" Type="http://schemas.openxmlformats.org/officeDocument/2006/relationships/diagramColors" Target="../diagrams/colors2.xml"/><Relationship Id="rId2" Type="http://schemas.openxmlformats.org/officeDocument/2006/relationships/slideLayout" Target="../slideLayouts/slideLayout54.xml"/><Relationship Id="rId1" Type="http://schemas.openxmlformats.org/officeDocument/2006/relationships/tags" Target="../tags/tag13.x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media/image25.png"/><Relationship Id="rId4" Type="http://schemas.openxmlformats.org/officeDocument/2006/relationships/diagramData" Target="../diagrams/data2.xml"/><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microsoft.com/office/2007/relationships/diagramDrawing" Target="../diagrams/drawing3.xml"/><Relationship Id="rId3" Type="http://schemas.microsoft.com/office/2018/10/relationships/comments" Target="../comments/modernComment_14E_592A1DBC.xml"/><Relationship Id="rId7" Type="http://schemas.openxmlformats.org/officeDocument/2006/relationships/diagramColors" Target="../diagrams/colors3.xml"/><Relationship Id="rId2" Type="http://schemas.openxmlformats.org/officeDocument/2006/relationships/notesSlide" Target="../notesSlides/notesSlide18.xml"/><Relationship Id="rId1" Type="http://schemas.openxmlformats.org/officeDocument/2006/relationships/slideLayout" Target="../slideLayouts/slideLayout5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45.xml"/></Relationships>
</file>

<file path=ppt/slides/_rels/slide20.xml.rels><?xml version="1.0" encoding="UTF-8" standalone="yes"?>
<Relationships xmlns="http://schemas.openxmlformats.org/package/2006/relationships"><Relationship Id="rId8" Type="http://schemas.microsoft.com/office/2007/relationships/diagramDrawing" Target="../diagrams/drawing4.xml"/><Relationship Id="rId3" Type="http://schemas.microsoft.com/office/2018/10/relationships/comments" Target="../comments/modernComment_14B_FA5F0B9E.xml"/><Relationship Id="rId7" Type="http://schemas.openxmlformats.org/officeDocument/2006/relationships/diagramColors" Target="../diagrams/colors4.xml"/><Relationship Id="rId2" Type="http://schemas.openxmlformats.org/officeDocument/2006/relationships/notesSlide" Target="../notesSlides/notesSlide19.xml"/><Relationship Id="rId1" Type="http://schemas.openxmlformats.org/officeDocument/2006/relationships/slideLayout" Target="../slideLayouts/slideLayout96.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1.xml.rels><?xml version="1.0" encoding="UTF-8" standalone="yes"?>
<Relationships xmlns="http://schemas.openxmlformats.org/package/2006/relationships"><Relationship Id="rId8" Type="http://schemas.microsoft.com/office/2007/relationships/diagramDrawing" Target="../diagrams/drawing5.xml"/><Relationship Id="rId3" Type="http://schemas.microsoft.com/office/2018/10/relationships/comments" Target="../comments/modernComment_14F_7C288A23.xml"/><Relationship Id="rId7" Type="http://schemas.openxmlformats.org/officeDocument/2006/relationships/diagramColors" Target="../diagrams/colors5.xml"/><Relationship Id="rId2" Type="http://schemas.openxmlformats.org/officeDocument/2006/relationships/notesSlide" Target="../notesSlides/notesSlide20.xml"/><Relationship Id="rId1" Type="http://schemas.openxmlformats.org/officeDocument/2006/relationships/slideLayout" Target="../slideLayouts/slideLayout9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136_58F87FFE.xml"/><Relationship Id="rId2" Type="http://schemas.openxmlformats.org/officeDocument/2006/relationships/notesSlide" Target="../notesSlides/notesSlide21.xml"/><Relationship Id="rId1" Type="http://schemas.openxmlformats.org/officeDocument/2006/relationships/slideLayout" Target="../slideLayouts/slideLayout96.xml"/></Relationships>
</file>

<file path=ppt/slides/_rels/slide23.xml.rels><?xml version="1.0" encoding="UTF-8" standalone="yes"?>
<Relationships xmlns="http://schemas.openxmlformats.org/package/2006/relationships"><Relationship Id="rId8" Type="http://schemas.microsoft.com/office/2007/relationships/diagramDrawing" Target="../diagrams/drawing6.xml"/><Relationship Id="rId3" Type="http://schemas.microsoft.com/office/2018/10/relationships/comments" Target="../comments/modernComment_124_1B1E6000.xml"/><Relationship Id="rId7" Type="http://schemas.openxmlformats.org/officeDocument/2006/relationships/diagramColors" Target="../diagrams/colors6.xml"/><Relationship Id="rId2" Type="http://schemas.openxmlformats.org/officeDocument/2006/relationships/notesSlide" Target="../notesSlides/notesSlide22.xml"/><Relationship Id="rId1" Type="http://schemas.openxmlformats.org/officeDocument/2006/relationships/slideLayout" Target="../slideLayouts/slideLayout9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4.xml.rels><?xml version="1.0" encoding="UTF-8" standalone="yes"?>
<Relationships xmlns="http://schemas.openxmlformats.org/package/2006/relationships"><Relationship Id="rId8" Type="http://schemas.microsoft.com/office/2007/relationships/diagramDrawing" Target="../diagrams/drawing7.xml"/><Relationship Id="rId3" Type="http://schemas.microsoft.com/office/2018/10/relationships/comments" Target="../comments/modernComment_133_FE3D15DE.xml"/><Relationship Id="rId7" Type="http://schemas.openxmlformats.org/officeDocument/2006/relationships/diagramColors" Target="../diagrams/colors7.xml"/><Relationship Id="rId2" Type="http://schemas.openxmlformats.org/officeDocument/2006/relationships/notesSlide" Target="../notesSlides/notesSlide23.xml"/><Relationship Id="rId1" Type="http://schemas.openxmlformats.org/officeDocument/2006/relationships/slideLayout" Target="../slideLayouts/slideLayout95.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5.xml.rels><?xml version="1.0" encoding="UTF-8" standalone="yes"?>
<Relationships xmlns="http://schemas.openxmlformats.org/package/2006/relationships"><Relationship Id="rId8" Type="http://schemas.microsoft.com/office/2007/relationships/diagramDrawing" Target="../diagrams/drawing8.xml"/><Relationship Id="rId3" Type="http://schemas.microsoft.com/office/2018/10/relationships/comments" Target="../comments/modernComment_125_6C61CB86.xml"/><Relationship Id="rId7" Type="http://schemas.openxmlformats.org/officeDocument/2006/relationships/diagramColors" Target="../diagrams/colors8.xml"/><Relationship Id="rId2" Type="http://schemas.openxmlformats.org/officeDocument/2006/relationships/notesSlide" Target="../notesSlides/notesSlide24.xml"/><Relationship Id="rId1" Type="http://schemas.openxmlformats.org/officeDocument/2006/relationships/slideLayout" Target="../slideLayouts/slideLayout95.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6.xml.rels><?xml version="1.0" encoding="UTF-8" standalone="yes"?>
<Relationships xmlns="http://schemas.openxmlformats.org/package/2006/relationships"><Relationship Id="rId8" Type="http://schemas.microsoft.com/office/2007/relationships/diagramDrawing" Target="../diagrams/drawing9.xml"/><Relationship Id="rId3" Type="http://schemas.microsoft.com/office/2018/10/relationships/comments" Target="../comments/modernComment_126_A770F50C.xml"/><Relationship Id="rId7" Type="http://schemas.openxmlformats.org/officeDocument/2006/relationships/diagramColors" Target="../diagrams/colors9.xml"/><Relationship Id="rId2" Type="http://schemas.openxmlformats.org/officeDocument/2006/relationships/notesSlide" Target="../notesSlides/notesSlide25.xml"/><Relationship Id="rId1" Type="http://schemas.openxmlformats.org/officeDocument/2006/relationships/slideLayout" Target="../slideLayouts/slideLayout95.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10.xml"/><Relationship Id="rId3" Type="http://schemas.microsoft.com/office/2018/10/relationships/comments" Target="../comments/modernComment_128_6D635B61.xml"/><Relationship Id="rId7" Type="http://schemas.openxmlformats.org/officeDocument/2006/relationships/diagramQuickStyle" Target="../diagrams/quickStyle10.xml"/><Relationship Id="rId2" Type="http://schemas.openxmlformats.org/officeDocument/2006/relationships/notesSlide" Target="../notesSlides/notesSlide26.xml"/><Relationship Id="rId1" Type="http://schemas.openxmlformats.org/officeDocument/2006/relationships/slideLayout" Target="../slideLayouts/slideLayout95.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image" Target="../media/image29.png"/><Relationship Id="rId9" Type="http://schemas.microsoft.com/office/2007/relationships/diagramDrawing" Target="../diagrams/drawing10.xml"/></Relationships>
</file>

<file path=ppt/slides/_rels/slide28.xml.rels><?xml version="1.0" encoding="UTF-8" standalone="yes"?>
<Relationships xmlns="http://schemas.openxmlformats.org/package/2006/relationships"><Relationship Id="rId8" Type="http://schemas.microsoft.com/office/2007/relationships/diagramDrawing" Target="../diagrams/drawing11.xml"/><Relationship Id="rId3" Type="http://schemas.microsoft.com/office/2018/10/relationships/comments" Target="../comments/modernComment_150_F40F7C27.xml"/><Relationship Id="rId7" Type="http://schemas.openxmlformats.org/officeDocument/2006/relationships/diagramColors" Target="../diagrams/colors11.xml"/><Relationship Id="rId2" Type="http://schemas.openxmlformats.org/officeDocument/2006/relationships/notesSlide" Target="../notesSlides/notesSlide27.xml"/><Relationship Id="rId1" Type="http://schemas.openxmlformats.org/officeDocument/2006/relationships/slideLayout" Target="../slideLayouts/slideLayout95.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 Id="rId9" Type="http://schemas.openxmlformats.org/officeDocument/2006/relationships/image" Target="../media/image30.png"/></Relationships>
</file>

<file path=ppt/slides/_rels/slide29.xml.rels><?xml version="1.0" encoding="UTF-8" standalone="yes"?>
<Relationships xmlns="http://schemas.openxmlformats.org/package/2006/relationships"><Relationship Id="rId8" Type="http://schemas.microsoft.com/office/2007/relationships/diagramDrawing" Target="../diagrams/drawing12.xml"/><Relationship Id="rId3" Type="http://schemas.microsoft.com/office/2018/10/relationships/comments" Target="../comments/modernComment_12C_FF5F6BBD.xml"/><Relationship Id="rId7" Type="http://schemas.openxmlformats.org/officeDocument/2006/relationships/diagramColors" Target="../diagrams/colors12.xml"/><Relationship Id="rId2" Type="http://schemas.openxmlformats.org/officeDocument/2006/relationships/notesSlide" Target="../notesSlides/notesSlide28.xml"/><Relationship Id="rId1" Type="http://schemas.openxmlformats.org/officeDocument/2006/relationships/slideLayout" Target="../slideLayouts/slideLayout95.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8" Type="http://schemas.microsoft.com/office/2007/relationships/diagramDrawing" Target="../diagrams/drawing13.xml"/><Relationship Id="rId3" Type="http://schemas.microsoft.com/office/2018/10/relationships/comments" Target="../comments/modernComment_13C_51762742.xml"/><Relationship Id="rId7" Type="http://schemas.openxmlformats.org/officeDocument/2006/relationships/diagramColors" Target="../diagrams/colors13.xml"/><Relationship Id="rId2" Type="http://schemas.openxmlformats.org/officeDocument/2006/relationships/notesSlide" Target="../notesSlides/notesSlide29.xml"/><Relationship Id="rId1" Type="http://schemas.openxmlformats.org/officeDocument/2006/relationships/slideLayout" Target="../slideLayouts/slideLayout95.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0.xml"/><Relationship Id="rId1" Type="http://schemas.openxmlformats.org/officeDocument/2006/relationships/tags" Target="../tags/tag14.xml"/><Relationship Id="rId4" Type="http://schemas.openxmlformats.org/officeDocument/2006/relationships/image" Target="../media/image31.jpeg"/></Relationships>
</file>

<file path=ppt/slides/_rels/slide32.xml.rels><?xml version="1.0" encoding="UTF-8" standalone="yes"?>
<Relationships xmlns="http://schemas.openxmlformats.org/package/2006/relationships"><Relationship Id="rId8" Type="http://schemas.microsoft.com/office/2007/relationships/diagramDrawing" Target="../diagrams/drawing14.xml"/><Relationship Id="rId3" Type="http://schemas.microsoft.com/office/2018/10/relationships/comments" Target="../comments/modernComment_11E_66A91B9.xml"/><Relationship Id="rId7" Type="http://schemas.openxmlformats.org/officeDocument/2006/relationships/diagramColors" Target="../diagrams/colors14.xml"/><Relationship Id="rId2" Type="http://schemas.openxmlformats.org/officeDocument/2006/relationships/notesSlide" Target="../notesSlides/notesSlide31.xml"/><Relationship Id="rId1" Type="http://schemas.openxmlformats.org/officeDocument/2006/relationships/slideLayout" Target="../slideLayouts/slideLayout95.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33.xml.rels><?xml version="1.0" encoding="UTF-8" standalone="yes"?>
<Relationships xmlns="http://schemas.openxmlformats.org/package/2006/relationships"><Relationship Id="rId3" Type="http://schemas.microsoft.com/office/2018/10/relationships/comments" Target="../comments/modernComment_11F_21E664F7.xml"/><Relationship Id="rId2" Type="http://schemas.openxmlformats.org/officeDocument/2006/relationships/notesSlide" Target="../notesSlides/notesSlide32.xml"/><Relationship Id="rId1" Type="http://schemas.openxmlformats.org/officeDocument/2006/relationships/slideLayout" Target="../slideLayouts/slideLayout60.xml"/></Relationships>
</file>

<file path=ppt/slides/_rels/slide34.xml.rels><?xml version="1.0" encoding="UTF-8" standalone="yes"?>
<Relationships xmlns="http://schemas.openxmlformats.org/package/2006/relationships"><Relationship Id="rId8" Type="http://schemas.microsoft.com/office/2007/relationships/diagramDrawing" Target="../diagrams/drawing15.xml"/><Relationship Id="rId3" Type="http://schemas.microsoft.com/office/2018/10/relationships/comments" Target="../comments/modernComment_138_3BCF2244.xml"/><Relationship Id="rId7" Type="http://schemas.openxmlformats.org/officeDocument/2006/relationships/diagramColors" Target="../diagrams/colors15.xml"/><Relationship Id="rId2" Type="http://schemas.openxmlformats.org/officeDocument/2006/relationships/notesSlide" Target="../notesSlides/notesSlide33.xml"/><Relationship Id="rId1" Type="http://schemas.openxmlformats.org/officeDocument/2006/relationships/slideLayout" Target="../slideLayouts/slideLayout95.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4.xml"/><Relationship Id="rId1" Type="http://schemas.openxmlformats.org/officeDocument/2006/relationships/slideLayout" Target="../slideLayouts/slideLayout9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6.xml.rels><?xml version="1.0" encoding="UTF-8" standalone="yes"?>
<Relationships xmlns="http://schemas.openxmlformats.org/package/2006/relationships"><Relationship Id="rId8" Type="http://schemas.microsoft.com/office/2007/relationships/diagramDrawing" Target="../diagrams/drawing17.xml"/><Relationship Id="rId3" Type="http://schemas.microsoft.com/office/2018/10/relationships/comments" Target="../comments/modernComment_120_D883752E.xml"/><Relationship Id="rId7" Type="http://schemas.openxmlformats.org/officeDocument/2006/relationships/diagramColors" Target="../diagrams/colors17.xml"/><Relationship Id="rId2" Type="http://schemas.openxmlformats.org/officeDocument/2006/relationships/notesSlide" Target="../notesSlides/notesSlide35.xml"/><Relationship Id="rId1" Type="http://schemas.openxmlformats.org/officeDocument/2006/relationships/slideLayout" Target="../slideLayouts/slideLayout95.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37.xml.rels><?xml version="1.0" encoding="UTF-8" standalone="yes"?>
<Relationships xmlns="http://schemas.openxmlformats.org/package/2006/relationships"><Relationship Id="rId8" Type="http://schemas.microsoft.com/office/2007/relationships/diagramDrawing" Target="../diagrams/drawing18.xml"/><Relationship Id="rId3" Type="http://schemas.microsoft.com/office/2018/10/relationships/comments" Target="../comments/modernComment_121_838493ED.xml"/><Relationship Id="rId7" Type="http://schemas.openxmlformats.org/officeDocument/2006/relationships/diagramColors" Target="../diagrams/colors18.xml"/><Relationship Id="rId2" Type="http://schemas.openxmlformats.org/officeDocument/2006/relationships/notesSlide" Target="../notesSlides/notesSlide36.xml"/><Relationship Id="rId1" Type="http://schemas.openxmlformats.org/officeDocument/2006/relationships/slideLayout" Target="../slideLayouts/slideLayout95.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38.xml.rels><?xml version="1.0" encoding="UTF-8" standalone="yes"?>
<Relationships xmlns="http://schemas.openxmlformats.org/package/2006/relationships"><Relationship Id="rId8" Type="http://schemas.microsoft.com/office/2007/relationships/diagramDrawing" Target="../diagrams/drawing19.xml"/><Relationship Id="rId3" Type="http://schemas.microsoft.com/office/2018/10/relationships/comments" Target="../comments/modernComment_13B_A121831A.xml"/><Relationship Id="rId7" Type="http://schemas.openxmlformats.org/officeDocument/2006/relationships/diagramColors" Target="../diagrams/colors19.xml"/><Relationship Id="rId2" Type="http://schemas.openxmlformats.org/officeDocument/2006/relationships/notesSlide" Target="../notesSlides/notesSlide37.xml"/><Relationship Id="rId1" Type="http://schemas.openxmlformats.org/officeDocument/2006/relationships/slideLayout" Target="../slideLayouts/slideLayout95.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39.xml.rels><?xml version="1.0" encoding="UTF-8" standalone="yes"?>
<Relationships xmlns="http://schemas.openxmlformats.org/package/2006/relationships"><Relationship Id="rId8" Type="http://schemas.microsoft.com/office/2007/relationships/diagramDrawing" Target="../diagrams/drawing20.xml"/><Relationship Id="rId3" Type="http://schemas.microsoft.com/office/2018/10/relationships/comments" Target="../comments/modernComment_152_E6D8117C.xml"/><Relationship Id="rId7" Type="http://schemas.openxmlformats.org/officeDocument/2006/relationships/diagramColors" Target="../diagrams/colors20.xml"/><Relationship Id="rId2" Type="http://schemas.openxmlformats.org/officeDocument/2006/relationships/notesSlide" Target="../notesSlides/notesSlide38.xml"/><Relationship Id="rId1" Type="http://schemas.openxmlformats.org/officeDocument/2006/relationships/slideLayout" Target="../slideLayouts/slideLayout95.xml"/><Relationship Id="rId6" Type="http://schemas.openxmlformats.org/officeDocument/2006/relationships/diagramQuickStyle" Target="../diagrams/quickStyle20.xml"/><Relationship Id="rId5" Type="http://schemas.openxmlformats.org/officeDocument/2006/relationships/diagramLayout" Target="../diagrams/layout20.xml"/><Relationship Id="rId4" Type="http://schemas.openxmlformats.org/officeDocument/2006/relationships/diagramData" Target="../diagrams/data20.xml"/><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8" Type="http://schemas.microsoft.com/office/2007/relationships/diagramDrawing" Target="../diagrams/drawing21.xml"/><Relationship Id="rId3" Type="http://schemas.microsoft.com/office/2018/10/relationships/comments" Target="../comments/modernComment_153_66261EA5.xml"/><Relationship Id="rId7" Type="http://schemas.openxmlformats.org/officeDocument/2006/relationships/diagramColors" Target="../diagrams/colors21.xml"/><Relationship Id="rId2" Type="http://schemas.openxmlformats.org/officeDocument/2006/relationships/notesSlide" Target="../notesSlides/notesSlide39.xml"/><Relationship Id="rId1" Type="http://schemas.openxmlformats.org/officeDocument/2006/relationships/slideLayout" Target="../slideLayouts/slideLayout95.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4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0.xml"/><Relationship Id="rId1" Type="http://schemas.openxmlformats.org/officeDocument/2006/relationships/slideLayout" Target="../slideLayouts/slideLayout9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42.xml.rels><?xml version="1.0" encoding="UTF-8" standalone="yes"?>
<Relationships xmlns="http://schemas.openxmlformats.org/package/2006/relationships"><Relationship Id="rId8" Type="http://schemas.microsoft.com/office/2007/relationships/diagramDrawing" Target="../diagrams/drawing23.xml"/><Relationship Id="rId3" Type="http://schemas.microsoft.com/office/2018/10/relationships/comments" Target="../comments/modernComment_122_4893E1C9.xml"/><Relationship Id="rId7" Type="http://schemas.openxmlformats.org/officeDocument/2006/relationships/diagramColors" Target="../diagrams/colors23.xml"/><Relationship Id="rId2" Type="http://schemas.openxmlformats.org/officeDocument/2006/relationships/notesSlide" Target="../notesSlides/notesSlide41.xml"/><Relationship Id="rId1" Type="http://schemas.openxmlformats.org/officeDocument/2006/relationships/slideLayout" Target="../slideLayouts/slideLayout95.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s>
</file>

<file path=ppt/slides/_rels/slide43.xml.rels><?xml version="1.0" encoding="UTF-8" standalone="yes"?>
<Relationships xmlns="http://schemas.openxmlformats.org/package/2006/relationships"><Relationship Id="rId8" Type="http://schemas.openxmlformats.org/officeDocument/2006/relationships/diagramData" Target="../diagrams/data25.xml"/><Relationship Id="rId13" Type="http://schemas.openxmlformats.org/officeDocument/2006/relationships/diagramData" Target="../diagrams/data26.xml"/><Relationship Id="rId18" Type="http://schemas.openxmlformats.org/officeDocument/2006/relationships/diagramData" Target="../diagrams/data27.xml"/><Relationship Id="rId26" Type="http://schemas.openxmlformats.org/officeDocument/2006/relationships/diagramColors" Target="../diagrams/colors28.xml"/><Relationship Id="rId3" Type="http://schemas.openxmlformats.org/officeDocument/2006/relationships/diagramData" Target="../diagrams/data24.xml"/><Relationship Id="rId21" Type="http://schemas.openxmlformats.org/officeDocument/2006/relationships/diagramColors" Target="../diagrams/colors27.xml"/><Relationship Id="rId7" Type="http://schemas.microsoft.com/office/2007/relationships/diagramDrawing" Target="../diagrams/drawing24.xml"/><Relationship Id="rId12" Type="http://schemas.microsoft.com/office/2007/relationships/diagramDrawing" Target="../diagrams/drawing25.xml"/><Relationship Id="rId17" Type="http://schemas.microsoft.com/office/2007/relationships/diagramDrawing" Target="../diagrams/drawing26.xml"/><Relationship Id="rId25" Type="http://schemas.openxmlformats.org/officeDocument/2006/relationships/diagramQuickStyle" Target="../diagrams/quickStyle28.xml"/><Relationship Id="rId2" Type="http://schemas.openxmlformats.org/officeDocument/2006/relationships/notesSlide" Target="../notesSlides/notesSlide42.xml"/><Relationship Id="rId16" Type="http://schemas.openxmlformats.org/officeDocument/2006/relationships/diagramColors" Target="../diagrams/colors26.xml"/><Relationship Id="rId20" Type="http://schemas.openxmlformats.org/officeDocument/2006/relationships/diagramQuickStyle" Target="../diagrams/quickStyle27.xml"/><Relationship Id="rId1" Type="http://schemas.openxmlformats.org/officeDocument/2006/relationships/slideLayout" Target="../slideLayouts/slideLayout148.xml"/><Relationship Id="rId6" Type="http://schemas.openxmlformats.org/officeDocument/2006/relationships/diagramColors" Target="../diagrams/colors24.xml"/><Relationship Id="rId11" Type="http://schemas.openxmlformats.org/officeDocument/2006/relationships/diagramColors" Target="../diagrams/colors25.xml"/><Relationship Id="rId24" Type="http://schemas.openxmlformats.org/officeDocument/2006/relationships/diagramLayout" Target="../diagrams/layout28.xml"/><Relationship Id="rId5" Type="http://schemas.openxmlformats.org/officeDocument/2006/relationships/diagramQuickStyle" Target="../diagrams/quickStyle24.xml"/><Relationship Id="rId15" Type="http://schemas.openxmlformats.org/officeDocument/2006/relationships/diagramQuickStyle" Target="../diagrams/quickStyle26.xml"/><Relationship Id="rId23" Type="http://schemas.openxmlformats.org/officeDocument/2006/relationships/diagramData" Target="../diagrams/data28.xml"/><Relationship Id="rId10" Type="http://schemas.openxmlformats.org/officeDocument/2006/relationships/diagramQuickStyle" Target="../diagrams/quickStyle25.xml"/><Relationship Id="rId19" Type="http://schemas.openxmlformats.org/officeDocument/2006/relationships/diagramLayout" Target="../diagrams/layout27.xml"/><Relationship Id="rId4" Type="http://schemas.openxmlformats.org/officeDocument/2006/relationships/diagramLayout" Target="../diagrams/layout24.xml"/><Relationship Id="rId9" Type="http://schemas.openxmlformats.org/officeDocument/2006/relationships/diagramLayout" Target="../diagrams/layout25.xml"/><Relationship Id="rId14" Type="http://schemas.openxmlformats.org/officeDocument/2006/relationships/diagramLayout" Target="../diagrams/layout26.xml"/><Relationship Id="rId22" Type="http://schemas.microsoft.com/office/2007/relationships/diagramDrawing" Target="../diagrams/drawing27.xml"/><Relationship Id="rId27" Type="http://schemas.microsoft.com/office/2007/relationships/diagramDrawing" Target="../diagrams/drawing2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2.xml"/></Relationships>
</file>

<file path=ppt/slides/_rels/slide4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customXml" Target="../../customXml/item8.xml"/><Relationship Id="rId7" Type="http://schemas.openxmlformats.org/officeDocument/2006/relationships/notesSlide" Target="../notesSlides/notesSlide44.xml"/><Relationship Id="rId2" Type="http://schemas.openxmlformats.org/officeDocument/2006/relationships/customXml" Target="../../customXml/item5.xml"/><Relationship Id="rId1" Type="http://schemas.openxmlformats.org/officeDocument/2006/relationships/tags" Target="../tags/tag15.xml"/><Relationship Id="rId6" Type="http://schemas.openxmlformats.org/officeDocument/2006/relationships/slideLayout" Target="../slideLayouts/slideLayout149.xml"/><Relationship Id="rId5" Type="http://schemas.openxmlformats.org/officeDocument/2006/relationships/customXml" Target="../../customXml/item6.xml"/><Relationship Id="rId4" Type="http://schemas.openxmlformats.org/officeDocument/2006/relationships/customXml" Target="../../customXml/item7.xml"/></Relationships>
</file>

<file path=ppt/slides/_rels/slide46.xml.rels><?xml version="1.0" encoding="UTF-8" standalone="yes"?>
<Relationships xmlns="http://schemas.openxmlformats.org/package/2006/relationships"><Relationship Id="rId8" Type="http://schemas.microsoft.com/office/2007/relationships/diagramDrawing" Target="../diagrams/drawing29.xml"/><Relationship Id="rId3" Type="http://schemas.microsoft.com/office/2018/10/relationships/comments" Target="../comments/modernComment_157_93680444.xml"/><Relationship Id="rId7" Type="http://schemas.openxmlformats.org/officeDocument/2006/relationships/diagramColors" Target="../diagrams/colors29.xml"/><Relationship Id="rId2" Type="http://schemas.openxmlformats.org/officeDocument/2006/relationships/notesSlide" Target="../notesSlides/notesSlide45.xml"/><Relationship Id="rId1" Type="http://schemas.openxmlformats.org/officeDocument/2006/relationships/slideLayout" Target="../slideLayouts/slideLayout54.xml"/><Relationship Id="rId6" Type="http://schemas.openxmlformats.org/officeDocument/2006/relationships/diagramQuickStyle" Target="../diagrams/quickStyle29.xml"/><Relationship Id="rId5" Type="http://schemas.openxmlformats.org/officeDocument/2006/relationships/diagramLayout" Target="../diagrams/layout29.xml"/><Relationship Id="rId4" Type="http://schemas.openxmlformats.org/officeDocument/2006/relationships/diagramData" Target="../diagrams/data29.xml"/></Relationships>
</file>

<file path=ppt/slides/_rels/slide47.xml.rels><?xml version="1.0" encoding="UTF-8" standalone="yes"?>
<Relationships xmlns="http://schemas.openxmlformats.org/package/2006/relationships"><Relationship Id="rId8" Type="http://schemas.microsoft.com/office/2007/relationships/diagramDrawing" Target="../diagrams/drawing30.xml"/><Relationship Id="rId3" Type="http://schemas.microsoft.com/office/2018/10/relationships/comments" Target="../comments/modernComment_158_D9D04F09.xml"/><Relationship Id="rId7" Type="http://schemas.openxmlformats.org/officeDocument/2006/relationships/diagramColors" Target="../diagrams/colors30.xml"/><Relationship Id="rId2" Type="http://schemas.openxmlformats.org/officeDocument/2006/relationships/notesSlide" Target="../notesSlides/notesSlide46.xml"/><Relationship Id="rId1" Type="http://schemas.openxmlformats.org/officeDocument/2006/relationships/slideLayout" Target="../slideLayouts/slideLayout54.xml"/><Relationship Id="rId6" Type="http://schemas.openxmlformats.org/officeDocument/2006/relationships/diagramQuickStyle" Target="../diagrams/quickStyle30.xml"/><Relationship Id="rId5" Type="http://schemas.openxmlformats.org/officeDocument/2006/relationships/diagramLayout" Target="../diagrams/layout30.xml"/><Relationship Id="rId4" Type="http://schemas.openxmlformats.org/officeDocument/2006/relationships/diagramData" Target="../diagrams/data30.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47.xml"/><Relationship Id="rId1" Type="http://schemas.openxmlformats.org/officeDocument/2006/relationships/slideLayout" Target="../slideLayouts/slideLayout54.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48.xml"/><Relationship Id="rId1" Type="http://schemas.openxmlformats.org/officeDocument/2006/relationships/slideLayout" Target="../slideLayouts/slideLayout54.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49.xml"/><Relationship Id="rId7" Type="http://schemas.openxmlformats.org/officeDocument/2006/relationships/image" Target="../media/image52.png"/><Relationship Id="rId2" Type="http://schemas.openxmlformats.org/officeDocument/2006/relationships/slideLayout" Target="../slideLayouts/slideLayout54.xml"/><Relationship Id="rId1" Type="http://schemas.openxmlformats.org/officeDocument/2006/relationships/vmlDrawing" Target="../drawings/vmlDrawing1.vml"/><Relationship Id="rId6" Type="http://schemas.openxmlformats.org/officeDocument/2006/relationships/image" Target="../media/image51.png"/><Relationship Id="rId5" Type="http://schemas.openxmlformats.org/officeDocument/2006/relationships/image" Target="../media/image50.wmf"/><Relationship Id="rId4" Type="http://schemas.openxmlformats.org/officeDocument/2006/relationships/oleObject" Target="../embeddings/oleObject1.bin"/><Relationship Id="rId9" Type="http://schemas.openxmlformats.org/officeDocument/2006/relationships/image" Target="../media/image54.png"/></Relationships>
</file>

<file path=ppt/slides/_rels/slide51.xml.rels><?xml version="1.0" encoding="UTF-8" standalone="yes"?>
<Relationships xmlns="http://schemas.openxmlformats.org/package/2006/relationships"><Relationship Id="rId8" Type="http://schemas.openxmlformats.org/officeDocument/2006/relationships/diagramData" Target="../diagrams/data34.xml"/><Relationship Id="rId13" Type="http://schemas.openxmlformats.org/officeDocument/2006/relationships/diagramData" Target="../diagrams/data35.xml"/><Relationship Id="rId3" Type="http://schemas.openxmlformats.org/officeDocument/2006/relationships/diagramData" Target="../diagrams/data33.xml"/><Relationship Id="rId7" Type="http://schemas.microsoft.com/office/2007/relationships/diagramDrawing" Target="../diagrams/drawing33.xml"/><Relationship Id="rId12" Type="http://schemas.microsoft.com/office/2007/relationships/diagramDrawing" Target="../diagrams/drawing34.xml"/><Relationship Id="rId17" Type="http://schemas.microsoft.com/office/2007/relationships/diagramDrawing" Target="../diagrams/drawing35.xml"/><Relationship Id="rId2" Type="http://schemas.openxmlformats.org/officeDocument/2006/relationships/notesSlide" Target="../notesSlides/notesSlide50.xml"/><Relationship Id="rId16" Type="http://schemas.openxmlformats.org/officeDocument/2006/relationships/diagramColors" Target="../diagrams/colors35.xml"/><Relationship Id="rId1" Type="http://schemas.openxmlformats.org/officeDocument/2006/relationships/slideLayout" Target="../slideLayouts/slideLayout54.xml"/><Relationship Id="rId6" Type="http://schemas.openxmlformats.org/officeDocument/2006/relationships/diagramColors" Target="../diagrams/colors33.xml"/><Relationship Id="rId11" Type="http://schemas.openxmlformats.org/officeDocument/2006/relationships/diagramColors" Target="../diagrams/colors34.xml"/><Relationship Id="rId5" Type="http://schemas.openxmlformats.org/officeDocument/2006/relationships/diagramQuickStyle" Target="../diagrams/quickStyle33.xml"/><Relationship Id="rId15" Type="http://schemas.openxmlformats.org/officeDocument/2006/relationships/diagramQuickStyle" Target="../diagrams/quickStyle35.xml"/><Relationship Id="rId10" Type="http://schemas.openxmlformats.org/officeDocument/2006/relationships/diagramQuickStyle" Target="../diagrams/quickStyle34.xml"/><Relationship Id="rId4" Type="http://schemas.openxmlformats.org/officeDocument/2006/relationships/diagramLayout" Target="../diagrams/layout33.xml"/><Relationship Id="rId9" Type="http://schemas.openxmlformats.org/officeDocument/2006/relationships/diagramLayout" Target="../diagrams/layout34.xml"/><Relationship Id="rId14" Type="http://schemas.openxmlformats.org/officeDocument/2006/relationships/diagramLayout" Target="../diagrams/layout3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customXml" Target="../../customXml/item8.xml"/><Relationship Id="rId7" Type="http://schemas.openxmlformats.org/officeDocument/2006/relationships/notesSlide" Target="../notesSlides/notesSlide51.xml"/><Relationship Id="rId2" Type="http://schemas.openxmlformats.org/officeDocument/2006/relationships/customXml" Target="../../customXml/item5.xml"/><Relationship Id="rId1" Type="http://schemas.openxmlformats.org/officeDocument/2006/relationships/tags" Target="../tags/tag16.xml"/><Relationship Id="rId6" Type="http://schemas.openxmlformats.org/officeDocument/2006/relationships/slideLayout" Target="../slideLayouts/slideLayout55.xml"/><Relationship Id="rId5" Type="http://schemas.openxmlformats.org/officeDocument/2006/relationships/customXml" Target="../../customXml/item6.xml"/><Relationship Id="rId4" Type="http://schemas.openxmlformats.org/officeDocument/2006/relationships/customXml" Target="../../customXml/item7.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notesSlide" Target="../notesSlides/notesSlide52.xml"/><Relationship Id="rId1" Type="http://schemas.openxmlformats.org/officeDocument/2006/relationships/slideLayout" Target="../slideLayouts/slideLayout95.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53.xml"/><Relationship Id="rId1" Type="http://schemas.openxmlformats.org/officeDocument/2006/relationships/slideLayout" Target="../slideLayouts/slideLayout95.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38.xml"/><Relationship Id="rId7" Type="http://schemas.microsoft.com/office/2007/relationships/diagramDrawing" Target="../diagrams/drawing38.xml"/><Relationship Id="rId2" Type="http://schemas.openxmlformats.org/officeDocument/2006/relationships/notesSlide" Target="../notesSlides/notesSlide54.xml"/><Relationship Id="rId1" Type="http://schemas.openxmlformats.org/officeDocument/2006/relationships/slideLayout" Target="../slideLayouts/slideLayout95.xml"/><Relationship Id="rId6" Type="http://schemas.openxmlformats.org/officeDocument/2006/relationships/diagramColors" Target="../diagrams/colors38.xml"/><Relationship Id="rId5" Type="http://schemas.openxmlformats.org/officeDocument/2006/relationships/diagramQuickStyle" Target="../diagrams/quickStyle38.xml"/><Relationship Id="rId4" Type="http://schemas.openxmlformats.org/officeDocument/2006/relationships/diagramLayout" Target="../diagrams/layout38.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39.xml"/><Relationship Id="rId7" Type="http://schemas.microsoft.com/office/2007/relationships/diagramDrawing" Target="../diagrams/drawing39.xml"/><Relationship Id="rId2" Type="http://schemas.openxmlformats.org/officeDocument/2006/relationships/notesSlide" Target="../notesSlides/notesSlide55.xml"/><Relationship Id="rId1" Type="http://schemas.openxmlformats.org/officeDocument/2006/relationships/slideLayout" Target="../slideLayouts/slideLayout95.xml"/><Relationship Id="rId6" Type="http://schemas.openxmlformats.org/officeDocument/2006/relationships/diagramColors" Target="../diagrams/colors39.xml"/><Relationship Id="rId5" Type="http://schemas.openxmlformats.org/officeDocument/2006/relationships/diagramQuickStyle" Target="../diagrams/quickStyle39.xml"/><Relationship Id="rId4" Type="http://schemas.openxmlformats.org/officeDocument/2006/relationships/diagramLayout" Target="../diagrams/layout39.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56.xml"/><Relationship Id="rId1" Type="http://schemas.openxmlformats.org/officeDocument/2006/relationships/slideLayout" Target="../slideLayouts/slideLayout95.xml"/><Relationship Id="rId6" Type="http://schemas.openxmlformats.org/officeDocument/2006/relationships/diagramColors" Target="../diagrams/colors40.xml"/><Relationship Id="rId5" Type="http://schemas.openxmlformats.org/officeDocument/2006/relationships/diagramQuickStyle" Target="../diagrams/quickStyle40.xml"/><Relationship Id="rId4" Type="http://schemas.openxmlformats.org/officeDocument/2006/relationships/diagramLayout" Target="../diagrams/layout40.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41.xml"/><Relationship Id="rId7" Type="http://schemas.microsoft.com/office/2007/relationships/diagramDrawing" Target="../diagrams/drawing41.xml"/><Relationship Id="rId2" Type="http://schemas.openxmlformats.org/officeDocument/2006/relationships/notesSlide" Target="../notesSlides/notesSlide57.xml"/><Relationship Id="rId1" Type="http://schemas.openxmlformats.org/officeDocument/2006/relationships/slideLayout" Target="../slideLayouts/slideLayout95.xml"/><Relationship Id="rId6" Type="http://schemas.openxmlformats.org/officeDocument/2006/relationships/diagramColors" Target="../diagrams/colors41.xml"/><Relationship Id="rId5" Type="http://schemas.openxmlformats.org/officeDocument/2006/relationships/diagramQuickStyle" Target="../diagrams/quickStyle41.xml"/><Relationship Id="rId4" Type="http://schemas.openxmlformats.org/officeDocument/2006/relationships/diagramLayout" Target="../diagrams/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54.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42.xml"/><Relationship Id="rId7" Type="http://schemas.microsoft.com/office/2007/relationships/diagramDrawing" Target="../diagrams/drawing42.xml"/><Relationship Id="rId2" Type="http://schemas.openxmlformats.org/officeDocument/2006/relationships/notesSlide" Target="../notesSlides/notesSlide58.xml"/><Relationship Id="rId1" Type="http://schemas.openxmlformats.org/officeDocument/2006/relationships/slideLayout" Target="../slideLayouts/slideLayout95.xml"/><Relationship Id="rId6" Type="http://schemas.openxmlformats.org/officeDocument/2006/relationships/diagramColors" Target="../diagrams/colors42.xml"/><Relationship Id="rId5" Type="http://schemas.openxmlformats.org/officeDocument/2006/relationships/diagramQuickStyle" Target="../diagrams/quickStyle42.xml"/><Relationship Id="rId4" Type="http://schemas.openxmlformats.org/officeDocument/2006/relationships/diagramLayout" Target="../diagrams/layout42.xml"/></Relationships>
</file>

<file path=ppt/slides/_rels/slide61.xml.rels><?xml version="1.0" encoding="UTF-8" standalone="yes"?>
<Relationships xmlns="http://schemas.openxmlformats.org/package/2006/relationships"><Relationship Id="rId8" Type="http://schemas.microsoft.com/office/2007/relationships/diagramDrawing" Target="../diagrams/drawing43.xml"/><Relationship Id="rId3" Type="http://schemas.microsoft.com/office/2018/10/relationships/comments" Target="../comments/modernComment_146_CDA52B4C.xml"/><Relationship Id="rId7" Type="http://schemas.openxmlformats.org/officeDocument/2006/relationships/diagramColors" Target="../diagrams/colors43.xml"/><Relationship Id="rId2" Type="http://schemas.openxmlformats.org/officeDocument/2006/relationships/notesSlide" Target="../notesSlides/notesSlide59.xml"/><Relationship Id="rId1" Type="http://schemas.openxmlformats.org/officeDocument/2006/relationships/slideLayout" Target="../slideLayouts/slideLayout95.xml"/><Relationship Id="rId6" Type="http://schemas.openxmlformats.org/officeDocument/2006/relationships/diagramQuickStyle" Target="../diagrams/quickStyle43.xml"/><Relationship Id="rId5" Type="http://schemas.openxmlformats.org/officeDocument/2006/relationships/diagramLayout" Target="../diagrams/layout43.xml"/><Relationship Id="rId4" Type="http://schemas.openxmlformats.org/officeDocument/2006/relationships/diagramData" Target="../diagrams/data4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5.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61.xml"/><Relationship Id="rId1" Type="http://schemas.openxmlformats.org/officeDocument/2006/relationships/slideLayout" Target="../slideLayouts/slideLayout95.xml"/><Relationship Id="rId6" Type="http://schemas.openxmlformats.org/officeDocument/2006/relationships/diagramColors" Target="../diagrams/colors44.xml"/><Relationship Id="rId5" Type="http://schemas.openxmlformats.org/officeDocument/2006/relationships/diagramQuickStyle" Target="../diagrams/quickStyle44.xml"/><Relationship Id="rId4" Type="http://schemas.openxmlformats.org/officeDocument/2006/relationships/diagramLayout" Target="../diagrams/layout44.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66.xml"/><Relationship Id="rId1" Type="http://schemas.openxmlformats.org/officeDocument/2006/relationships/tags" Target="../tags/tag17.xml"/><Relationship Id="rId4" Type="http://schemas.openxmlformats.org/officeDocument/2006/relationships/image" Target="../media/image31.jpeg"/></Relationships>
</file>

<file path=ppt/slides/_rels/slide65.xml.rels><?xml version="1.0" encoding="UTF-8" standalone="yes"?>
<Relationships xmlns="http://schemas.openxmlformats.org/package/2006/relationships"><Relationship Id="rId8" Type="http://schemas.openxmlformats.org/officeDocument/2006/relationships/diagramData" Target="../diagrams/data46.xml"/><Relationship Id="rId13" Type="http://schemas.openxmlformats.org/officeDocument/2006/relationships/diagramData" Target="../diagrams/data47.xml"/><Relationship Id="rId3" Type="http://schemas.openxmlformats.org/officeDocument/2006/relationships/diagramData" Target="../diagrams/data45.xml"/><Relationship Id="rId7" Type="http://schemas.microsoft.com/office/2007/relationships/diagramDrawing" Target="../diagrams/drawing45.xml"/><Relationship Id="rId12" Type="http://schemas.microsoft.com/office/2007/relationships/diagramDrawing" Target="../diagrams/drawing46.xml"/><Relationship Id="rId17" Type="http://schemas.microsoft.com/office/2007/relationships/diagramDrawing" Target="../diagrams/drawing47.xml"/><Relationship Id="rId2" Type="http://schemas.openxmlformats.org/officeDocument/2006/relationships/notesSlide" Target="../notesSlides/notesSlide63.xml"/><Relationship Id="rId16" Type="http://schemas.openxmlformats.org/officeDocument/2006/relationships/diagramColors" Target="../diagrams/colors47.xml"/><Relationship Id="rId1" Type="http://schemas.openxmlformats.org/officeDocument/2006/relationships/slideLayout" Target="../slideLayouts/slideLayout148.xml"/><Relationship Id="rId6" Type="http://schemas.openxmlformats.org/officeDocument/2006/relationships/diagramColors" Target="../diagrams/colors45.xml"/><Relationship Id="rId11" Type="http://schemas.openxmlformats.org/officeDocument/2006/relationships/diagramColors" Target="../diagrams/colors46.xml"/><Relationship Id="rId5" Type="http://schemas.openxmlformats.org/officeDocument/2006/relationships/diagramQuickStyle" Target="../diagrams/quickStyle45.xml"/><Relationship Id="rId15" Type="http://schemas.openxmlformats.org/officeDocument/2006/relationships/diagramQuickStyle" Target="../diagrams/quickStyle47.xml"/><Relationship Id="rId10" Type="http://schemas.openxmlformats.org/officeDocument/2006/relationships/diagramQuickStyle" Target="../diagrams/quickStyle46.xml"/><Relationship Id="rId4" Type="http://schemas.openxmlformats.org/officeDocument/2006/relationships/diagramLayout" Target="../diagrams/layout45.xml"/><Relationship Id="rId9" Type="http://schemas.openxmlformats.org/officeDocument/2006/relationships/diagramLayout" Target="../diagrams/layout46.xml"/><Relationship Id="rId14" Type="http://schemas.openxmlformats.org/officeDocument/2006/relationships/diagramLayout" Target="../diagrams/layout4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en-US" dirty="0"/>
              <a:t>Optimize Azure Synapse SQL Poo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7" cstate="screen">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180920558"/>
              </p:ext>
            </p:extLst>
          </p:nvPr>
        </p:nvGraphicFramePr>
        <p:xfrm>
          <a:off x="6989902" y="2161790"/>
          <a:ext cx="3896209" cy="2957791"/>
        </p:xfrm>
        <a:graphic>
          <a:graphicData uri="http://schemas.openxmlformats.org/drawingml/2006/table">
            <a:tbl>
              <a:tblPr firstRow="1" bandRow="1">
                <a:tableStyleId>{2D5ABB26-0587-4C30-8999-92F81FD0307C}</a:tableStyleId>
              </a:tblPr>
              <a:tblGrid>
                <a:gridCol w="1117090">
                  <a:extLst>
                    <a:ext uri="{9D8B030D-6E8A-4147-A177-3AD203B41FA5}">
                      <a16:colId xmlns:a16="http://schemas.microsoft.com/office/drawing/2014/main" val="3725280439"/>
                    </a:ext>
                  </a:extLst>
                </a:gridCol>
                <a:gridCol w="1452169">
                  <a:extLst>
                    <a:ext uri="{9D8B030D-6E8A-4147-A177-3AD203B41FA5}">
                      <a16:colId xmlns:a16="http://schemas.microsoft.com/office/drawing/2014/main" val="3776563889"/>
                    </a:ext>
                  </a:extLst>
                </a:gridCol>
                <a:gridCol w="1326950">
                  <a:extLst>
                    <a:ext uri="{9D8B030D-6E8A-4147-A177-3AD203B41FA5}">
                      <a16:colId xmlns:a16="http://schemas.microsoft.com/office/drawing/2014/main" val="3832914547"/>
                    </a:ext>
                  </a:extLst>
                </a:gridCol>
              </a:tblGrid>
              <a:tr h="785648">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300" dirty="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sz="1900" dirty="0">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300" dirty="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219726">
                <a:tc vMerge="1">
                  <a:txBody>
                    <a:bodyPr/>
                    <a:lstStyle/>
                    <a:p>
                      <a:endParaRPr lang="en-US"/>
                    </a:p>
                  </a:txBody>
                  <a:tcPr/>
                </a:tc>
                <a:tc>
                  <a:txBody>
                    <a:bodyPr/>
                    <a:lstStyle/>
                    <a:p>
                      <a:pPr algn="ctr"/>
                      <a:r>
                        <a:rPr lang="en-US" sz="2400" dirty="0">
                          <a:solidFill>
                            <a:schemeClr val="lt2"/>
                          </a:solidFill>
                          <a:latin typeface="Lucida Console" panose="020B0609040504020204" pitchFamily="49" charset="0"/>
                        </a:rPr>
                        <a:t>Azure Synapse SQL Pools</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709103">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900" dirty="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456237" y="356"/>
            <a:ext cx="6994524" cy="6997763"/>
          </a:xfrm>
          <a:prstGeom prst="rect">
            <a:avLst/>
          </a:prstGeom>
          <a:solidFill>
            <a:schemeClr val="tx1">
              <a:lumMod val="75000"/>
              <a:lumOff val="2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62941591"/>
      </p:ext>
    </p:extLst>
  </p:cSld>
  <p:clrMapOvr>
    <a:masterClrMapping/>
  </p:clrMapOvr>
  <p:transition spd="slow"/>
  <p:extLst>
    <p:ext uri="{6950BFC3-D8DA-4A85-94F7-54DA5524770B}">
      <p188:commentRel xmlns:p188="http://schemas.microsoft.com/office/powerpoint/2018/8/main" r:id="rId6"/>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1017416" y="1708860"/>
            <a:ext cx="10401645" cy="1979825"/>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solidFill>
                  <a:srgbClr val="353535"/>
                </a:solidFill>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mpute</a:t>
              </a:r>
            </a:p>
          </p:txBody>
        </p:sp>
      </p:grpSp>
      <p:grpSp>
        <p:nvGrpSpPr>
          <p:cNvPr id="2" name="Storage Set"/>
          <p:cNvGrpSpPr/>
          <p:nvPr/>
        </p:nvGrpSpPr>
        <p:grpSpPr>
          <a:xfrm>
            <a:off x="1071686" y="3857202"/>
            <a:ext cx="10401645" cy="2879504"/>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solidFill>
                  <a:srgbClr val="353535"/>
                </a:solidFill>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3">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3">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3">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3">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3">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3">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3">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3">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3">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3">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3">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3">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3">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3">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3">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3">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3">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3">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3">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3">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3">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3">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3">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3">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3">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3">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3">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3">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3">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3">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Premium Storage</a:t>
              </a:r>
            </a:p>
          </p:txBody>
        </p:sp>
      </p:grpSp>
      <p:pic>
        <p:nvPicPr>
          <p:cNvPr id="208" name="Compute Node 05"/>
          <p:cNvPicPr>
            <a:picLocks noChangeAspect="1"/>
          </p:cNvPicPr>
          <p:nvPr/>
        </p:nvPicPr>
        <p:blipFill>
          <a:blip r:embed="rId4">
            <a:biLevel thresh="25000"/>
          </a:blip>
          <a:stretch>
            <a:fillRect/>
          </a:stretch>
        </p:blipFill>
        <p:spPr>
          <a:xfrm>
            <a:off x="5406889" y="2802342"/>
            <a:ext cx="780068" cy="780068"/>
          </a:xfrm>
          <a:prstGeom prst="rect">
            <a:avLst/>
          </a:prstGeom>
          <a:ln>
            <a:noFill/>
          </a:ln>
        </p:spPr>
      </p:pic>
      <p:pic>
        <p:nvPicPr>
          <p:cNvPr id="206" name="Compute Node 04"/>
          <p:cNvPicPr>
            <a:picLocks noChangeAspect="1"/>
          </p:cNvPicPr>
          <p:nvPr/>
        </p:nvPicPr>
        <p:blipFill>
          <a:blip r:embed="rId4">
            <a:biLevel thresh="25000"/>
          </a:blip>
          <a:stretch>
            <a:fillRect/>
          </a:stretch>
        </p:blipFill>
        <p:spPr>
          <a:xfrm>
            <a:off x="4564258" y="2802342"/>
            <a:ext cx="780068" cy="780068"/>
          </a:xfrm>
          <a:prstGeom prst="rect">
            <a:avLst/>
          </a:prstGeom>
          <a:ln>
            <a:noFill/>
          </a:ln>
        </p:spPr>
      </p:pic>
      <p:pic>
        <p:nvPicPr>
          <p:cNvPr id="207" name="Compute Node 03"/>
          <p:cNvPicPr>
            <a:picLocks noChangeAspect="1"/>
          </p:cNvPicPr>
          <p:nvPr/>
        </p:nvPicPr>
        <p:blipFill>
          <a:blip r:embed="rId4">
            <a:biLevel thresh="25000"/>
          </a:blip>
          <a:stretch>
            <a:fillRect/>
          </a:stretch>
        </p:blipFill>
        <p:spPr>
          <a:xfrm>
            <a:off x="3721626" y="2802342"/>
            <a:ext cx="780068" cy="780068"/>
          </a:xfrm>
          <a:prstGeom prst="rect">
            <a:avLst/>
          </a:prstGeom>
          <a:ln>
            <a:noFill/>
          </a:ln>
        </p:spPr>
      </p:pic>
      <p:pic>
        <p:nvPicPr>
          <p:cNvPr id="108" name="Compute Node 02"/>
          <p:cNvPicPr>
            <a:picLocks noChangeAspect="1"/>
          </p:cNvPicPr>
          <p:nvPr/>
        </p:nvPicPr>
        <p:blipFill>
          <a:blip r:embed="rId4">
            <a:biLevel thresh="25000"/>
          </a:blip>
          <a:stretch>
            <a:fillRect/>
          </a:stretch>
        </p:blipFill>
        <p:spPr>
          <a:xfrm>
            <a:off x="2878994" y="2802342"/>
            <a:ext cx="780068" cy="780068"/>
          </a:xfrm>
          <a:prstGeom prst="rect">
            <a:avLst/>
          </a:prstGeom>
          <a:ln>
            <a:noFill/>
          </a:ln>
        </p:spPr>
      </p:pic>
      <p:pic>
        <p:nvPicPr>
          <p:cNvPr id="205" name="Compute Node 01"/>
          <p:cNvPicPr>
            <a:picLocks noChangeAspect="1"/>
          </p:cNvPicPr>
          <p:nvPr/>
        </p:nvPicPr>
        <p:blipFill>
          <a:blip r:embed="rId4">
            <a:biLevel thresh="25000"/>
          </a:blip>
          <a:stretch>
            <a:fillRect/>
          </a:stretch>
        </p:blipFill>
        <p:spPr>
          <a:xfrm>
            <a:off x="2036364" y="2802342"/>
            <a:ext cx="780068" cy="780068"/>
          </a:xfrm>
          <a:prstGeom prst="rect">
            <a:avLst/>
          </a:prstGeom>
          <a:ln>
            <a:noFill/>
          </a:ln>
        </p:spPr>
      </p:pic>
      <p:grpSp>
        <p:nvGrpSpPr>
          <p:cNvPr id="6" name="Control Set"/>
          <p:cNvGrpSpPr/>
          <p:nvPr/>
        </p:nvGrpSpPr>
        <p:grpSpPr>
          <a:xfrm>
            <a:off x="5828205" y="1769562"/>
            <a:ext cx="2332984" cy="780068"/>
            <a:chOff x="5828092" y="1769070"/>
            <a:chExt cx="2333646" cy="780290"/>
          </a:xfrm>
        </p:grpSpPr>
        <p:pic>
          <p:nvPicPr>
            <p:cNvPr id="215" name="Control Node"/>
            <p:cNvPicPr>
              <a:picLocks noChangeAspect="1"/>
            </p:cNvPicPr>
            <p:nvPr/>
          </p:nvPicPr>
          <p:blipFill>
            <a:blip r:embed="rId4">
              <a:biLevel thresh="25000"/>
            </a:blip>
            <a:stretch>
              <a:fillRect/>
            </a:stretch>
          </p:blipFill>
          <p:spPr>
            <a:xfrm>
              <a:off x="5828092" y="1769070"/>
              <a:ext cx="780290" cy="780290"/>
            </a:xfrm>
            <a:prstGeom prst="rect">
              <a:avLst/>
            </a:prstGeom>
            <a:ln>
              <a:noFill/>
            </a:ln>
          </p:spPr>
        </p:pic>
        <p:sp>
          <p:nvSpPr>
            <p:cNvPr id="110" name="Control Text"/>
            <p:cNvSpPr txBox="1"/>
            <p:nvPr/>
          </p:nvSpPr>
          <p:spPr>
            <a:xfrm>
              <a:off x="6792546" y="1842172"/>
              <a:ext cx="1369192" cy="634530"/>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ntrol</a:t>
              </a:r>
            </a:p>
          </p:txBody>
        </p:sp>
      </p:grpSp>
      <p:sp>
        <p:nvSpPr>
          <p:cNvPr id="3" name="Title 2"/>
          <p:cNvSpPr>
            <a:spLocks noGrp="1"/>
          </p:cNvSpPr>
          <p:nvPr>
            <p:ph type="title"/>
          </p:nvPr>
        </p:nvSpPr>
        <p:spPr>
          <a:xfrm>
            <a:off x="669572" y="326411"/>
            <a:ext cx="11097332" cy="941711"/>
          </a:xfrm>
        </p:spPr>
        <p:txBody>
          <a:bodyPr/>
          <a:lstStyle/>
          <a:p>
            <a:r>
              <a:rPr lang="en-GB" dirty="0">
                <a:cs typeface="Segoe UI"/>
              </a:rPr>
              <a:t>Separate Compute From Storage</a:t>
            </a:r>
            <a:br>
              <a:rPr lang="en-GB" dirty="0"/>
            </a:br>
            <a:endParaRPr lang="en-US"/>
          </a:p>
        </p:txBody>
      </p:sp>
      <p:pic>
        <p:nvPicPr>
          <p:cNvPr id="97" name="Picture 96">
            <a:extLst>
              <a:ext uri="{FF2B5EF4-FFF2-40B4-BE49-F238E27FC236}">
                <a16:creationId xmlns:a16="http://schemas.microsoft.com/office/drawing/2014/main" id="{CE97EC93-2A7B-4055-9001-228FD153F16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508239" y="461431"/>
            <a:ext cx="1078912" cy="1078912"/>
          </a:xfrm>
          <a:prstGeom prst="rect">
            <a:avLst/>
          </a:prstGeom>
        </p:spPr>
      </p:pic>
    </p:spTree>
    <p:extLst>
      <p:ext uri="{BB962C8B-B14F-4D97-AF65-F5344CB8AC3E}">
        <p14:creationId xmlns:p14="http://schemas.microsoft.com/office/powerpoint/2010/main" val="41196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05"/>
                                        </p:tgtEl>
                                        <p:attrNameLst>
                                          <p:attrName>style.visibility</p:attrName>
                                        </p:attrNameLst>
                                      </p:cBhvr>
                                      <p:to>
                                        <p:strVal val="visible"/>
                                      </p:to>
                                    </p:set>
                                    <p:animEffect transition="in" filter="fade">
                                      <p:cBhvr>
                                        <p:cTn id="18" dur="500"/>
                                        <p:tgtEl>
                                          <p:spTgt spid="205"/>
                                        </p:tgtEl>
                                      </p:cBhvr>
                                    </p:animEffect>
                                  </p:childTnLst>
                                </p:cTn>
                              </p:par>
                              <p:par>
                                <p:cTn id="19" presetID="10"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fade">
                                      <p:cBhvr>
                                        <p:cTn id="21" dur="500"/>
                                        <p:tgtEl>
                                          <p:spTgt spid="108"/>
                                        </p:tgtEl>
                                      </p:cBhvr>
                                    </p:animEffect>
                                  </p:childTnLst>
                                </p:cTn>
                              </p:par>
                              <p:par>
                                <p:cTn id="22" presetID="10" presetClass="entr" presetSubtype="0" fill="hold" nodeType="with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par>
                                <p:cTn id="25" presetID="10" presetClass="entr" presetSubtype="0" fill="hold"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fade">
                                      <p:cBhvr>
                                        <p:cTn id="27" dur="500"/>
                                        <p:tgtEl>
                                          <p:spTgt spid="206"/>
                                        </p:tgtEl>
                                      </p:cBhvr>
                                    </p:animEffect>
                                  </p:childTnLst>
                                </p:cTn>
                              </p:par>
                              <p:par>
                                <p:cTn id="28" presetID="10"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1017416" y="1708860"/>
            <a:ext cx="10401645" cy="1979825"/>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mpute</a:t>
              </a:r>
            </a:p>
          </p:txBody>
        </p:sp>
      </p:grpSp>
      <p:sp>
        <p:nvSpPr>
          <p:cNvPr id="3" name="Title 2"/>
          <p:cNvSpPr>
            <a:spLocks noGrp="1"/>
          </p:cNvSpPr>
          <p:nvPr>
            <p:ph type="title"/>
          </p:nvPr>
        </p:nvSpPr>
        <p:spPr>
          <a:xfrm>
            <a:off x="669572" y="326411"/>
            <a:ext cx="11097332" cy="941711"/>
          </a:xfrm>
        </p:spPr>
        <p:txBody>
          <a:bodyPr/>
          <a:lstStyle/>
          <a:p>
            <a:r>
              <a:rPr lang="en-GB" dirty="0">
                <a:cs typeface="Segoe UI"/>
              </a:rPr>
              <a:t>Independently Scale Compute</a:t>
            </a:r>
            <a:br>
              <a:rPr lang="en-GB" dirty="0"/>
            </a:br>
            <a:endParaRPr lang="en-US"/>
          </a:p>
        </p:txBody>
      </p:sp>
      <p:pic>
        <p:nvPicPr>
          <p:cNvPr id="213" name="Compute Node 10"/>
          <p:cNvPicPr>
            <a:picLocks noChangeAspect="1"/>
          </p:cNvPicPr>
          <p:nvPr/>
        </p:nvPicPr>
        <p:blipFill>
          <a:blip r:embed="rId3">
            <a:biLevel thresh="25000"/>
          </a:blip>
          <a:stretch>
            <a:fillRect/>
          </a:stretch>
        </p:blipFill>
        <p:spPr>
          <a:xfrm>
            <a:off x="9620046" y="2802342"/>
            <a:ext cx="780068" cy="780068"/>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777416" y="2802342"/>
            <a:ext cx="780068" cy="780068"/>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934783" y="2802342"/>
            <a:ext cx="780068" cy="780068"/>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7092153" y="2802342"/>
            <a:ext cx="780068" cy="780068"/>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249520" y="2802342"/>
            <a:ext cx="780068" cy="780068"/>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406889" y="2802342"/>
            <a:ext cx="780068" cy="780068"/>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564258" y="2802342"/>
            <a:ext cx="780068" cy="780068"/>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721626" y="2802342"/>
            <a:ext cx="780068" cy="780068"/>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78994" y="2802342"/>
            <a:ext cx="780068" cy="780068"/>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2036364" y="2802342"/>
            <a:ext cx="780068" cy="780068"/>
          </a:xfrm>
          <a:prstGeom prst="rect">
            <a:avLst/>
          </a:prstGeom>
          <a:solidFill>
            <a:schemeClr val="tx2"/>
          </a:solidFill>
        </p:spPr>
      </p:pic>
      <p:grpSp>
        <p:nvGrpSpPr>
          <p:cNvPr id="6" name="Control Set"/>
          <p:cNvGrpSpPr/>
          <p:nvPr/>
        </p:nvGrpSpPr>
        <p:grpSpPr>
          <a:xfrm>
            <a:off x="5828205" y="1769562"/>
            <a:ext cx="2332984" cy="780068"/>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ntrol</a:t>
              </a:r>
            </a:p>
          </p:txBody>
        </p:sp>
      </p:grpSp>
      <p:grpSp>
        <p:nvGrpSpPr>
          <p:cNvPr id="2" name="Storage Set"/>
          <p:cNvGrpSpPr/>
          <p:nvPr/>
        </p:nvGrpSpPr>
        <p:grpSpPr>
          <a:xfrm>
            <a:off x="1071686" y="3857202"/>
            <a:ext cx="10401645" cy="2879504"/>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Premium Storage</a:t>
              </a:r>
            </a:p>
          </p:txBody>
        </p:sp>
      </p:grpSp>
      <p:pic>
        <p:nvPicPr>
          <p:cNvPr id="98" name="Picture 97">
            <a:extLst>
              <a:ext uri="{FF2B5EF4-FFF2-40B4-BE49-F238E27FC236}">
                <a16:creationId xmlns:a16="http://schemas.microsoft.com/office/drawing/2014/main" id="{ADE6B338-AEF8-4E05-BA8D-78F176B1D3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508239" y="461431"/>
            <a:ext cx="1078912" cy="1078912"/>
          </a:xfrm>
          <a:prstGeom prst="rect">
            <a:avLst/>
          </a:prstGeom>
        </p:spPr>
      </p:pic>
    </p:spTree>
    <p:extLst>
      <p:ext uri="{BB962C8B-B14F-4D97-AF65-F5344CB8AC3E}">
        <p14:creationId xmlns:p14="http://schemas.microsoft.com/office/powerpoint/2010/main" val="183250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212"/>
                                        </p:tgtEl>
                                        <p:attrNameLst>
                                          <p:attrName>style.visibility</p:attrName>
                                        </p:attrNameLst>
                                      </p:cBhvr>
                                      <p:to>
                                        <p:strVal val="visible"/>
                                      </p:to>
                                    </p:set>
                                    <p:animEffect transition="in" filter="fade">
                                      <p:cBhvr>
                                        <p:cTn id="16" dur="500"/>
                                        <p:tgtEl>
                                          <p:spTgt spid="212"/>
                                        </p:tgtEl>
                                      </p:cBhvr>
                                    </p:animEffect>
                                  </p:childTnLst>
                                </p:cTn>
                              </p:par>
                              <p:par>
                                <p:cTn id="17" presetID="10" presetClass="entr" presetSubtype="0" fill="hold" nodeType="with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210"/>
                                        </p:tgtEl>
                                      </p:cBhvr>
                                    </p:animEffect>
                                    <p:set>
                                      <p:cBhvr>
                                        <p:cTn id="24" dur="1" fill="hold">
                                          <p:stCondLst>
                                            <p:cond delay="499"/>
                                          </p:stCondLst>
                                        </p:cTn>
                                        <p:tgtEl>
                                          <p:spTgt spid="2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13"/>
                                        </p:tgtEl>
                                      </p:cBhvr>
                                    </p:animEffect>
                                    <p:set>
                                      <p:cBhvr>
                                        <p:cTn id="27" dur="1" fill="hold">
                                          <p:stCondLst>
                                            <p:cond delay="499"/>
                                          </p:stCondLst>
                                        </p:cTn>
                                        <p:tgtEl>
                                          <p:spTgt spid="21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11"/>
                                        </p:tgtEl>
                                      </p:cBhvr>
                                    </p:animEffect>
                                    <p:set>
                                      <p:cBhvr>
                                        <p:cTn id="30" dur="1" fill="hold">
                                          <p:stCondLst>
                                            <p:cond delay="499"/>
                                          </p:stCondLst>
                                        </p:cTn>
                                        <p:tgtEl>
                                          <p:spTgt spid="21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12"/>
                                        </p:tgtEl>
                                      </p:cBhvr>
                                    </p:animEffect>
                                    <p:set>
                                      <p:cBhvr>
                                        <p:cTn id="33" dur="1" fill="hold">
                                          <p:stCondLst>
                                            <p:cond delay="499"/>
                                          </p:stCondLst>
                                        </p:cTn>
                                        <p:tgtEl>
                                          <p:spTgt spid="21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09"/>
                                        </p:tgtEl>
                                      </p:cBhvr>
                                    </p:animEffect>
                                    <p:set>
                                      <p:cBhvr>
                                        <p:cTn id="36" dur="1" fill="hold">
                                          <p:stCondLst>
                                            <p:cond delay="499"/>
                                          </p:stCondLst>
                                        </p:cTn>
                                        <p:tgtEl>
                                          <p:spTgt spid="209"/>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06"/>
                                        </p:tgtEl>
                                      </p:cBhvr>
                                    </p:animEffect>
                                    <p:set>
                                      <p:cBhvr>
                                        <p:cTn id="39" dur="1" fill="hold">
                                          <p:stCondLst>
                                            <p:cond delay="499"/>
                                          </p:stCondLst>
                                        </p:cTn>
                                        <p:tgtEl>
                                          <p:spTgt spid="20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08"/>
                                        </p:tgtEl>
                                      </p:cBhvr>
                                    </p:animEffect>
                                    <p:set>
                                      <p:cBhvr>
                                        <p:cTn id="42" dur="1" fill="hold">
                                          <p:stCondLst>
                                            <p:cond delay="499"/>
                                          </p:stCondLst>
                                        </p:cTn>
                                        <p:tgtEl>
                                          <p:spTgt spid="20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1017416" y="1708860"/>
            <a:ext cx="10401645" cy="1979825"/>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grp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mpute</a:t>
              </a:r>
            </a:p>
          </p:txBody>
        </p:sp>
      </p:grpSp>
      <p:sp>
        <p:nvSpPr>
          <p:cNvPr id="3" name="Title 2"/>
          <p:cNvSpPr>
            <a:spLocks noGrp="1"/>
          </p:cNvSpPr>
          <p:nvPr>
            <p:ph type="title"/>
          </p:nvPr>
        </p:nvSpPr>
        <p:spPr/>
        <p:txBody>
          <a:bodyPr/>
          <a:lstStyle/>
          <a:p>
            <a:r>
              <a:rPr lang="en-GB" dirty="0">
                <a:cs typeface="Segoe UI"/>
              </a:rPr>
              <a:t>Pause and Resume Workload</a:t>
            </a:r>
            <a:endParaRPr lang="en-US" dirty="0">
              <a:cs typeface="Segoe UI"/>
            </a:endParaRPr>
          </a:p>
        </p:txBody>
      </p:sp>
      <p:pic>
        <p:nvPicPr>
          <p:cNvPr id="207" name="Compute Node 03"/>
          <p:cNvPicPr>
            <a:picLocks noChangeAspect="1"/>
          </p:cNvPicPr>
          <p:nvPr/>
        </p:nvPicPr>
        <p:blipFill>
          <a:blip r:embed="rId3">
            <a:biLevel thresh="25000"/>
          </a:blip>
          <a:stretch>
            <a:fillRect/>
          </a:stretch>
        </p:blipFill>
        <p:spPr>
          <a:xfrm>
            <a:off x="3721626" y="2802342"/>
            <a:ext cx="780068" cy="780068"/>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78994" y="2802342"/>
            <a:ext cx="780068" cy="780068"/>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2036364" y="2802342"/>
            <a:ext cx="780068" cy="780068"/>
          </a:xfrm>
          <a:prstGeom prst="rect">
            <a:avLst/>
          </a:prstGeom>
          <a:solidFill>
            <a:schemeClr val="tx2"/>
          </a:solidFill>
        </p:spPr>
      </p:pic>
      <p:grpSp>
        <p:nvGrpSpPr>
          <p:cNvPr id="6" name="Control Set"/>
          <p:cNvGrpSpPr/>
          <p:nvPr/>
        </p:nvGrpSpPr>
        <p:grpSpPr>
          <a:xfrm>
            <a:off x="5828205" y="1769562"/>
            <a:ext cx="2332984" cy="780068"/>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ntrol</a:t>
              </a:r>
            </a:p>
          </p:txBody>
        </p:sp>
      </p:grpSp>
      <p:grpSp>
        <p:nvGrpSpPr>
          <p:cNvPr id="2" name="Storage Set"/>
          <p:cNvGrpSpPr/>
          <p:nvPr/>
        </p:nvGrpSpPr>
        <p:grpSpPr>
          <a:xfrm>
            <a:off x="1071686" y="3857202"/>
            <a:ext cx="10401645" cy="2879504"/>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solidFill>
                  <a:schemeClr val="bg1"/>
                </a:solid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solidFill>
                  <a:schemeClr val="bg1"/>
                </a:solid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solidFill>
                  <a:schemeClr val="bg1"/>
                </a:solid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solidFill>
                  <a:schemeClr val="bg1"/>
                </a:solid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solidFill>
                  <a:schemeClr val="bg1"/>
                </a:solid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solidFill>
                  <a:schemeClr val="bg1"/>
                </a:solid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solidFill>
                  <a:schemeClr val="bg1"/>
                </a:solid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solidFill>
                  <a:schemeClr val="bg1"/>
                </a:solid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solidFill>
                  <a:schemeClr val="bg1"/>
                </a:solid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solidFill>
                  <a:schemeClr val="bg1"/>
                </a:solid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solidFill>
                  <a:schemeClr val="bg1"/>
                </a:solid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solidFill>
                  <a:schemeClr val="bg1"/>
                </a:solid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solidFill>
                  <a:schemeClr val="bg1"/>
                </a:solid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solidFill>
                  <a:schemeClr val="bg1"/>
                </a:solid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solidFill>
                  <a:schemeClr val="bg1"/>
                </a:solid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solidFill>
                  <a:schemeClr val="bg1"/>
                </a:solid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solidFill>
                  <a:schemeClr val="bg1"/>
                </a:solid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solidFill>
                  <a:schemeClr val="bg1"/>
                </a:solid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solidFill>
                  <a:schemeClr val="bg1"/>
                </a:solid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solidFill>
                  <a:schemeClr val="bg1"/>
                </a:solid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solidFill>
                  <a:schemeClr val="bg1"/>
                </a:solid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solidFill>
                  <a:schemeClr val="bg1"/>
                </a:solid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solidFill>
                  <a:schemeClr val="bg1"/>
                </a:solid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solidFill>
                  <a:schemeClr val="bg1"/>
                </a:solid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solidFill>
                  <a:schemeClr val="bg1"/>
                </a:solid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solidFill>
                  <a:schemeClr val="bg1"/>
                </a:solid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solidFill>
                  <a:schemeClr val="bg1"/>
                </a:solid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solidFill>
                  <a:schemeClr val="bg1"/>
                </a:solid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solidFill>
                  <a:schemeClr val="bg1"/>
                </a:solid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solidFill>
                  <a:schemeClr val="bg1"/>
                </a:solidFill>
              </a:ln>
            </p:spPr>
          </p:pic>
        </p:grpSp>
        <p:sp>
          <p:nvSpPr>
            <p:cNvPr id="217" name="Storage Text"/>
            <p:cNvSpPr txBox="1"/>
            <p:nvPr/>
          </p:nvSpPr>
          <p:spPr>
            <a:xfrm rot="16200000">
              <a:off x="137700" y="4980197"/>
              <a:ext cx="2700658"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Premium Storage</a:t>
              </a:r>
            </a:p>
          </p:txBody>
        </p:sp>
      </p:grpSp>
      <p:pic>
        <p:nvPicPr>
          <p:cNvPr id="97" name="Picture 96">
            <a:extLst>
              <a:ext uri="{FF2B5EF4-FFF2-40B4-BE49-F238E27FC236}">
                <a16:creationId xmlns:a16="http://schemas.microsoft.com/office/drawing/2014/main" id="{E6749DD2-D9AD-4629-BAB9-C045F616425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508239" y="461431"/>
            <a:ext cx="1078912" cy="1078912"/>
          </a:xfrm>
          <a:prstGeom prst="rect">
            <a:avLst/>
          </a:prstGeom>
        </p:spPr>
      </p:pic>
    </p:spTree>
    <p:extLst>
      <p:ext uri="{BB962C8B-B14F-4D97-AF65-F5344CB8AC3E}">
        <p14:creationId xmlns:p14="http://schemas.microsoft.com/office/powerpoint/2010/main" val="11290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8"/>
                                        </p:tgtEl>
                                      </p:cBhvr>
                                    </p:animEffect>
                                    <p:set>
                                      <p:cBhvr>
                                        <p:cTn id="16" dur="1" fill="hold">
                                          <p:stCondLst>
                                            <p:cond delay="499"/>
                                          </p:stCondLst>
                                        </p:cTn>
                                        <p:tgtEl>
                                          <p:spTgt spid="10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207"/>
                                        </p:tgtEl>
                                      </p:cBhvr>
                                    </p:animEffect>
                                    <p:set>
                                      <p:cBhvr>
                                        <p:cTn id="19" dur="1" fill="hold">
                                          <p:stCondLst>
                                            <p:cond delay="499"/>
                                          </p:stCondLst>
                                        </p:cTn>
                                        <p:tgtEl>
                                          <p:spTgt spid="20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05"/>
                                        </p:tgtEl>
                                        <p:attrNameLst>
                                          <p:attrName>style.visibility</p:attrName>
                                        </p:attrNameLst>
                                      </p:cBhvr>
                                      <p:to>
                                        <p:strVal val="visible"/>
                                      </p:to>
                                    </p:set>
                                    <p:animEffect transition="in" filter="fade">
                                      <p:cBhvr>
                                        <p:cTn id="27" dur="500"/>
                                        <p:tgtEl>
                                          <p:spTgt spid="205"/>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nodeType="withEffect">
                                  <p:stCondLst>
                                    <p:cond delay="0"/>
                                  </p:stCondLst>
                                  <p:childTnLst>
                                    <p:set>
                                      <p:cBhvr>
                                        <p:cTn id="35" dur="1" fill="hold">
                                          <p:stCondLst>
                                            <p:cond delay="0"/>
                                          </p:stCondLst>
                                        </p:cTn>
                                        <p:tgtEl>
                                          <p:spTgt spid="207"/>
                                        </p:tgtEl>
                                        <p:attrNameLst>
                                          <p:attrName>style.visibility</p:attrName>
                                        </p:attrNameLst>
                                      </p:cBhvr>
                                      <p:to>
                                        <p:strVal val="visible"/>
                                      </p:to>
                                    </p:set>
                                    <p:animEffect transition="in" filter="fade">
                                      <p:cBhvr>
                                        <p:cTn id="36" dur="500"/>
                                        <p:tgtEl>
                                          <p:spTgt spid="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sp>
        <p:nvSpPr>
          <p:cNvPr id="3" name="Content Placeholder 2">
            <a:extLst>
              <a:ext uri="{FF2B5EF4-FFF2-40B4-BE49-F238E27FC236}">
                <a16:creationId xmlns:a16="http://schemas.microsoft.com/office/drawing/2014/main" id="{307B5841-B3B8-4E55-A916-42173CFA666C}"/>
              </a:ext>
            </a:extLst>
          </p:cNvPr>
          <p:cNvSpPr>
            <a:spLocks noGrp="1"/>
          </p:cNvSpPr>
          <p:nvPr>
            <p:ph sz="quarter" idx="13"/>
          </p:nvPr>
        </p:nvSpPr>
        <p:spPr>
          <a:xfrm>
            <a:off x="669572" y="1436146"/>
            <a:ext cx="2649823" cy="2169920"/>
          </a:xfrm>
        </p:spPr>
        <p:txBody>
          <a:bodyPr/>
          <a:lstStyle/>
          <a:p>
            <a:pPr marL="349724" indent="-349724">
              <a:buFont typeface="Arial" panose="020B0604020202020204" pitchFamily="34" charset="0"/>
              <a:buChar char="•"/>
            </a:pPr>
            <a:r>
              <a:rPr lang="en-US" dirty="0"/>
              <a:t>Azure Portal</a:t>
            </a:r>
          </a:p>
          <a:p>
            <a:pPr marL="349724" indent="-349724">
              <a:buFont typeface="Arial" panose="020B0604020202020204" pitchFamily="34" charset="0"/>
              <a:buChar char="•"/>
            </a:pPr>
            <a:r>
              <a:rPr lang="en-US" dirty="0"/>
              <a:t>PowerShell</a:t>
            </a:r>
          </a:p>
          <a:p>
            <a:pPr marL="349724" indent="-349724">
              <a:buFont typeface="Arial" panose="020B0604020202020204" pitchFamily="34" charset="0"/>
              <a:buChar char="•"/>
            </a:pPr>
            <a:r>
              <a:rPr lang="en-US" dirty="0"/>
              <a:t>T-SQL</a:t>
            </a:r>
          </a:p>
          <a:p>
            <a:pPr marL="349724" indent="-349724">
              <a:buFont typeface="Arial" panose="020B0604020202020204" pitchFamily="34" charset="0"/>
              <a:buChar char="•"/>
            </a:pPr>
            <a:r>
              <a:rPr lang="en-US" dirty="0"/>
              <a:t>REST API</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nvGraphicFramePr>
        <p:xfrm>
          <a:off x="4197597" y="1119123"/>
          <a:ext cx="7826097" cy="5548987"/>
        </p:xfrm>
        <a:graphic>
          <a:graphicData uri="http://schemas.openxmlformats.org/drawingml/2006/table">
            <a:tbl>
              <a:tblPr firstRow="1" bandRow="1">
                <a:tableStyleId>{5C22544A-7EE6-4342-B048-85BDC9FD1C3A}</a:tableStyleId>
              </a:tblPr>
              <a:tblGrid>
                <a:gridCol w="2608699">
                  <a:extLst>
                    <a:ext uri="{9D8B030D-6E8A-4147-A177-3AD203B41FA5}">
                      <a16:colId xmlns:a16="http://schemas.microsoft.com/office/drawing/2014/main" val="1432371333"/>
                    </a:ext>
                  </a:extLst>
                </a:gridCol>
                <a:gridCol w="2608699">
                  <a:extLst>
                    <a:ext uri="{9D8B030D-6E8A-4147-A177-3AD203B41FA5}">
                      <a16:colId xmlns:a16="http://schemas.microsoft.com/office/drawing/2014/main" val="946483975"/>
                    </a:ext>
                  </a:extLst>
                </a:gridCol>
                <a:gridCol w="2608699">
                  <a:extLst>
                    <a:ext uri="{9D8B030D-6E8A-4147-A177-3AD203B41FA5}">
                      <a16:colId xmlns:a16="http://schemas.microsoft.com/office/drawing/2014/main" val="3302170393"/>
                    </a:ext>
                  </a:extLst>
                </a:gridCol>
              </a:tblGrid>
              <a:tr h="326411">
                <a:tc>
                  <a:txBody>
                    <a:bodyPr/>
                    <a:lstStyle/>
                    <a:p>
                      <a:pPr algn="ctr"/>
                      <a:r>
                        <a:rPr lang="en-US" sz="1400" dirty="0" err="1"/>
                        <a:t>cDWU</a:t>
                      </a: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6411">
                <a:tc>
                  <a:txBody>
                    <a:bodyPr/>
                    <a:lstStyle/>
                    <a:p>
                      <a:pPr algn="ctr" fontAlgn="t"/>
                      <a:r>
                        <a:rPr lang="en-US" sz="1200" dirty="0">
                          <a:effectLs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6411">
                <a:tc>
                  <a:txBody>
                    <a:bodyPr/>
                    <a:lstStyle/>
                    <a:p>
                      <a:pPr algn="ctr" fontAlgn="t"/>
                      <a:r>
                        <a:rPr lang="en-US" sz="1200" dirty="0">
                          <a:effectLs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6411">
                <a:tc>
                  <a:txBody>
                    <a:bodyPr/>
                    <a:lstStyle/>
                    <a:p>
                      <a:pPr algn="ctr" fontAlgn="t"/>
                      <a:r>
                        <a:rPr lang="en-US" sz="1200">
                          <a:effectLs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6411">
                <a:tc>
                  <a:txBody>
                    <a:bodyPr/>
                    <a:lstStyle/>
                    <a:p>
                      <a:pPr algn="ctr" fontAlgn="t"/>
                      <a:r>
                        <a:rPr lang="en-US" sz="1200">
                          <a:effectLs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6411">
                <a:tc>
                  <a:txBody>
                    <a:bodyPr/>
                    <a:lstStyle/>
                    <a:p>
                      <a:pPr algn="ctr" fontAlgn="t"/>
                      <a:r>
                        <a:rPr lang="en-US" sz="1200" dirty="0">
                          <a:effectLs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6411">
                <a:tc>
                  <a:txBody>
                    <a:bodyPr/>
                    <a:lstStyle/>
                    <a:p>
                      <a:pPr algn="ctr" fontAlgn="t"/>
                      <a:r>
                        <a:rPr lang="en-US" sz="1200">
                          <a:effectLs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6411">
                <a:tc>
                  <a:txBody>
                    <a:bodyPr/>
                    <a:lstStyle/>
                    <a:p>
                      <a:pPr algn="ctr" fontAlgn="t"/>
                      <a:r>
                        <a:rPr lang="en-US" sz="1200">
                          <a:effectLs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6411">
                <a:tc>
                  <a:txBody>
                    <a:bodyPr/>
                    <a:lstStyle/>
                    <a:p>
                      <a:pPr algn="ctr" fontAlgn="t"/>
                      <a:r>
                        <a:rPr lang="en-US" sz="1200">
                          <a:effectLs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6411">
                <a:tc>
                  <a:txBody>
                    <a:bodyPr/>
                    <a:lstStyle/>
                    <a:p>
                      <a:pPr algn="ctr" fontAlgn="t"/>
                      <a:r>
                        <a:rPr lang="en-US" sz="1200">
                          <a:effectLs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6411">
                <a:tc>
                  <a:txBody>
                    <a:bodyPr/>
                    <a:lstStyle/>
                    <a:p>
                      <a:pPr algn="ctr" fontAlgn="t"/>
                      <a:r>
                        <a:rPr lang="en-US" sz="1200">
                          <a:effectLs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6411">
                <a:tc>
                  <a:txBody>
                    <a:bodyPr/>
                    <a:lstStyle/>
                    <a:p>
                      <a:pPr algn="ctr" fontAlgn="t"/>
                      <a:r>
                        <a:rPr lang="en-US" sz="1200">
                          <a:effectLs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6411">
                <a:tc>
                  <a:txBody>
                    <a:bodyPr/>
                    <a:lstStyle/>
                    <a:p>
                      <a:pPr algn="ctr" fontAlgn="t"/>
                      <a:r>
                        <a:rPr lang="en-US" sz="1200">
                          <a:effectLs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6411">
                <a:tc>
                  <a:txBody>
                    <a:bodyPr/>
                    <a:lstStyle/>
                    <a:p>
                      <a:pPr algn="ctr" fontAlgn="t"/>
                      <a:r>
                        <a:rPr lang="en-US" sz="1200">
                          <a:effectLs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6411">
                <a:tc>
                  <a:txBody>
                    <a:bodyPr/>
                    <a:lstStyle/>
                    <a:p>
                      <a:pPr algn="ctr" fontAlgn="t"/>
                      <a:r>
                        <a:rPr lang="en-US" sz="1200">
                          <a:effectLs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6411">
                <a:tc>
                  <a:txBody>
                    <a:bodyPr/>
                    <a:lstStyle/>
                    <a:p>
                      <a:pPr algn="ctr" fontAlgn="t"/>
                      <a:r>
                        <a:rPr lang="en-US" sz="1200">
                          <a:effectLs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6411">
                <a:tc>
                  <a:txBody>
                    <a:bodyPr/>
                    <a:lstStyle/>
                    <a:p>
                      <a:pPr algn="ctr" fontAlgn="t"/>
                      <a:r>
                        <a:rPr lang="en-US" sz="1200">
                          <a:effectLs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26851983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9572" y="326411"/>
            <a:ext cx="9730542" cy="470856"/>
          </a:xfrm>
        </p:spPr>
        <p:txBody>
          <a:bodyPr/>
          <a:lstStyle/>
          <a:p>
            <a:r>
              <a:rPr lang="en-US" dirty="0"/>
              <a:t>Query Execution</a:t>
            </a:r>
          </a:p>
        </p:txBody>
      </p:sp>
      <p:grpSp>
        <p:nvGrpSpPr>
          <p:cNvPr id="8" name="Group 7">
            <a:extLst>
              <a:ext uri="{FF2B5EF4-FFF2-40B4-BE49-F238E27FC236}">
                <a16:creationId xmlns:a16="http://schemas.microsoft.com/office/drawing/2014/main" id="{20E42B5F-51F5-4248-B9C6-721CE5593238}"/>
              </a:ext>
            </a:extLst>
          </p:cNvPr>
          <p:cNvGrpSpPr/>
          <p:nvPr/>
        </p:nvGrpSpPr>
        <p:grpSpPr>
          <a:xfrm>
            <a:off x="1017416" y="1708860"/>
            <a:ext cx="10401645" cy="1979825"/>
            <a:chOff x="1016677" y="1708606"/>
            <a:chExt cx="10403121" cy="1980106"/>
          </a:xfrm>
        </p:grpSpPr>
        <p:grpSp>
          <p:nvGrpSpPr>
            <p:cNvPr id="7" name="Compute Set"/>
            <p:cNvGrpSpPr/>
            <p:nvPr/>
          </p:nvGrpSpPr>
          <p:grpSpPr>
            <a:xfrm>
              <a:off x="1016677" y="1708606"/>
              <a:ext cx="10403121" cy="1980106"/>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mpute</a:t>
                </a:r>
              </a:p>
            </p:txBody>
          </p:sp>
        </p:grpSp>
        <p:pic>
          <p:nvPicPr>
            <p:cNvPr id="213" name="Compute Node 10"/>
            <p:cNvPicPr>
              <a:picLocks noChangeAspect="1"/>
            </p:cNvPicPr>
            <p:nvPr/>
          </p:nvPicPr>
          <p:blipFill>
            <a:blip r:embed="rId3">
              <a:biLevel thresh="25000"/>
            </a:blip>
            <a:stretch>
              <a:fillRect/>
            </a:stretch>
          </p:blipFill>
          <p:spPr>
            <a:xfrm>
              <a:off x="9620528" y="2802243"/>
              <a:ext cx="780179" cy="780179"/>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777779" y="2802243"/>
              <a:ext cx="780179" cy="780179"/>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935026" y="2802243"/>
              <a:ext cx="780179" cy="780179"/>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7092276" y="2802243"/>
              <a:ext cx="780179" cy="780179"/>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249523" y="2802243"/>
              <a:ext cx="780179" cy="780179"/>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406774" y="2802243"/>
              <a:ext cx="780179" cy="780179"/>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564023" y="2802243"/>
              <a:ext cx="780179" cy="780179"/>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721271" y="2802243"/>
              <a:ext cx="780179" cy="780179"/>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78520" y="2802243"/>
              <a:ext cx="780179" cy="780179"/>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2035770" y="2802243"/>
              <a:ext cx="780179" cy="780179"/>
            </a:xfrm>
            <a:prstGeom prst="rect">
              <a:avLst/>
            </a:prstGeom>
            <a:solidFill>
              <a:schemeClr val="tx2"/>
            </a:solidFill>
          </p:spPr>
        </p:pic>
        <p:grpSp>
          <p:nvGrpSpPr>
            <p:cNvPr id="6" name="Control Set"/>
            <p:cNvGrpSpPr/>
            <p:nvPr/>
          </p:nvGrpSpPr>
          <p:grpSpPr>
            <a:xfrm>
              <a:off x="5828148" y="1769317"/>
              <a:ext cx="2333315" cy="780179"/>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Control</a:t>
                </a:r>
              </a:p>
            </p:txBody>
          </p:sp>
        </p:grpSp>
      </p:grpSp>
      <p:grpSp>
        <p:nvGrpSpPr>
          <p:cNvPr id="2" name="Storage Set"/>
          <p:cNvGrpSpPr/>
          <p:nvPr/>
        </p:nvGrpSpPr>
        <p:grpSpPr>
          <a:xfrm>
            <a:off x="1071686" y="3857202"/>
            <a:ext cx="10401645" cy="2879504"/>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86"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82828" tIns="146262" rIns="182828" bIns="146262" rtlCol="0">
              <a:spAutoFit/>
            </a:bodyPr>
            <a:lstStyle/>
            <a:p>
              <a:pPr defTabSz="932563">
                <a:lnSpc>
                  <a:spcPct val="90000"/>
                </a:lnSpc>
                <a:spcAft>
                  <a:spcPts val="600"/>
                </a:spcAft>
              </a:pPr>
              <a:r>
                <a:rPr lang="en-GB" sz="2400">
                  <a:solidFill>
                    <a:srgbClr val="FFFFFF"/>
                  </a:solidFill>
                  <a:latin typeface="Segoe UI Semilight"/>
                </a:rPr>
                <a:t>Premium Storage</a:t>
              </a:r>
            </a:p>
          </p:txBody>
        </p:sp>
      </p:grpSp>
      <p:sp>
        <p:nvSpPr>
          <p:cNvPr id="98" name="Query">
            <a:extLst>
              <a:ext uri="{FF2B5EF4-FFF2-40B4-BE49-F238E27FC236}">
                <a16:creationId xmlns:a16="http://schemas.microsoft.com/office/drawing/2014/main" id="{BDED9EF2-7431-4DA4-9263-CF617AF8F2FD}"/>
              </a:ext>
            </a:extLst>
          </p:cNvPr>
          <p:cNvSpPr/>
          <p:nvPr/>
        </p:nvSpPr>
        <p:spPr bwMode="auto">
          <a:xfrm>
            <a:off x="5576798" y="740456"/>
            <a:ext cx="1282883" cy="978130"/>
          </a:xfrm>
          <a:prstGeom prst="downArrow">
            <a:avLst>
              <a:gd name="adj1" fmla="val 100000"/>
              <a:gd name="adj2" fmla="val 31358"/>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12" fontAlgn="base">
              <a:lnSpc>
                <a:spcPct val="90000"/>
              </a:lnSpc>
              <a:spcBef>
                <a:spcPct val="0"/>
              </a:spcBef>
              <a:spcAft>
                <a:spcPct val="0"/>
              </a:spcAft>
            </a:pPr>
            <a:r>
              <a:rPr lang="en-GB" sz="2400">
                <a:gradFill>
                  <a:gsLst>
                    <a:gs pos="0">
                      <a:srgbClr val="FFFFFF"/>
                    </a:gs>
                    <a:gs pos="100000">
                      <a:srgbClr val="FFFFFF"/>
                    </a:gs>
                  </a:gsLst>
                  <a:lin ang="5400000" scaled="0"/>
                </a:gradFill>
                <a:latin typeface="Segoe UI Semilight"/>
                <a:ea typeface="Segoe UI" pitchFamily="34" charset="0"/>
                <a:cs typeface="Segoe UI" pitchFamily="34" charset="0"/>
              </a:rPr>
              <a:t>Query</a:t>
            </a:r>
          </a:p>
        </p:txBody>
      </p:sp>
      <p:grpSp>
        <p:nvGrpSpPr>
          <p:cNvPr id="100" name="Compute to Control">
            <a:extLst>
              <a:ext uri="{FF2B5EF4-FFF2-40B4-BE49-F238E27FC236}">
                <a16:creationId xmlns:a16="http://schemas.microsoft.com/office/drawing/2014/main" id="{6CC8F09C-2177-44C8-B707-01A708F0EAED}"/>
              </a:ext>
            </a:extLst>
          </p:cNvPr>
          <p:cNvGrpSpPr/>
          <p:nvPr/>
        </p:nvGrpSpPr>
        <p:grpSpPr>
          <a:xfrm>
            <a:off x="2816430" y="2473572"/>
            <a:ext cx="6803616" cy="642745"/>
            <a:chOff x="2815464" y="2549360"/>
            <a:chExt cx="6805546" cy="642928"/>
          </a:xfrm>
        </p:grpSpPr>
        <p:cxnSp>
          <p:nvCxnSpPr>
            <p:cNvPr id="101" name="Straight Arrow Connector 100">
              <a:extLst>
                <a:ext uri="{FF2B5EF4-FFF2-40B4-BE49-F238E27FC236}">
                  <a16:creationId xmlns:a16="http://schemas.microsoft.com/office/drawing/2014/main" id="{984017B0-69C4-4CD5-B943-900AB4A2BDBF}"/>
                </a:ext>
              </a:extLst>
            </p:cNvPr>
            <p:cNvCxnSpPr/>
            <p:nvPr/>
          </p:nvCxnSpPr>
          <p:spPr>
            <a:xfrm flipH="1">
              <a:off x="2815464" y="2549360"/>
              <a:ext cx="3402773"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DD431689-68C2-4A7F-B687-5ADE8B108559}"/>
                </a:ext>
              </a:extLst>
            </p:cNvPr>
            <p:cNvCxnSpPr/>
            <p:nvPr/>
          </p:nvCxnSpPr>
          <p:spPr>
            <a:xfrm flipH="1">
              <a:off x="3658335" y="2549360"/>
              <a:ext cx="2559902"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E978373-E2C6-4493-961A-922D0330393A}"/>
                </a:ext>
              </a:extLst>
            </p:cNvPr>
            <p:cNvCxnSpPr/>
            <p:nvPr/>
          </p:nvCxnSpPr>
          <p:spPr>
            <a:xfrm flipH="1">
              <a:off x="4501206" y="2549360"/>
              <a:ext cx="1717031"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A86CDA12-F0ED-4B87-8F03-DA2BAD75DBAE}"/>
                </a:ext>
              </a:extLst>
            </p:cNvPr>
            <p:cNvCxnSpPr/>
            <p:nvPr/>
          </p:nvCxnSpPr>
          <p:spPr>
            <a:xfrm flipH="1">
              <a:off x="6186947" y="2549360"/>
              <a:ext cx="31290"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DF31C2AD-60C8-44CA-A7D4-4500A430AE8B}"/>
                </a:ext>
              </a:extLst>
            </p:cNvPr>
            <p:cNvCxnSpPr/>
            <p:nvPr/>
          </p:nvCxnSpPr>
          <p:spPr>
            <a:xfrm flipH="1">
              <a:off x="5344077" y="2549360"/>
              <a:ext cx="874160"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7D03B71D-C44B-4F45-9EDB-A9A09A5CBF4F}"/>
                </a:ext>
              </a:extLst>
            </p:cNvPr>
            <p:cNvCxnSpPr/>
            <p:nvPr/>
          </p:nvCxnSpPr>
          <p:spPr>
            <a:xfrm>
              <a:off x="6218237" y="2549360"/>
              <a:ext cx="31290"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6E30FDD3-4F38-426B-B402-E4D9BA2A3ECB}"/>
                </a:ext>
              </a:extLst>
            </p:cNvPr>
            <p:cNvCxnSpPr/>
            <p:nvPr/>
          </p:nvCxnSpPr>
          <p:spPr>
            <a:xfrm>
              <a:off x="6218237" y="2549360"/>
              <a:ext cx="874161"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D6441D28-95A6-46E9-B5A4-856F02D256AA}"/>
                </a:ext>
              </a:extLst>
            </p:cNvPr>
            <p:cNvCxnSpPr/>
            <p:nvPr/>
          </p:nvCxnSpPr>
          <p:spPr>
            <a:xfrm>
              <a:off x="6218237" y="2549360"/>
              <a:ext cx="1717032"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54494AC9-5A95-41E5-86EF-B13A9E1F987A}"/>
                </a:ext>
              </a:extLst>
            </p:cNvPr>
            <p:cNvCxnSpPr/>
            <p:nvPr/>
          </p:nvCxnSpPr>
          <p:spPr>
            <a:xfrm>
              <a:off x="6218237" y="2549360"/>
              <a:ext cx="2559903"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00E157EE-C1C5-4523-B28F-18E434E8708C}"/>
                </a:ext>
              </a:extLst>
            </p:cNvPr>
            <p:cNvCxnSpPr/>
            <p:nvPr/>
          </p:nvCxnSpPr>
          <p:spPr>
            <a:xfrm>
              <a:off x="6218237" y="2549360"/>
              <a:ext cx="3402773" cy="64292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3" name="Control To Compute">
            <a:extLst>
              <a:ext uri="{FF2B5EF4-FFF2-40B4-BE49-F238E27FC236}">
                <a16:creationId xmlns:a16="http://schemas.microsoft.com/office/drawing/2014/main" id="{56A5EB73-95AE-4022-9EB3-C7B6CF0FDD92}"/>
              </a:ext>
            </a:extLst>
          </p:cNvPr>
          <p:cNvGrpSpPr/>
          <p:nvPr/>
        </p:nvGrpSpPr>
        <p:grpSpPr>
          <a:xfrm>
            <a:off x="2816431" y="2473572"/>
            <a:ext cx="6803615" cy="642745"/>
            <a:chOff x="2815465" y="2549360"/>
            <a:chExt cx="6805547" cy="642928"/>
          </a:xfrm>
        </p:grpSpPr>
        <p:cxnSp>
          <p:nvCxnSpPr>
            <p:cNvPr id="114" name="Straight Arrow Connector 113">
              <a:extLst>
                <a:ext uri="{FF2B5EF4-FFF2-40B4-BE49-F238E27FC236}">
                  <a16:creationId xmlns:a16="http://schemas.microsoft.com/office/drawing/2014/main" id="{862E8445-6B3D-440D-B8DC-9EB9BC6F7DAE}"/>
                </a:ext>
              </a:extLst>
            </p:cNvPr>
            <p:cNvCxnSpPr/>
            <p:nvPr/>
          </p:nvCxnSpPr>
          <p:spPr>
            <a:xfrm flipH="1">
              <a:off x="2815465" y="2549360"/>
              <a:ext cx="3402774"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6137A1C-60C2-40D4-950F-E32810FE72E1}"/>
                </a:ext>
              </a:extLst>
            </p:cNvPr>
            <p:cNvCxnSpPr/>
            <p:nvPr/>
          </p:nvCxnSpPr>
          <p:spPr>
            <a:xfrm flipH="1">
              <a:off x="3658335" y="2549360"/>
              <a:ext cx="2559902"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277ACCCA-E8AF-4655-AA07-90AAF4838217}"/>
                </a:ext>
              </a:extLst>
            </p:cNvPr>
            <p:cNvCxnSpPr/>
            <p:nvPr/>
          </p:nvCxnSpPr>
          <p:spPr>
            <a:xfrm flipH="1">
              <a:off x="4501206" y="2549360"/>
              <a:ext cx="1717032"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3293F46A-5888-41E7-929E-278DCA3652E0}"/>
                </a:ext>
              </a:extLst>
            </p:cNvPr>
            <p:cNvCxnSpPr/>
            <p:nvPr/>
          </p:nvCxnSpPr>
          <p:spPr>
            <a:xfrm flipH="1">
              <a:off x="5344076" y="2549360"/>
              <a:ext cx="874160"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5C8CD9F6-7E5A-42FB-8816-075563A70FC1}"/>
                </a:ext>
              </a:extLst>
            </p:cNvPr>
            <p:cNvCxnSpPr/>
            <p:nvPr/>
          </p:nvCxnSpPr>
          <p:spPr>
            <a:xfrm flipH="1">
              <a:off x="6186948" y="2549360"/>
              <a:ext cx="31290"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497CAF4C-44A9-49FA-829E-87897F7C3853}"/>
                </a:ext>
              </a:extLst>
            </p:cNvPr>
            <p:cNvCxnSpPr/>
            <p:nvPr/>
          </p:nvCxnSpPr>
          <p:spPr>
            <a:xfrm>
              <a:off x="6218238" y="2549360"/>
              <a:ext cx="31290"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1B286807-36CF-48D0-8E5A-158F20E7BAC6}"/>
                </a:ext>
              </a:extLst>
            </p:cNvPr>
            <p:cNvCxnSpPr/>
            <p:nvPr/>
          </p:nvCxnSpPr>
          <p:spPr>
            <a:xfrm>
              <a:off x="6218238" y="2549360"/>
              <a:ext cx="874161"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4E001855-7796-4952-BA3F-02AF5137FC18}"/>
                </a:ext>
              </a:extLst>
            </p:cNvPr>
            <p:cNvCxnSpPr/>
            <p:nvPr/>
          </p:nvCxnSpPr>
          <p:spPr>
            <a:xfrm>
              <a:off x="6218238" y="2549360"/>
              <a:ext cx="1717033"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98AC9269-2776-40F6-9832-8003B1167A50}"/>
                </a:ext>
              </a:extLst>
            </p:cNvPr>
            <p:cNvCxnSpPr/>
            <p:nvPr/>
          </p:nvCxnSpPr>
          <p:spPr>
            <a:xfrm>
              <a:off x="6218238" y="2549360"/>
              <a:ext cx="2497322"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51211387-EDE5-45F2-B1E7-0CB8819A3D5C}"/>
                </a:ext>
              </a:extLst>
            </p:cNvPr>
            <p:cNvCxnSpPr/>
            <p:nvPr/>
          </p:nvCxnSpPr>
          <p:spPr>
            <a:xfrm>
              <a:off x="6218238" y="2549360"/>
              <a:ext cx="3402774" cy="64292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4" name="Storage to Compute">
            <a:extLst>
              <a:ext uri="{FF2B5EF4-FFF2-40B4-BE49-F238E27FC236}">
                <a16:creationId xmlns:a16="http://schemas.microsoft.com/office/drawing/2014/main" id="{BF3638FD-0633-49BA-BB0D-6C4151257E79}"/>
              </a:ext>
            </a:extLst>
          </p:cNvPr>
          <p:cNvGrpSpPr/>
          <p:nvPr/>
        </p:nvGrpSpPr>
        <p:grpSpPr>
          <a:xfrm>
            <a:off x="2113625" y="3497262"/>
            <a:ext cx="7914072" cy="2602593"/>
            <a:chOff x="2094836" y="3582433"/>
            <a:chExt cx="7916319" cy="2603331"/>
          </a:xfrm>
        </p:grpSpPr>
        <p:cxnSp>
          <p:nvCxnSpPr>
            <p:cNvPr id="125" name="Straight Arrow Connector 124">
              <a:extLst>
                <a:ext uri="{FF2B5EF4-FFF2-40B4-BE49-F238E27FC236}">
                  <a16:creationId xmlns:a16="http://schemas.microsoft.com/office/drawing/2014/main" id="{4D116BBA-7889-4F6A-A3B7-0D530F0AC6A3}"/>
                </a:ext>
              </a:extLst>
            </p:cNvPr>
            <p:cNvCxnSpPr/>
            <p:nvPr/>
          </p:nvCxnSpPr>
          <p:spPr>
            <a:xfrm flipH="1">
              <a:off x="2099026" y="3582433"/>
              <a:ext cx="326293"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99250F76-B36B-430B-9D78-355A638DF0BD}"/>
                </a:ext>
              </a:extLst>
            </p:cNvPr>
            <p:cNvCxnSpPr/>
            <p:nvPr/>
          </p:nvCxnSpPr>
          <p:spPr>
            <a:xfrm flipH="1">
              <a:off x="2094836" y="3582433"/>
              <a:ext cx="330483"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90D6E763-E4D3-468B-BDD0-85666088F406}"/>
                </a:ext>
              </a:extLst>
            </p:cNvPr>
            <p:cNvCxnSpPr/>
            <p:nvPr/>
          </p:nvCxnSpPr>
          <p:spPr>
            <a:xfrm flipH="1">
              <a:off x="2099026" y="3582433"/>
              <a:ext cx="326293"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42F99806-5738-46A6-8ACD-A3E6CED3139D}"/>
                </a:ext>
              </a:extLst>
            </p:cNvPr>
            <p:cNvCxnSpPr/>
            <p:nvPr/>
          </p:nvCxnSpPr>
          <p:spPr>
            <a:xfrm flipH="1">
              <a:off x="2933756" y="3582433"/>
              <a:ext cx="334434"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FBFA64B6-BDFA-44DC-A15C-488550EE51FC}"/>
                </a:ext>
              </a:extLst>
            </p:cNvPr>
            <p:cNvCxnSpPr/>
            <p:nvPr/>
          </p:nvCxnSpPr>
          <p:spPr>
            <a:xfrm flipH="1">
              <a:off x="2929566" y="3582433"/>
              <a:ext cx="338624"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1FA7E90-434D-440E-A83E-C9B404857E28}"/>
                </a:ext>
              </a:extLst>
            </p:cNvPr>
            <p:cNvCxnSpPr/>
            <p:nvPr/>
          </p:nvCxnSpPr>
          <p:spPr>
            <a:xfrm flipH="1">
              <a:off x="2933756" y="3582433"/>
              <a:ext cx="334434"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BD247FDB-C156-48EE-87AC-3DCE79356777}"/>
                </a:ext>
              </a:extLst>
            </p:cNvPr>
            <p:cNvCxnSpPr/>
            <p:nvPr/>
          </p:nvCxnSpPr>
          <p:spPr>
            <a:xfrm flipH="1">
              <a:off x="3768486" y="3582433"/>
              <a:ext cx="342575"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DE0E1400-DD12-4FD1-AFF4-A12D797F0BB5}"/>
                </a:ext>
              </a:extLst>
            </p:cNvPr>
            <p:cNvCxnSpPr/>
            <p:nvPr/>
          </p:nvCxnSpPr>
          <p:spPr>
            <a:xfrm flipH="1">
              <a:off x="3764296" y="3582433"/>
              <a:ext cx="346765"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34EC1295-74F1-49B9-AA4D-F971B453848B}"/>
                </a:ext>
              </a:extLst>
            </p:cNvPr>
            <p:cNvCxnSpPr/>
            <p:nvPr/>
          </p:nvCxnSpPr>
          <p:spPr>
            <a:xfrm flipH="1">
              <a:off x="3768486" y="3582433"/>
              <a:ext cx="342575"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324275FB-F633-4CB5-A365-61A03329BF95}"/>
                </a:ext>
              </a:extLst>
            </p:cNvPr>
            <p:cNvCxnSpPr/>
            <p:nvPr/>
          </p:nvCxnSpPr>
          <p:spPr>
            <a:xfrm flipH="1">
              <a:off x="4603216" y="3582433"/>
              <a:ext cx="350716"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ABF3AA38-438E-444F-B487-53D6314A0CCA}"/>
                </a:ext>
              </a:extLst>
            </p:cNvPr>
            <p:cNvCxnSpPr/>
            <p:nvPr/>
          </p:nvCxnSpPr>
          <p:spPr>
            <a:xfrm flipH="1">
              <a:off x="4599026" y="3582433"/>
              <a:ext cx="354906"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EC38AA77-A107-4B54-AE37-F6235E56C769}"/>
                </a:ext>
              </a:extLst>
            </p:cNvPr>
            <p:cNvCxnSpPr/>
            <p:nvPr/>
          </p:nvCxnSpPr>
          <p:spPr>
            <a:xfrm flipH="1">
              <a:off x="4603216" y="3582433"/>
              <a:ext cx="350716"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FDF13B4F-9A27-4966-9E92-41B209174A0C}"/>
                </a:ext>
              </a:extLst>
            </p:cNvPr>
            <p:cNvCxnSpPr/>
            <p:nvPr/>
          </p:nvCxnSpPr>
          <p:spPr>
            <a:xfrm flipH="1">
              <a:off x="5437947" y="3582433"/>
              <a:ext cx="358855"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8CF8FCAB-236A-4683-8C9F-4F236AE4EB80}"/>
                </a:ext>
              </a:extLst>
            </p:cNvPr>
            <p:cNvCxnSpPr/>
            <p:nvPr/>
          </p:nvCxnSpPr>
          <p:spPr>
            <a:xfrm flipH="1">
              <a:off x="5433757" y="3582433"/>
              <a:ext cx="363045"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A282CC70-A1FF-4A32-ACF8-64C10FC00364}"/>
                </a:ext>
              </a:extLst>
            </p:cNvPr>
            <p:cNvCxnSpPr/>
            <p:nvPr/>
          </p:nvCxnSpPr>
          <p:spPr>
            <a:xfrm flipH="1">
              <a:off x="5437947" y="3582433"/>
              <a:ext cx="358855"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717011CD-2FD0-4842-879C-A7861432E706}"/>
                </a:ext>
              </a:extLst>
            </p:cNvPr>
            <p:cNvCxnSpPr/>
            <p:nvPr/>
          </p:nvCxnSpPr>
          <p:spPr>
            <a:xfrm flipH="1">
              <a:off x="9608973" y="3582433"/>
              <a:ext cx="402182"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B1F31FE0-928D-42C7-9BB2-483FB1307B49}"/>
                </a:ext>
              </a:extLst>
            </p:cNvPr>
            <p:cNvCxnSpPr/>
            <p:nvPr/>
          </p:nvCxnSpPr>
          <p:spPr>
            <a:xfrm flipH="1">
              <a:off x="9604783" y="3582433"/>
              <a:ext cx="406372"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4ACB39D0-377B-4822-887A-90FD57A7C6B8}"/>
                </a:ext>
              </a:extLst>
            </p:cNvPr>
            <p:cNvCxnSpPr/>
            <p:nvPr/>
          </p:nvCxnSpPr>
          <p:spPr>
            <a:xfrm flipH="1">
              <a:off x="9608973" y="3582433"/>
              <a:ext cx="402182"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8CE7A09-8186-40D5-9CDF-C75DBCC59E05}"/>
                </a:ext>
              </a:extLst>
            </p:cNvPr>
            <p:cNvCxnSpPr/>
            <p:nvPr/>
          </p:nvCxnSpPr>
          <p:spPr>
            <a:xfrm flipH="1">
              <a:off x="8774242" y="3582433"/>
              <a:ext cx="394043"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85EE5899-2952-42BD-A954-EFDAD7021046}"/>
                </a:ext>
              </a:extLst>
            </p:cNvPr>
            <p:cNvCxnSpPr/>
            <p:nvPr/>
          </p:nvCxnSpPr>
          <p:spPr>
            <a:xfrm flipH="1">
              <a:off x="8770052" y="3582433"/>
              <a:ext cx="398233"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85A676F9-00DA-45C9-8649-5F52F2B2D1D8}"/>
                </a:ext>
              </a:extLst>
            </p:cNvPr>
            <p:cNvCxnSpPr/>
            <p:nvPr/>
          </p:nvCxnSpPr>
          <p:spPr>
            <a:xfrm flipH="1">
              <a:off x="8774242" y="3582433"/>
              <a:ext cx="394043"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8D8C07D4-1A24-4246-B0B4-FB84B4F41E94}"/>
                </a:ext>
              </a:extLst>
            </p:cNvPr>
            <p:cNvCxnSpPr/>
            <p:nvPr/>
          </p:nvCxnSpPr>
          <p:spPr>
            <a:xfrm flipH="1">
              <a:off x="7939512" y="3582433"/>
              <a:ext cx="385902"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7676B6D2-4EA0-4E6E-9D57-B245AAF616CD}"/>
                </a:ext>
              </a:extLst>
            </p:cNvPr>
            <p:cNvCxnSpPr/>
            <p:nvPr/>
          </p:nvCxnSpPr>
          <p:spPr>
            <a:xfrm flipH="1">
              <a:off x="7935322" y="3582433"/>
              <a:ext cx="390092"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7523F432-2C11-4E5B-A0B4-66BBEDD3E6DE}"/>
                </a:ext>
              </a:extLst>
            </p:cNvPr>
            <p:cNvCxnSpPr/>
            <p:nvPr/>
          </p:nvCxnSpPr>
          <p:spPr>
            <a:xfrm flipH="1">
              <a:off x="7939512" y="3582433"/>
              <a:ext cx="385902"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9918CE76-3C05-41A0-8B2C-D3D5241946DF}"/>
                </a:ext>
              </a:extLst>
            </p:cNvPr>
            <p:cNvCxnSpPr/>
            <p:nvPr/>
          </p:nvCxnSpPr>
          <p:spPr>
            <a:xfrm flipH="1">
              <a:off x="7104782" y="3582433"/>
              <a:ext cx="377761"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E9FE9289-22FA-41A0-81BB-349912B7CDE3}"/>
                </a:ext>
              </a:extLst>
            </p:cNvPr>
            <p:cNvCxnSpPr/>
            <p:nvPr/>
          </p:nvCxnSpPr>
          <p:spPr>
            <a:xfrm flipH="1">
              <a:off x="7046152" y="3582433"/>
              <a:ext cx="436391"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C4BBC2A6-7F87-49D0-9F1C-07B17109155B}"/>
                </a:ext>
              </a:extLst>
            </p:cNvPr>
            <p:cNvCxnSpPr/>
            <p:nvPr/>
          </p:nvCxnSpPr>
          <p:spPr>
            <a:xfrm flipH="1">
              <a:off x="7104782" y="3582433"/>
              <a:ext cx="377761"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210134E8-A569-4387-AAF2-04315F7AB52A}"/>
                </a:ext>
              </a:extLst>
            </p:cNvPr>
            <p:cNvCxnSpPr/>
            <p:nvPr/>
          </p:nvCxnSpPr>
          <p:spPr>
            <a:xfrm flipH="1">
              <a:off x="6270052" y="3582433"/>
              <a:ext cx="369620" cy="881038"/>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7C9BD360-73C6-4FA1-ADEE-E66F3762CA82}"/>
                </a:ext>
              </a:extLst>
            </p:cNvPr>
            <p:cNvCxnSpPr/>
            <p:nvPr/>
          </p:nvCxnSpPr>
          <p:spPr>
            <a:xfrm flipH="1">
              <a:off x="6265862" y="3582433"/>
              <a:ext cx="373810" cy="1742184"/>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3D70F25E-8804-4901-B321-A1B7783CE1FC}"/>
                </a:ext>
              </a:extLst>
            </p:cNvPr>
            <p:cNvCxnSpPr/>
            <p:nvPr/>
          </p:nvCxnSpPr>
          <p:spPr>
            <a:xfrm flipH="1">
              <a:off x="6270052" y="3582433"/>
              <a:ext cx="369620" cy="2603331"/>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6" name="Compute to Storage">
            <a:extLst>
              <a:ext uri="{FF2B5EF4-FFF2-40B4-BE49-F238E27FC236}">
                <a16:creationId xmlns:a16="http://schemas.microsoft.com/office/drawing/2014/main" id="{27534421-4E43-4DEE-9830-0EEEC6B47540}"/>
              </a:ext>
            </a:extLst>
          </p:cNvPr>
          <p:cNvGrpSpPr/>
          <p:nvPr/>
        </p:nvGrpSpPr>
        <p:grpSpPr>
          <a:xfrm>
            <a:off x="2096008" y="3497262"/>
            <a:ext cx="7914072" cy="2608892"/>
            <a:chOff x="2094836" y="3576132"/>
            <a:chExt cx="7916319" cy="2609632"/>
          </a:xfrm>
        </p:grpSpPr>
        <p:cxnSp>
          <p:nvCxnSpPr>
            <p:cNvPr id="157" name="Straight Arrow Connector 156">
              <a:extLst>
                <a:ext uri="{FF2B5EF4-FFF2-40B4-BE49-F238E27FC236}">
                  <a16:creationId xmlns:a16="http://schemas.microsoft.com/office/drawing/2014/main" id="{0AE5362C-AF6B-457F-B908-650660F053AB}"/>
                </a:ext>
              </a:extLst>
            </p:cNvPr>
            <p:cNvCxnSpPr/>
            <p:nvPr/>
          </p:nvCxnSpPr>
          <p:spPr>
            <a:xfrm flipH="1">
              <a:off x="2099026" y="3582433"/>
              <a:ext cx="326293"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119B6E13-3AA0-4A56-B6C8-823DCF70ACBF}"/>
                </a:ext>
              </a:extLst>
            </p:cNvPr>
            <p:cNvCxnSpPr/>
            <p:nvPr/>
          </p:nvCxnSpPr>
          <p:spPr>
            <a:xfrm flipH="1">
              <a:off x="2094836" y="3582433"/>
              <a:ext cx="330483"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86D2B732-469D-40D0-91B0-BE34A28C4412}"/>
                </a:ext>
              </a:extLst>
            </p:cNvPr>
            <p:cNvCxnSpPr/>
            <p:nvPr/>
          </p:nvCxnSpPr>
          <p:spPr>
            <a:xfrm flipH="1">
              <a:off x="2099026" y="3582433"/>
              <a:ext cx="326293"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42F023A5-A3A5-47A5-922C-04C75335C8FC}"/>
                </a:ext>
              </a:extLst>
            </p:cNvPr>
            <p:cNvCxnSpPr/>
            <p:nvPr/>
          </p:nvCxnSpPr>
          <p:spPr>
            <a:xfrm flipH="1">
              <a:off x="2933756" y="3582433"/>
              <a:ext cx="334434"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54E4CEFC-C861-42F4-A4E6-B1168D7C5F26}"/>
                </a:ext>
              </a:extLst>
            </p:cNvPr>
            <p:cNvCxnSpPr/>
            <p:nvPr/>
          </p:nvCxnSpPr>
          <p:spPr>
            <a:xfrm flipH="1">
              <a:off x="2929566" y="3582433"/>
              <a:ext cx="338624"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2420CFE1-16C7-49FE-AB6A-569C1EAF4669}"/>
                </a:ext>
              </a:extLst>
            </p:cNvPr>
            <p:cNvCxnSpPr/>
            <p:nvPr/>
          </p:nvCxnSpPr>
          <p:spPr>
            <a:xfrm flipH="1">
              <a:off x="2933756" y="3582433"/>
              <a:ext cx="334434"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77CC587E-B4F6-4D4F-B455-C1648551120D}"/>
                </a:ext>
              </a:extLst>
            </p:cNvPr>
            <p:cNvCxnSpPr/>
            <p:nvPr/>
          </p:nvCxnSpPr>
          <p:spPr>
            <a:xfrm flipH="1">
              <a:off x="3768486" y="3582433"/>
              <a:ext cx="342575"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E2EE7AE9-5C81-4F43-BF54-82FC4382F9B4}"/>
                </a:ext>
              </a:extLst>
            </p:cNvPr>
            <p:cNvCxnSpPr/>
            <p:nvPr/>
          </p:nvCxnSpPr>
          <p:spPr>
            <a:xfrm flipH="1">
              <a:off x="3764296" y="3582433"/>
              <a:ext cx="346765"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632239E6-8B7D-4836-8164-5A9F04FF3E69}"/>
                </a:ext>
              </a:extLst>
            </p:cNvPr>
            <p:cNvCxnSpPr/>
            <p:nvPr/>
          </p:nvCxnSpPr>
          <p:spPr>
            <a:xfrm flipH="1">
              <a:off x="3768486" y="3582433"/>
              <a:ext cx="342575"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2796587-8FB8-43EB-8724-A179638E0830}"/>
                </a:ext>
              </a:extLst>
            </p:cNvPr>
            <p:cNvCxnSpPr/>
            <p:nvPr/>
          </p:nvCxnSpPr>
          <p:spPr>
            <a:xfrm flipH="1">
              <a:off x="4603216" y="3576132"/>
              <a:ext cx="350717" cy="887339"/>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FD185273-2173-4948-9AFB-2E6F444BC178}"/>
                </a:ext>
              </a:extLst>
            </p:cNvPr>
            <p:cNvCxnSpPr/>
            <p:nvPr/>
          </p:nvCxnSpPr>
          <p:spPr>
            <a:xfrm flipH="1">
              <a:off x="4599026" y="3582433"/>
              <a:ext cx="354906"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8544D6FF-CAF1-4CE8-AF9F-EA6C13BB9A41}"/>
                </a:ext>
              </a:extLst>
            </p:cNvPr>
            <p:cNvCxnSpPr/>
            <p:nvPr/>
          </p:nvCxnSpPr>
          <p:spPr>
            <a:xfrm flipH="1">
              <a:off x="4548776" y="3582433"/>
              <a:ext cx="405156"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939C10A5-1A61-44D6-A6B7-94B20A0BCB44}"/>
                </a:ext>
              </a:extLst>
            </p:cNvPr>
            <p:cNvCxnSpPr/>
            <p:nvPr/>
          </p:nvCxnSpPr>
          <p:spPr>
            <a:xfrm flipH="1">
              <a:off x="5437947" y="3582433"/>
              <a:ext cx="358855"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3A781C95-DA31-4FB7-AA1C-6E6C416BBC67}"/>
                </a:ext>
              </a:extLst>
            </p:cNvPr>
            <p:cNvCxnSpPr/>
            <p:nvPr/>
          </p:nvCxnSpPr>
          <p:spPr>
            <a:xfrm flipH="1">
              <a:off x="5433757" y="3582433"/>
              <a:ext cx="363045"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14D0E521-93ED-4752-A255-EEC235E0BB72}"/>
                </a:ext>
              </a:extLst>
            </p:cNvPr>
            <p:cNvCxnSpPr/>
            <p:nvPr/>
          </p:nvCxnSpPr>
          <p:spPr>
            <a:xfrm flipH="1">
              <a:off x="5437947" y="3582433"/>
              <a:ext cx="358855"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14387E38-F5D8-4188-BDE3-E29D01D08D1D}"/>
                </a:ext>
              </a:extLst>
            </p:cNvPr>
            <p:cNvCxnSpPr/>
            <p:nvPr/>
          </p:nvCxnSpPr>
          <p:spPr>
            <a:xfrm flipH="1">
              <a:off x="9608973" y="3582433"/>
              <a:ext cx="402182"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B6DBEC02-25E1-4189-93B5-CC803F899D94}"/>
                </a:ext>
              </a:extLst>
            </p:cNvPr>
            <p:cNvCxnSpPr/>
            <p:nvPr/>
          </p:nvCxnSpPr>
          <p:spPr>
            <a:xfrm flipH="1">
              <a:off x="9604783" y="3582433"/>
              <a:ext cx="406372"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3EC025DF-D285-447E-9ED1-2B82DDA3E56D}"/>
                </a:ext>
              </a:extLst>
            </p:cNvPr>
            <p:cNvCxnSpPr/>
            <p:nvPr/>
          </p:nvCxnSpPr>
          <p:spPr>
            <a:xfrm flipH="1">
              <a:off x="9608973" y="3582433"/>
              <a:ext cx="402182"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442B9680-F659-4908-8567-AA5CF7BC1B74}"/>
                </a:ext>
              </a:extLst>
            </p:cNvPr>
            <p:cNvCxnSpPr/>
            <p:nvPr/>
          </p:nvCxnSpPr>
          <p:spPr>
            <a:xfrm flipH="1">
              <a:off x="8774242" y="3582433"/>
              <a:ext cx="394043"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5BDF71EE-4F67-4EC1-84D6-541A5A5FB23E}"/>
                </a:ext>
              </a:extLst>
            </p:cNvPr>
            <p:cNvCxnSpPr/>
            <p:nvPr/>
          </p:nvCxnSpPr>
          <p:spPr>
            <a:xfrm flipH="1">
              <a:off x="8715612" y="3582433"/>
              <a:ext cx="452673"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B1B74D8C-96FB-49D7-806A-4CFDABF8BB21}"/>
                </a:ext>
              </a:extLst>
            </p:cNvPr>
            <p:cNvCxnSpPr/>
            <p:nvPr/>
          </p:nvCxnSpPr>
          <p:spPr>
            <a:xfrm flipH="1">
              <a:off x="8774242" y="3582433"/>
              <a:ext cx="394043"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36DDEA1A-154D-494E-8422-0D97AF9FC69D}"/>
                </a:ext>
              </a:extLst>
            </p:cNvPr>
            <p:cNvCxnSpPr/>
            <p:nvPr/>
          </p:nvCxnSpPr>
          <p:spPr>
            <a:xfrm flipH="1">
              <a:off x="7939512" y="3582433"/>
              <a:ext cx="385902"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DDCFF03A-241B-467A-AEFC-B83A60F0E810}"/>
                </a:ext>
              </a:extLst>
            </p:cNvPr>
            <p:cNvCxnSpPr/>
            <p:nvPr/>
          </p:nvCxnSpPr>
          <p:spPr>
            <a:xfrm flipH="1">
              <a:off x="7935322" y="3582433"/>
              <a:ext cx="390092"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DBA12DAC-0B24-4CA9-A12B-49ABC347038C}"/>
                </a:ext>
              </a:extLst>
            </p:cNvPr>
            <p:cNvCxnSpPr/>
            <p:nvPr/>
          </p:nvCxnSpPr>
          <p:spPr>
            <a:xfrm flipH="1">
              <a:off x="7939512" y="3582433"/>
              <a:ext cx="385902"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5075F8AA-F7DB-445B-A8EE-4845A2AF2947}"/>
                </a:ext>
              </a:extLst>
            </p:cNvPr>
            <p:cNvCxnSpPr/>
            <p:nvPr/>
          </p:nvCxnSpPr>
          <p:spPr>
            <a:xfrm flipH="1">
              <a:off x="7104782" y="3582433"/>
              <a:ext cx="377761"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47DFD9CB-633A-4023-AF50-B59843D93680}"/>
                </a:ext>
              </a:extLst>
            </p:cNvPr>
            <p:cNvCxnSpPr/>
            <p:nvPr/>
          </p:nvCxnSpPr>
          <p:spPr>
            <a:xfrm flipH="1">
              <a:off x="7100592" y="3582433"/>
              <a:ext cx="381951"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2AD450C7-D9FA-4260-8524-40A955F63B6D}"/>
                </a:ext>
              </a:extLst>
            </p:cNvPr>
            <p:cNvCxnSpPr/>
            <p:nvPr/>
          </p:nvCxnSpPr>
          <p:spPr>
            <a:xfrm flipH="1">
              <a:off x="7104782" y="3582433"/>
              <a:ext cx="377761"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825994CC-4BB4-4B34-9DA8-9C30A53A95DB}"/>
                </a:ext>
              </a:extLst>
            </p:cNvPr>
            <p:cNvCxnSpPr/>
            <p:nvPr/>
          </p:nvCxnSpPr>
          <p:spPr>
            <a:xfrm flipH="1">
              <a:off x="6270052" y="3582433"/>
              <a:ext cx="369620" cy="881038"/>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87B0DAC-8A42-49A4-B4DF-A21D297C2808}"/>
                </a:ext>
              </a:extLst>
            </p:cNvPr>
            <p:cNvCxnSpPr/>
            <p:nvPr/>
          </p:nvCxnSpPr>
          <p:spPr>
            <a:xfrm flipH="1">
              <a:off x="6265862" y="3582433"/>
              <a:ext cx="373810" cy="1742184"/>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966F09CA-43BF-48FD-AD12-323996D2EA0F}"/>
                </a:ext>
              </a:extLst>
            </p:cNvPr>
            <p:cNvCxnSpPr/>
            <p:nvPr/>
          </p:nvCxnSpPr>
          <p:spPr>
            <a:xfrm flipH="1">
              <a:off x="6270052" y="3582433"/>
              <a:ext cx="369620" cy="260333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87" name="Up Arrow 407">
            <a:extLst>
              <a:ext uri="{FF2B5EF4-FFF2-40B4-BE49-F238E27FC236}">
                <a16:creationId xmlns:a16="http://schemas.microsoft.com/office/drawing/2014/main" id="{8FAD2F63-D35C-4CD1-B4CE-6EAE67FDA4F3}"/>
              </a:ext>
            </a:extLst>
          </p:cNvPr>
          <p:cNvSpPr/>
          <p:nvPr/>
        </p:nvSpPr>
        <p:spPr bwMode="auto">
          <a:xfrm>
            <a:off x="5579544" y="729487"/>
            <a:ext cx="1284835" cy="978130"/>
          </a:xfrm>
          <a:prstGeom prst="upArrow">
            <a:avLst>
              <a:gd name="adj1" fmla="val 100000"/>
              <a:gd name="adj2" fmla="val 3096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12" fontAlgn="base">
              <a:lnSpc>
                <a:spcPct val="90000"/>
              </a:lnSpc>
              <a:spcBef>
                <a:spcPct val="0"/>
              </a:spcBef>
              <a:spcAft>
                <a:spcPct val="0"/>
              </a:spcAft>
            </a:pPr>
            <a:r>
              <a:rPr lang="en-GB" sz="2400">
                <a:gradFill>
                  <a:gsLst>
                    <a:gs pos="0">
                      <a:srgbClr val="FFFFFF"/>
                    </a:gs>
                    <a:gs pos="100000">
                      <a:srgbClr val="FFFFFF"/>
                    </a:gs>
                  </a:gsLst>
                  <a:lin ang="5400000" scaled="0"/>
                </a:gradFill>
                <a:latin typeface="Segoe UI Semilight"/>
                <a:ea typeface="Segoe UI" pitchFamily="34" charset="0"/>
                <a:cs typeface="Segoe UI" pitchFamily="34" charset="0"/>
              </a:rPr>
              <a:t>Result</a:t>
            </a:r>
          </a:p>
        </p:txBody>
      </p:sp>
      <p:pic>
        <p:nvPicPr>
          <p:cNvPr id="188" name="Picture 187">
            <a:extLst>
              <a:ext uri="{FF2B5EF4-FFF2-40B4-BE49-F238E27FC236}">
                <a16:creationId xmlns:a16="http://schemas.microsoft.com/office/drawing/2014/main" id="{48098B3B-DDBF-41BC-89FB-059FF7FEDA1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508239" y="461431"/>
            <a:ext cx="1078912" cy="1078912"/>
          </a:xfrm>
          <a:prstGeom prst="rect">
            <a:avLst/>
          </a:prstGeom>
        </p:spPr>
      </p:pic>
    </p:spTree>
    <p:extLst>
      <p:ext uri="{BB962C8B-B14F-4D97-AF65-F5344CB8AC3E}">
        <p14:creationId xmlns:p14="http://schemas.microsoft.com/office/powerpoint/2010/main" val="730790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8"/>
                                        </p:tgtEl>
                                        <p:attrNameLst>
                                          <p:attrName>style.visibility</p:attrName>
                                        </p:attrNameLst>
                                      </p:cBhvr>
                                      <p:to>
                                        <p:strVal val="visible"/>
                                      </p:to>
                                    </p:set>
                                    <p:animEffect transition="in" filter="fade">
                                      <p:cBhvr>
                                        <p:cTn id="16" dur="1000"/>
                                        <p:tgtEl>
                                          <p:spTgt spid="9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3"/>
                                        </p:tgtEl>
                                        <p:attrNameLst>
                                          <p:attrName>style.visibility</p:attrName>
                                        </p:attrNameLst>
                                      </p:cBhvr>
                                      <p:to>
                                        <p:strVal val="visible"/>
                                      </p:to>
                                    </p:set>
                                    <p:animEffect transition="in" filter="fade">
                                      <p:cBhvr>
                                        <p:cTn id="21" dur="1000"/>
                                        <p:tgtEl>
                                          <p:spTgt spid="113"/>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6"/>
                                        </p:tgtEl>
                                        <p:attrNameLst>
                                          <p:attrName>style.visibility</p:attrName>
                                        </p:attrNameLst>
                                      </p:cBhvr>
                                      <p:to>
                                        <p:strVal val="visible"/>
                                      </p:to>
                                    </p:set>
                                    <p:animEffect transition="in" filter="fade">
                                      <p:cBhvr>
                                        <p:cTn id="25" dur="1000"/>
                                        <p:tgtEl>
                                          <p:spTgt spid="15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grpId="1" nodeType="clickEffect">
                                  <p:stCondLst>
                                    <p:cond delay="0"/>
                                  </p:stCondLst>
                                  <p:childTnLst>
                                    <p:animEffect transition="out" filter="fade">
                                      <p:cBhvr>
                                        <p:cTn id="29" dur="500"/>
                                        <p:tgtEl>
                                          <p:spTgt spid="98"/>
                                        </p:tgtEl>
                                      </p:cBhvr>
                                    </p:animEffect>
                                    <p:set>
                                      <p:cBhvr>
                                        <p:cTn id="30" dur="1" fill="hold">
                                          <p:stCondLst>
                                            <p:cond delay="499"/>
                                          </p:stCondLst>
                                        </p:cTn>
                                        <p:tgtEl>
                                          <p:spTgt spid="98"/>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113"/>
                                        </p:tgtEl>
                                      </p:cBhvr>
                                    </p:animEffect>
                                    <p:set>
                                      <p:cBhvr>
                                        <p:cTn id="33" dur="1" fill="hold">
                                          <p:stCondLst>
                                            <p:cond delay="499"/>
                                          </p:stCondLst>
                                        </p:cTn>
                                        <p:tgtEl>
                                          <p:spTgt spid="113"/>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156"/>
                                        </p:tgtEl>
                                      </p:cBhvr>
                                    </p:animEffect>
                                    <p:set>
                                      <p:cBhvr>
                                        <p:cTn id="36" dur="1" fill="hold">
                                          <p:stCondLst>
                                            <p:cond delay="499"/>
                                          </p:stCondLst>
                                        </p:cTn>
                                        <p:tgtEl>
                                          <p:spTgt spid="156"/>
                                        </p:tgtEl>
                                        <p:attrNameLst>
                                          <p:attrName>style.visibility</p:attrName>
                                        </p:attrNameLst>
                                      </p:cBhvr>
                                      <p:to>
                                        <p:strVal val="hidden"/>
                                      </p:to>
                                    </p:se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124"/>
                                        </p:tgtEl>
                                        <p:attrNameLst>
                                          <p:attrName>style.visibility</p:attrName>
                                        </p:attrNameLst>
                                      </p:cBhvr>
                                      <p:to>
                                        <p:strVal val="visible"/>
                                      </p:to>
                                    </p:set>
                                    <p:animEffect transition="in" filter="fade">
                                      <p:cBhvr>
                                        <p:cTn id="40" dur="1000"/>
                                        <p:tgtEl>
                                          <p:spTgt spid="124"/>
                                        </p:tgtEl>
                                      </p:cBhvr>
                                    </p:animEffect>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00"/>
                                        </p:tgtEl>
                                        <p:attrNameLst>
                                          <p:attrName>style.visibility</p:attrName>
                                        </p:attrNameLst>
                                      </p:cBhvr>
                                      <p:to>
                                        <p:strVal val="visible"/>
                                      </p:to>
                                    </p:set>
                                    <p:animEffect transition="in" filter="fade">
                                      <p:cBhvr>
                                        <p:cTn id="44" dur="1000"/>
                                        <p:tgtEl>
                                          <p:spTgt spid="100"/>
                                        </p:tgtEl>
                                      </p:cBhvr>
                                    </p:animEffect>
                                  </p:childTnLst>
                                </p:cTn>
                              </p:par>
                            </p:childTnLst>
                          </p:cTn>
                        </p:par>
                        <p:par>
                          <p:cTn id="45" fill="hold">
                            <p:stCondLst>
                              <p:cond delay="2500"/>
                            </p:stCondLst>
                            <p:childTnLst>
                              <p:par>
                                <p:cTn id="46" presetID="10" presetClass="entr" presetSubtype="0" fill="hold" grpId="0" nodeType="afterEffect">
                                  <p:stCondLst>
                                    <p:cond delay="0"/>
                                  </p:stCondLst>
                                  <p:childTnLst>
                                    <p:set>
                                      <p:cBhvr>
                                        <p:cTn id="47" dur="1" fill="hold">
                                          <p:stCondLst>
                                            <p:cond delay="0"/>
                                          </p:stCondLst>
                                        </p:cTn>
                                        <p:tgtEl>
                                          <p:spTgt spid="187"/>
                                        </p:tgtEl>
                                        <p:attrNameLst>
                                          <p:attrName>style.visibility</p:attrName>
                                        </p:attrNameLst>
                                      </p:cBhvr>
                                      <p:to>
                                        <p:strVal val="visible"/>
                                      </p:to>
                                    </p:set>
                                    <p:animEffect transition="in" filter="fade">
                                      <p:cBhvr>
                                        <p:cTn id="48" dur="10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8" grpId="1" animBg="1"/>
      <p:bldP spid="18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1: Introduction to Table Architecture</a:t>
            </a:r>
          </a:p>
        </p:txBody>
      </p:sp>
    </p:spTree>
    <p:extLst>
      <p:ext uri="{BB962C8B-B14F-4D97-AF65-F5344CB8AC3E}">
        <p14:creationId xmlns:p14="http://schemas.microsoft.com/office/powerpoint/2010/main" val="4083746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What is a distribution and what are the available types of distributed tables in Azure Synapse SQL Pool</a:t>
            </a:r>
          </a:p>
          <a:p>
            <a:pPr lvl="1"/>
            <a:r>
              <a:rPr lang="en-US" dirty="0"/>
              <a:t>When to use each type of distributed tables</a:t>
            </a:r>
          </a:p>
          <a:p>
            <a:pPr lvl="1"/>
            <a:r>
              <a:rPr lang="en-US" dirty="0"/>
              <a:t>How to select good hash distribution keys</a:t>
            </a:r>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4D154-8B82-462C-B0F9-965375ABDA68}"/>
              </a:ext>
            </a:extLst>
          </p:cNvPr>
          <p:cNvSpPr>
            <a:spLocks noGrp="1"/>
          </p:cNvSpPr>
          <p:nvPr>
            <p:ph type="title"/>
          </p:nvPr>
        </p:nvSpPr>
        <p:spPr/>
        <p:txBody>
          <a:bodyPr/>
          <a:lstStyle/>
          <a:p>
            <a:r>
              <a:rPr lang="en-US" dirty="0"/>
              <a:t>Distributions</a:t>
            </a:r>
          </a:p>
        </p:txBody>
      </p:sp>
      <p:graphicFrame>
        <p:nvGraphicFramePr>
          <p:cNvPr id="5" name="Content Placeholder 4">
            <a:extLst>
              <a:ext uri="{FF2B5EF4-FFF2-40B4-BE49-F238E27FC236}">
                <a16:creationId xmlns:a16="http://schemas.microsoft.com/office/drawing/2014/main" id="{600B6F06-A3DB-4C3B-B8EF-ABECF7F5ADD4}"/>
              </a:ext>
            </a:extLst>
          </p:cNvPr>
          <p:cNvGraphicFramePr>
            <a:graphicFrameLocks noGrp="1"/>
          </p:cNvGraphicFramePr>
          <p:nvPr>
            <p:ph sz="quarter" idx="13"/>
            <p:extLst>
              <p:ext uri="{D42A27DB-BD31-4B8C-83A1-F6EECF244321}">
                <p14:modId xmlns:p14="http://schemas.microsoft.com/office/powerpoint/2010/main" val="1254888967"/>
              </p:ext>
            </p:extLst>
          </p:nvPr>
        </p:nvGraphicFramePr>
        <p:xfrm>
          <a:off x="668338" y="1436688"/>
          <a:ext cx="11099800" cy="49149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600109808"/>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ADE1-709D-4D38-B42A-B8361B4F37FA}"/>
              </a:ext>
            </a:extLst>
          </p:cNvPr>
          <p:cNvSpPr>
            <a:spLocks noGrp="1"/>
          </p:cNvSpPr>
          <p:nvPr>
            <p:ph type="title"/>
          </p:nvPr>
        </p:nvSpPr>
        <p:spPr>
          <a:xfrm>
            <a:off x="669572" y="326411"/>
            <a:ext cx="11097332" cy="470856"/>
          </a:xfrm>
        </p:spPr>
        <p:txBody>
          <a:bodyPr wrap="square" anchor="t">
            <a:normAutofit/>
          </a:bodyPr>
          <a:lstStyle/>
          <a:p>
            <a:r>
              <a:rPr lang="en-US" dirty="0"/>
              <a:t>Separation of Compute from Storage</a:t>
            </a:r>
          </a:p>
        </p:txBody>
      </p:sp>
      <p:graphicFrame>
        <p:nvGraphicFramePr>
          <p:cNvPr id="9" name="Text Placeholder 2">
            <a:extLst>
              <a:ext uri="{FF2B5EF4-FFF2-40B4-BE49-F238E27FC236}">
                <a16:creationId xmlns:a16="http://schemas.microsoft.com/office/drawing/2014/main" id="{B7D25272-154E-46BF-B0DF-2CF9F77FF2EB}"/>
              </a:ext>
            </a:extLst>
          </p:cNvPr>
          <p:cNvGraphicFramePr/>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Compute Node 05">
            <a:extLst>
              <a:ext uri="{FF2B5EF4-FFF2-40B4-BE49-F238E27FC236}">
                <a16:creationId xmlns:a16="http://schemas.microsoft.com/office/drawing/2014/main" id="{150B0577-EC08-4A46-A109-5DA910796F28}"/>
              </a:ext>
            </a:extLst>
          </p:cNvPr>
          <p:cNvPicPr>
            <a:picLocks noChangeAspect="1"/>
          </p:cNvPicPr>
          <p:nvPr/>
        </p:nvPicPr>
        <p:blipFill>
          <a:blip r:embed="rId9">
            <a:duotone>
              <a:prstClr val="black"/>
              <a:srgbClr val="D9C3A5">
                <a:tint val="50000"/>
                <a:satMod val="180000"/>
              </a:srgbClr>
            </a:duotone>
          </a:blip>
          <a:stretch>
            <a:fillRect/>
          </a:stretch>
        </p:blipFill>
        <p:spPr>
          <a:xfrm>
            <a:off x="5406888" y="2802342"/>
            <a:ext cx="780068" cy="780068"/>
          </a:xfrm>
          <a:prstGeom prst="rect">
            <a:avLst/>
          </a:prstGeom>
        </p:spPr>
      </p:pic>
      <p:pic>
        <p:nvPicPr>
          <p:cNvPr id="5" name="Compute Node 04">
            <a:extLst>
              <a:ext uri="{FF2B5EF4-FFF2-40B4-BE49-F238E27FC236}">
                <a16:creationId xmlns:a16="http://schemas.microsoft.com/office/drawing/2014/main" id="{A32526FE-88B4-4146-811A-C299371E2225}"/>
              </a:ext>
            </a:extLst>
          </p:cNvPr>
          <p:cNvPicPr>
            <a:picLocks noChangeAspect="1"/>
          </p:cNvPicPr>
          <p:nvPr/>
        </p:nvPicPr>
        <p:blipFill>
          <a:blip r:embed="rId9">
            <a:duotone>
              <a:prstClr val="black"/>
              <a:srgbClr val="D9C3A5">
                <a:tint val="50000"/>
                <a:satMod val="180000"/>
              </a:srgbClr>
            </a:duotone>
          </a:blip>
          <a:stretch>
            <a:fillRect/>
          </a:stretch>
        </p:blipFill>
        <p:spPr>
          <a:xfrm>
            <a:off x="4564257" y="2802342"/>
            <a:ext cx="780068" cy="780068"/>
          </a:xfrm>
          <a:prstGeom prst="rect">
            <a:avLst/>
          </a:prstGeom>
        </p:spPr>
      </p:pic>
      <p:pic>
        <p:nvPicPr>
          <p:cNvPr id="6" name="Compute Node 03">
            <a:extLst>
              <a:ext uri="{FF2B5EF4-FFF2-40B4-BE49-F238E27FC236}">
                <a16:creationId xmlns:a16="http://schemas.microsoft.com/office/drawing/2014/main" id="{2845C12F-A091-4C4A-BB15-2AB288B698EE}"/>
              </a:ext>
            </a:extLst>
          </p:cNvPr>
          <p:cNvPicPr>
            <a:picLocks noChangeAspect="1"/>
          </p:cNvPicPr>
          <p:nvPr/>
        </p:nvPicPr>
        <p:blipFill>
          <a:blip r:embed="rId9">
            <a:duotone>
              <a:prstClr val="black"/>
              <a:srgbClr val="D9C3A5">
                <a:tint val="50000"/>
                <a:satMod val="180000"/>
              </a:srgbClr>
            </a:duotone>
          </a:blip>
          <a:stretch>
            <a:fillRect/>
          </a:stretch>
        </p:blipFill>
        <p:spPr>
          <a:xfrm>
            <a:off x="3721626" y="2802342"/>
            <a:ext cx="780068" cy="780068"/>
          </a:xfrm>
          <a:prstGeom prst="rect">
            <a:avLst/>
          </a:prstGeom>
        </p:spPr>
      </p:pic>
      <p:pic>
        <p:nvPicPr>
          <p:cNvPr id="7" name="Compute Node 02">
            <a:extLst>
              <a:ext uri="{FF2B5EF4-FFF2-40B4-BE49-F238E27FC236}">
                <a16:creationId xmlns:a16="http://schemas.microsoft.com/office/drawing/2014/main" id="{C0776FCA-0779-4FF4-8711-C31AAA9503D1}"/>
              </a:ext>
            </a:extLst>
          </p:cNvPr>
          <p:cNvPicPr>
            <a:picLocks noChangeAspect="1"/>
          </p:cNvPicPr>
          <p:nvPr/>
        </p:nvPicPr>
        <p:blipFill>
          <a:blip r:embed="rId9">
            <a:duotone>
              <a:prstClr val="black"/>
              <a:srgbClr val="D9C3A5">
                <a:tint val="50000"/>
                <a:satMod val="180000"/>
              </a:srgbClr>
            </a:duotone>
          </a:blip>
          <a:stretch>
            <a:fillRect/>
          </a:stretch>
        </p:blipFill>
        <p:spPr>
          <a:xfrm>
            <a:off x="2878993" y="2802342"/>
            <a:ext cx="780068" cy="780068"/>
          </a:xfrm>
          <a:prstGeom prst="rect">
            <a:avLst/>
          </a:prstGeom>
        </p:spPr>
      </p:pic>
      <p:pic>
        <p:nvPicPr>
          <p:cNvPr id="8" name="Compute Node 01">
            <a:extLst>
              <a:ext uri="{FF2B5EF4-FFF2-40B4-BE49-F238E27FC236}">
                <a16:creationId xmlns:a16="http://schemas.microsoft.com/office/drawing/2014/main" id="{76F251B5-DCCF-471D-9497-2D7934A10FF0}"/>
              </a:ext>
            </a:extLst>
          </p:cNvPr>
          <p:cNvPicPr>
            <a:picLocks noChangeAspect="1"/>
          </p:cNvPicPr>
          <p:nvPr/>
        </p:nvPicPr>
        <p:blipFill>
          <a:blip r:embed="rId9">
            <a:duotone>
              <a:prstClr val="black"/>
              <a:srgbClr val="D9C3A5">
                <a:tint val="50000"/>
                <a:satMod val="180000"/>
              </a:srgbClr>
            </a:duotone>
          </a:blip>
          <a:stretch>
            <a:fillRect/>
          </a:stretch>
        </p:blipFill>
        <p:spPr>
          <a:xfrm>
            <a:off x="2036362" y="2802342"/>
            <a:ext cx="780068" cy="780068"/>
          </a:xfrm>
          <a:prstGeom prst="rect">
            <a:avLst/>
          </a:prstGeom>
        </p:spPr>
      </p:pic>
      <p:grpSp>
        <p:nvGrpSpPr>
          <p:cNvPr id="10" name="Control Set">
            <a:extLst>
              <a:ext uri="{FF2B5EF4-FFF2-40B4-BE49-F238E27FC236}">
                <a16:creationId xmlns:a16="http://schemas.microsoft.com/office/drawing/2014/main" id="{B2F8CFA2-12F5-4732-867C-E35D718EF0F3}"/>
              </a:ext>
            </a:extLst>
          </p:cNvPr>
          <p:cNvGrpSpPr/>
          <p:nvPr/>
        </p:nvGrpSpPr>
        <p:grpSpPr>
          <a:xfrm>
            <a:off x="5828204" y="1769561"/>
            <a:ext cx="2368162" cy="780068"/>
            <a:chOff x="5828092" y="1769070"/>
            <a:chExt cx="2368834" cy="780290"/>
          </a:xfrm>
        </p:grpSpPr>
        <p:pic>
          <p:nvPicPr>
            <p:cNvPr id="11" name="Control Node">
              <a:extLst>
                <a:ext uri="{FF2B5EF4-FFF2-40B4-BE49-F238E27FC236}">
                  <a16:creationId xmlns:a16="http://schemas.microsoft.com/office/drawing/2014/main" id="{66A51972-0887-4CCA-9DF0-3F6F9D65ECB2}"/>
                </a:ext>
              </a:extLst>
            </p:cNvPr>
            <p:cNvPicPr>
              <a:picLocks noChangeAspect="1"/>
            </p:cNvPicPr>
            <p:nvPr/>
          </p:nvPicPr>
          <p:blipFill>
            <a:blip r:embed="rId9">
              <a:duotone>
                <a:prstClr val="black"/>
                <a:srgbClr val="D9C3A5">
                  <a:tint val="50000"/>
                  <a:satMod val="180000"/>
                </a:srgbClr>
              </a:duotone>
            </a:blip>
            <a:stretch>
              <a:fillRect/>
            </a:stretch>
          </p:blipFill>
          <p:spPr>
            <a:xfrm>
              <a:off x="5828092" y="1769070"/>
              <a:ext cx="780290" cy="780290"/>
            </a:xfrm>
            <a:prstGeom prst="rect">
              <a:avLst/>
            </a:prstGeom>
          </p:spPr>
        </p:pic>
        <p:sp>
          <p:nvSpPr>
            <p:cNvPr id="12" name="Control Text">
              <a:extLst>
                <a:ext uri="{FF2B5EF4-FFF2-40B4-BE49-F238E27FC236}">
                  <a16:creationId xmlns:a16="http://schemas.microsoft.com/office/drawing/2014/main" id="{BBAAC077-A193-43AD-B92D-80D6DA7D09A6}"/>
                </a:ext>
              </a:extLst>
            </p:cNvPr>
            <p:cNvSpPr txBox="1"/>
            <p:nvPr/>
          </p:nvSpPr>
          <p:spPr>
            <a:xfrm>
              <a:off x="6792546" y="1842173"/>
              <a:ext cx="1404380" cy="634530"/>
            </a:xfrm>
            <a:prstGeom prst="rect">
              <a:avLst/>
            </a:prstGeom>
            <a:noFill/>
          </p:spPr>
          <p:txBody>
            <a:bodyPr wrap="none" lIns="182828" tIns="146262" rIns="182828" bIns="146262" rtlCol="0">
              <a:spAutoFit/>
            </a:bodyPr>
            <a:lstStyle/>
            <a:p>
              <a:pPr defTabSz="914049">
                <a:lnSpc>
                  <a:spcPct val="90000"/>
                </a:lnSpc>
                <a:spcAft>
                  <a:spcPts val="600"/>
                </a:spcAft>
                <a:defRPr/>
              </a:pPr>
              <a:r>
                <a:rPr lang="en-GB" sz="2400" kern="0">
                  <a:gradFill>
                    <a:gsLst>
                      <a:gs pos="2917">
                        <a:schemeClr val="tx1"/>
                      </a:gs>
                      <a:gs pos="30000">
                        <a:schemeClr val="tx1"/>
                      </a:gs>
                    </a:gsLst>
                    <a:lin ang="5400000" scaled="0"/>
                  </a:gradFill>
                </a:rPr>
                <a:t>Control</a:t>
              </a:r>
            </a:p>
          </p:txBody>
        </p:sp>
      </p:grpSp>
      <p:grpSp>
        <p:nvGrpSpPr>
          <p:cNvPr id="13" name="Compute Set">
            <a:extLst>
              <a:ext uri="{FF2B5EF4-FFF2-40B4-BE49-F238E27FC236}">
                <a16:creationId xmlns:a16="http://schemas.microsoft.com/office/drawing/2014/main" id="{3FDEDDB3-4FFC-4922-8C0C-869D58F53BE6}"/>
              </a:ext>
            </a:extLst>
          </p:cNvPr>
          <p:cNvGrpSpPr/>
          <p:nvPr/>
        </p:nvGrpSpPr>
        <p:grpSpPr>
          <a:xfrm>
            <a:off x="1017416" y="1708861"/>
            <a:ext cx="10401644" cy="1979825"/>
            <a:chOff x="1015939" y="1708352"/>
            <a:chExt cx="10404596" cy="1980387"/>
          </a:xfrm>
        </p:grpSpPr>
        <p:sp>
          <p:nvSpPr>
            <p:cNvPr id="14" name="Rounded Rectangle 213">
              <a:extLst>
                <a:ext uri="{FF2B5EF4-FFF2-40B4-BE49-F238E27FC236}">
                  <a16:creationId xmlns:a16="http://schemas.microsoft.com/office/drawing/2014/main" id="{6A43BB93-6A29-413A-B02D-02DCE9FB0E76}"/>
                </a:ext>
              </a:extLst>
            </p:cNvPr>
            <p:cNvSpPr/>
            <p:nvPr/>
          </p:nvSpPr>
          <p:spPr bwMode="auto">
            <a:xfrm>
              <a:off x="1015939" y="1708352"/>
              <a:ext cx="10404596" cy="1980387"/>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GB"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5" name="Compute Text">
              <a:extLst>
                <a:ext uri="{FF2B5EF4-FFF2-40B4-BE49-F238E27FC236}">
                  <a16:creationId xmlns:a16="http://schemas.microsoft.com/office/drawing/2014/main" id="{DC6F7746-F44E-429B-9F47-15415C4C627A}"/>
                </a:ext>
              </a:extLst>
            </p:cNvPr>
            <p:cNvSpPr txBox="1"/>
            <p:nvPr/>
          </p:nvSpPr>
          <p:spPr>
            <a:xfrm rot="16200000">
              <a:off x="707410" y="2519651"/>
              <a:ext cx="1651287" cy="634530"/>
            </a:xfrm>
            <a:prstGeom prst="rect">
              <a:avLst/>
            </a:prstGeom>
            <a:noFill/>
          </p:spPr>
          <p:txBody>
            <a:bodyPr wrap="none" lIns="182828" tIns="146262" rIns="182828" bIns="146262" rtlCol="0">
              <a:spAutoFit/>
            </a:bodyPr>
            <a:lstStyle/>
            <a:p>
              <a:pPr defTabSz="914049">
                <a:lnSpc>
                  <a:spcPct val="90000"/>
                </a:lnSpc>
                <a:spcAft>
                  <a:spcPts val="600"/>
                </a:spcAft>
                <a:defRPr/>
              </a:pPr>
              <a:r>
                <a:rPr lang="en-GB" sz="2400" kern="0">
                  <a:gradFill>
                    <a:gsLst>
                      <a:gs pos="2917">
                        <a:schemeClr val="tx1"/>
                      </a:gs>
                      <a:gs pos="30000">
                        <a:schemeClr val="tx1"/>
                      </a:gs>
                    </a:gsLst>
                    <a:lin ang="5400000" scaled="0"/>
                  </a:gradFill>
                </a:rPr>
                <a:t>Compute</a:t>
              </a:r>
            </a:p>
          </p:txBody>
        </p:sp>
      </p:grpSp>
      <p:grpSp>
        <p:nvGrpSpPr>
          <p:cNvPr id="16" name="Storage Set">
            <a:extLst>
              <a:ext uri="{FF2B5EF4-FFF2-40B4-BE49-F238E27FC236}">
                <a16:creationId xmlns:a16="http://schemas.microsoft.com/office/drawing/2014/main" id="{B899A207-F59E-44AF-B3F9-41F8168C7DAF}"/>
              </a:ext>
            </a:extLst>
          </p:cNvPr>
          <p:cNvGrpSpPr/>
          <p:nvPr/>
        </p:nvGrpSpPr>
        <p:grpSpPr>
          <a:xfrm>
            <a:off x="1071685" y="3857200"/>
            <a:ext cx="10401644" cy="2879504"/>
            <a:chOff x="1070225" y="3857302"/>
            <a:chExt cx="10404596" cy="2880320"/>
          </a:xfrm>
        </p:grpSpPr>
        <p:sp>
          <p:nvSpPr>
            <p:cNvPr id="17" name="Rounded Rectangle 24">
              <a:extLst>
                <a:ext uri="{FF2B5EF4-FFF2-40B4-BE49-F238E27FC236}">
                  <a16:creationId xmlns:a16="http://schemas.microsoft.com/office/drawing/2014/main" id="{EBA29A1D-18E0-4679-A76E-83640111A787}"/>
                </a:ext>
              </a:extLst>
            </p:cNvPr>
            <p:cNvSpPr/>
            <p:nvPr/>
          </p:nvSpPr>
          <p:spPr bwMode="auto">
            <a:xfrm>
              <a:off x="1070225" y="3857302"/>
              <a:ext cx="10404596" cy="2880320"/>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GB" sz="2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Storage">
              <a:extLst>
                <a:ext uri="{FF2B5EF4-FFF2-40B4-BE49-F238E27FC236}">
                  <a16:creationId xmlns:a16="http://schemas.microsoft.com/office/drawing/2014/main" id="{547E4381-0E79-4E98-8FDF-E063DCD476DD}"/>
                </a:ext>
              </a:extLst>
            </p:cNvPr>
            <p:cNvGrpSpPr/>
            <p:nvPr/>
          </p:nvGrpSpPr>
          <p:grpSpPr>
            <a:xfrm>
              <a:off x="2094836" y="4073326"/>
              <a:ext cx="8294427" cy="2502583"/>
              <a:chOff x="2094836" y="4073326"/>
              <a:chExt cx="8294427" cy="2502583"/>
            </a:xfrm>
          </p:grpSpPr>
          <p:pic>
            <p:nvPicPr>
              <p:cNvPr id="20" name="Picture 19">
                <a:extLst>
                  <a:ext uri="{FF2B5EF4-FFF2-40B4-BE49-F238E27FC236}">
                    <a16:creationId xmlns:a16="http://schemas.microsoft.com/office/drawing/2014/main" id="{21BE671B-49C0-4E7D-B9F6-AE646847FF57}"/>
                  </a:ext>
                </a:extLst>
              </p:cNvPr>
              <p:cNvPicPr>
                <a:picLocks noChangeAspect="1"/>
              </p:cNvPicPr>
              <p:nvPr/>
            </p:nvPicPr>
            <p:blipFill>
              <a:blip r:embed="rId10">
                <a:duotone>
                  <a:prstClr val="black"/>
                  <a:srgbClr val="D9C3A5">
                    <a:tint val="50000"/>
                    <a:satMod val="180000"/>
                  </a:srgbClr>
                </a:duotone>
              </a:blip>
              <a:stretch>
                <a:fillRect/>
              </a:stretch>
            </p:blipFill>
            <p:spPr>
              <a:xfrm>
                <a:off x="2099026" y="4073326"/>
                <a:ext cx="780290" cy="780290"/>
              </a:xfrm>
              <a:prstGeom prst="rect">
                <a:avLst/>
              </a:prstGeom>
            </p:spPr>
          </p:pic>
          <p:pic>
            <p:nvPicPr>
              <p:cNvPr id="21" name="Picture 20">
                <a:extLst>
                  <a:ext uri="{FF2B5EF4-FFF2-40B4-BE49-F238E27FC236}">
                    <a16:creationId xmlns:a16="http://schemas.microsoft.com/office/drawing/2014/main" id="{40DF86F3-29A0-4AD0-A43E-D68A676873F5}"/>
                  </a:ext>
                </a:extLst>
              </p:cNvPr>
              <p:cNvPicPr>
                <a:picLocks noChangeAspect="1"/>
              </p:cNvPicPr>
              <p:nvPr/>
            </p:nvPicPr>
            <p:blipFill>
              <a:blip r:embed="rId10">
                <a:duotone>
                  <a:prstClr val="black"/>
                  <a:srgbClr val="D9C3A5">
                    <a:tint val="50000"/>
                    <a:satMod val="180000"/>
                  </a:srgbClr>
                </a:duotone>
              </a:blip>
              <a:stretch>
                <a:fillRect/>
              </a:stretch>
            </p:blipFill>
            <p:spPr>
              <a:xfrm>
                <a:off x="2933756" y="4073326"/>
                <a:ext cx="780290" cy="780290"/>
              </a:xfrm>
              <a:prstGeom prst="rect">
                <a:avLst/>
              </a:prstGeom>
            </p:spPr>
          </p:pic>
          <p:pic>
            <p:nvPicPr>
              <p:cNvPr id="22" name="Picture 21">
                <a:extLst>
                  <a:ext uri="{FF2B5EF4-FFF2-40B4-BE49-F238E27FC236}">
                    <a16:creationId xmlns:a16="http://schemas.microsoft.com/office/drawing/2014/main" id="{0D512968-931A-4E3F-B24B-890C9EB40A1E}"/>
                  </a:ext>
                </a:extLst>
              </p:cNvPr>
              <p:cNvPicPr>
                <a:picLocks noChangeAspect="1"/>
              </p:cNvPicPr>
              <p:nvPr/>
            </p:nvPicPr>
            <p:blipFill>
              <a:blip r:embed="rId10">
                <a:duotone>
                  <a:prstClr val="black"/>
                  <a:srgbClr val="D9C3A5">
                    <a:tint val="50000"/>
                    <a:satMod val="180000"/>
                  </a:srgbClr>
                </a:duotone>
              </a:blip>
              <a:stretch>
                <a:fillRect/>
              </a:stretch>
            </p:blipFill>
            <p:spPr>
              <a:xfrm>
                <a:off x="3768486" y="4073326"/>
                <a:ext cx="780290" cy="780290"/>
              </a:xfrm>
              <a:prstGeom prst="rect">
                <a:avLst/>
              </a:prstGeom>
            </p:spPr>
          </p:pic>
          <p:pic>
            <p:nvPicPr>
              <p:cNvPr id="23" name="Picture 22">
                <a:extLst>
                  <a:ext uri="{FF2B5EF4-FFF2-40B4-BE49-F238E27FC236}">
                    <a16:creationId xmlns:a16="http://schemas.microsoft.com/office/drawing/2014/main" id="{AC1AF5AE-8D33-4D9D-B22D-FBEEE06518B6}"/>
                  </a:ext>
                </a:extLst>
              </p:cNvPr>
              <p:cNvPicPr>
                <a:picLocks noChangeAspect="1"/>
              </p:cNvPicPr>
              <p:nvPr/>
            </p:nvPicPr>
            <p:blipFill>
              <a:blip r:embed="rId10">
                <a:duotone>
                  <a:prstClr val="black"/>
                  <a:srgbClr val="D9C3A5">
                    <a:tint val="50000"/>
                    <a:satMod val="180000"/>
                  </a:srgbClr>
                </a:duotone>
              </a:blip>
              <a:stretch>
                <a:fillRect/>
              </a:stretch>
            </p:blipFill>
            <p:spPr>
              <a:xfrm>
                <a:off x="4603216" y="4073326"/>
                <a:ext cx="780290" cy="780290"/>
              </a:xfrm>
              <a:prstGeom prst="rect">
                <a:avLst/>
              </a:prstGeom>
            </p:spPr>
          </p:pic>
          <p:pic>
            <p:nvPicPr>
              <p:cNvPr id="24" name="Picture 23">
                <a:extLst>
                  <a:ext uri="{FF2B5EF4-FFF2-40B4-BE49-F238E27FC236}">
                    <a16:creationId xmlns:a16="http://schemas.microsoft.com/office/drawing/2014/main" id="{59C99B26-8D61-4E4F-B708-6D74F5D19BB3}"/>
                  </a:ext>
                </a:extLst>
              </p:cNvPr>
              <p:cNvPicPr>
                <a:picLocks noChangeAspect="1"/>
              </p:cNvPicPr>
              <p:nvPr/>
            </p:nvPicPr>
            <p:blipFill>
              <a:blip r:embed="rId10">
                <a:duotone>
                  <a:prstClr val="black"/>
                  <a:srgbClr val="D9C3A5">
                    <a:tint val="50000"/>
                    <a:satMod val="180000"/>
                  </a:srgbClr>
                </a:duotone>
              </a:blip>
              <a:stretch>
                <a:fillRect/>
              </a:stretch>
            </p:blipFill>
            <p:spPr>
              <a:xfrm>
                <a:off x="5437947" y="4073326"/>
                <a:ext cx="780290" cy="780290"/>
              </a:xfrm>
              <a:prstGeom prst="rect">
                <a:avLst/>
              </a:prstGeom>
            </p:spPr>
          </p:pic>
          <p:pic>
            <p:nvPicPr>
              <p:cNvPr id="25" name="Picture 24">
                <a:extLst>
                  <a:ext uri="{FF2B5EF4-FFF2-40B4-BE49-F238E27FC236}">
                    <a16:creationId xmlns:a16="http://schemas.microsoft.com/office/drawing/2014/main" id="{F8AC7F8E-0C22-467B-AAE3-C4AC186F6A77}"/>
                  </a:ext>
                </a:extLst>
              </p:cNvPr>
              <p:cNvPicPr>
                <a:picLocks noChangeAspect="1"/>
              </p:cNvPicPr>
              <p:nvPr/>
            </p:nvPicPr>
            <p:blipFill>
              <a:blip r:embed="rId10">
                <a:duotone>
                  <a:prstClr val="black"/>
                  <a:srgbClr val="D9C3A5">
                    <a:tint val="50000"/>
                    <a:satMod val="180000"/>
                  </a:srgbClr>
                </a:duotone>
              </a:blip>
              <a:stretch>
                <a:fillRect/>
              </a:stretch>
            </p:blipFill>
            <p:spPr>
              <a:xfrm>
                <a:off x="2094836" y="4934472"/>
                <a:ext cx="780290" cy="780290"/>
              </a:xfrm>
              <a:prstGeom prst="rect">
                <a:avLst/>
              </a:prstGeom>
            </p:spPr>
          </p:pic>
          <p:pic>
            <p:nvPicPr>
              <p:cNvPr id="26" name="Picture 25">
                <a:extLst>
                  <a:ext uri="{FF2B5EF4-FFF2-40B4-BE49-F238E27FC236}">
                    <a16:creationId xmlns:a16="http://schemas.microsoft.com/office/drawing/2014/main" id="{7A4DE3AF-0D1E-4B25-9AA0-D7A7B20CD777}"/>
                  </a:ext>
                </a:extLst>
              </p:cNvPr>
              <p:cNvPicPr>
                <a:picLocks noChangeAspect="1"/>
              </p:cNvPicPr>
              <p:nvPr/>
            </p:nvPicPr>
            <p:blipFill>
              <a:blip r:embed="rId10">
                <a:duotone>
                  <a:prstClr val="black"/>
                  <a:srgbClr val="D9C3A5">
                    <a:tint val="50000"/>
                    <a:satMod val="180000"/>
                  </a:srgbClr>
                </a:duotone>
              </a:blip>
              <a:stretch>
                <a:fillRect/>
              </a:stretch>
            </p:blipFill>
            <p:spPr>
              <a:xfrm>
                <a:off x="2929566" y="4934472"/>
                <a:ext cx="780290" cy="780290"/>
              </a:xfrm>
              <a:prstGeom prst="rect">
                <a:avLst/>
              </a:prstGeom>
            </p:spPr>
          </p:pic>
          <p:pic>
            <p:nvPicPr>
              <p:cNvPr id="27" name="Picture 26">
                <a:extLst>
                  <a:ext uri="{FF2B5EF4-FFF2-40B4-BE49-F238E27FC236}">
                    <a16:creationId xmlns:a16="http://schemas.microsoft.com/office/drawing/2014/main" id="{3BA26999-8035-4CEC-9338-1029C1002D49}"/>
                  </a:ext>
                </a:extLst>
              </p:cNvPr>
              <p:cNvPicPr>
                <a:picLocks noChangeAspect="1"/>
              </p:cNvPicPr>
              <p:nvPr/>
            </p:nvPicPr>
            <p:blipFill>
              <a:blip r:embed="rId10">
                <a:duotone>
                  <a:prstClr val="black"/>
                  <a:srgbClr val="D9C3A5">
                    <a:tint val="50000"/>
                    <a:satMod val="180000"/>
                  </a:srgbClr>
                </a:duotone>
              </a:blip>
              <a:stretch>
                <a:fillRect/>
              </a:stretch>
            </p:blipFill>
            <p:spPr>
              <a:xfrm>
                <a:off x="3764296" y="4934472"/>
                <a:ext cx="780290" cy="780290"/>
              </a:xfrm>
              <a:prstGeom prst="rect">
                <a:avLst/>
              </a:prstGeom>
            </p:spPr>
          </p:pic>
          <p:pic>
            <p:nvPicPr>
              <p:cNvPr id="28" name="Picture 27">
                <a:extLst>
                  <a:ext uri="{FF2B5EF4-FFF2-40B4-BE49-F238E27FC236}">
                    <a16:creationId xmlns:a16="http://schemas.microsoft.com/office/drawing/2014/main" id="{F22FABEC-E9AC-43B0-BAFC-39AFDC817471}"/>
                  </a:ext>
                </a:extLst>
              </p:cNvPr>
              <p:cNvPicPr>
                <a:picLocks noChangeAspect="1"/>
              </p:cNvPicPr>
              <p:nvPr/>
            </p:nvPicPr>
            <p:blipFill>
              <a:blip r:embed="rId10">
                <a:duotone>
                  <a:prstClr val="black"/>
                  <a:srgbClr val="D9C3A5">
                    <a:tint val="50000"/>
                    <a:satMod val="180000"/>
                  </a:srgbClr>
                </a:duotone>
              </a:blip>
              <a:stretch>
                <a:fillRect/>
              </a:stretch>
            </p:blipFill>
            <p:spPr>
              <a:xfrm>
                <a:off x="4599026" y="4934472"/>
                <a:ext cx="780290" cy="780290"/>
              </a:xfrm>
              <a:prstGeom prst="rect">
                <a:avLst/>
              </a:prstGeom>
            </p:spPr>
          </p:pic>
          <p:pic>
            <p:nvPicPr>
              <p:cNvPr id="29" name="Picture 28">
                <a:extLst>
                  <a:ext uri="{FF2B5EF4-FFF2-40B4-BE49-F238E27FC236}">
                    <a16:creationId xmlns:a16="http://schemas.microsoft.com/office/drawing/2014/main" id="{331870F3-0AFB-4BB6-B433-EB9530B6811C}"/>
                  </a:ext>
                </a:extLst>
              </p:cNvPr>
              <p:cNvPicPr>
                <a:picLocks noChangeAspect="1"/>
              </p:cNvPicPr>
              <p:nvPr/>
            </p:nvPicPr>
            <p:blipFill>
              <a:blip r:embed="rId10">
                <a:duotone>
                  <a:prstClr val="black"/>
                  <a:srgbClr val="D9C3A5">
                    <a:tint val="50000"/>
                    <a:satMod val="180000"/>
                  </a:srgbClr>
                </a:duotone>
              </a:blip>
              <a:stretch>
                <a:fillRect/>
              </a:stretch>
            </p:blipFill>
            <p:spPr>
              <a:xfrm>
                <a:off x="5433757" y="4934472"/>
                <a:ext cx="780290" cy="780290"/>
              </a:xfrm>
              <a:prstGeom prst="rect">
                <a:avLst/>
              </a:prstGeom>
            </p:spPr>
          </p:pic>
          <p:pic>
            <p:nvPicPr>
              <p:cNvPr id="30" name="Picture 29">
                <a:extLst>
                  <a:ext uri="{FF2B5EF4-FFF2-40B4-BE49-F238E27FC236}">
                    <a16:creationId xmlns:a16="http://schemas.microsoft.com/office/drawing/2014/main" id="{E43C81FF-B1FB-4EFA-AC05-8453FAED4808}"/>
                  </a:ext>
                </a:extLst>
              </p:cNvPr>
              <p:cNvPicPr>
                <a:picLocks noChangeAspect="1"/>
              </p:cNvPicPr>
              <p:nvPr/>
            </p:nvPicPr>
            <p:blipFill>
              <a:blip r:embed="rId10">
                <a:duotone>
                  <a:prstClr val="black"/>
                  <a:srgbClr val="D9C3A5">
                    <a:tint val="50000"/>
                    <a:satMod val="180000"/>
                  </a:srgbClr>
                </a:duotone>
              </a:blip>
              <a:stretch>
                <a:fillRect/>
              </a:stretch>
            </p:blipFill>
            <p:spPr>
              <a:xfrm>
                <a:off x="2099026" y="5795619"/>
                <a:ext cx="780290" cy="780290"/>
              </a:xfrm>
              <a:prstGeom prst="rect">
                <a:avLst/>
              </a:prstGeom>
            </p:spPr>
          </p:pic>
          <p:pic>
            <p:nvPicPr>
              <p:cNvPr id="31" name="Picture 30">
                <a:extLst>
                  <a:ext uri="{FF2B5EF4-FFF2-40B4-BE49-F238E27FC236}">
                    <a16:creationId xmlns:a16="http://schemas.microsoft.com/office/drawing/2014/main" id="{55928FB9-DE1B-4E81-B95A-775A11F37CCF}"/>
                  </a:ext>
                </a:extLst>
              </p:cNvPr>
              <p:cNvPicPr>
                <a:picLocks noChangeAspect="1"/>
              </p:cNvPicPr>
              <p:nvPr/>
            </p:nvPicPr>
            <p:blipFill>
              <a:blip r:embed="rId10">
                <a:duotone>
                  <a:prstClr val="black"/>
                  <a:srgbClr val="D9C3A5">
                    <a:tint val="50000"/>
                    <a:satMod val="180000"/>
                  </a:srgbClr>
                </a:duotone>
              </a:blip>
              <a:stretch>
                <a:fillRect/>
              </a:stretch>
            </p:blipFill>
            <p:spPr>
              <a:xfrm>
                <a:off x="2933756" y="5795619"/>
                <a:ext cx="780290" cy="780290"/>
              </a:xfrm>
              <a:prstGeom prst="rect">
                <a:avLst/>
              </a:prstGeom>
            </p:spPr>
          </p:pic>
          <p:pic>
            <p:nvPicPr>
              <p:cNvPr id="32" name="Picture 31">
                <a:extLst>
                  <a:ext uri="{FF2B5EF4-FFF2-40B4-BE49-F238E27FC236}">
                    <a16:creationId xmlns:a16="http://schemas.microsoft.com/office/drawing/2014/main" id="{C7DD78EA-51C2-4DEA-AE02-98E29C7CB982}"/>
                  </a:ext>
                </a:extLst>
              </p:cNvPr>
              <p:cNvPicPr>
                <a:picLocks noChangeAspect="1"/>
              </p:cNvPicPr>
              <p:nvPr/>
            </p:nvPicPr>
            <p:blipFill>
              <a:blip r:embed="rId10">
                <a:duotone>
                  <a:prstClr val="black"/>
                  <a:srgbClr val="D9C3A5">
                    <a:tint val="50000"/>
                    <a:satMod val="180000"/>
                  </a:srgbClr>
                </a:duotone>
              </a:blip>
              <a:stretch>
                <a:fillRect/>
              </a:stretch>
            </p:blipFill>
            <p:spPr>
              <a:xfrm>
                <a:off x="3768486" y="5795619"/>
                <a:ext cx="780290" cy="780290"/>
              </a:xfrm>
              <a:prstGeom prst="rect">
                <a:avLst/>
              </a:prstGeom>
            </p:spPr>
          </p:pic>
          <p:pic>
            <p:nvPicPr>
              <p:cNvPr id="33" name="Picture 32">
                <a:extLst>
                  <a:ext uri="{FF2B5EF4-FFF2-40B4-BE49-F238E27FC236}">
                    <a16:creationId xmlns:a16="http://schemas.microsoft.com/office/drawing/2014/main" id="{D7EEB0AA-8024-4C5C-9931-71EDD201035D}"/>
                  </a:ext>
                </a:extLst>
              </p:cNvPr>
              <p:cNvPicPr>
                <a:picLocks noChangeAspect="1"/>
              </p:cNvPicPr>
              <p:nvPr/>
            </p:nvPicPr>
            <p:blipFill>
              <a:blip r:embed="rId10">
                <a:duotone>
                  <a:prstClr val="black"/>
                  <a:srgbClr val="D9C3A5">
                    <a:tint val="50000"/>
                    <a:satMod val="180000"/>
                  </a:srgbClr>
                </a:duotone>
              </a:blip>
              <a:stretch>
                <a:fillRect/>
              </a:stretch>
            </p:blipFill>
            <p:spPr>
              <a:xfrm>
                <a:off x="4603216" y="5795619"/>
                <a:ext cx="780290" cy="780290"/>
              </a:xfrm>
              <a:prstGeom prst="rect">
                <a:avLst/>
              </a:prstGeom>
            </p:spPr>
          </p:pic>
          <p:pic>
            <p:nvPicPr>
              <p:cNvPr id="34" name="Picture 33">
                <a:extLst>
                  <a:ext uri="{FF2B5EF4-FFF2-40B4-BE49-F238E27FC236}">
                    <a16:creationId xmlns:a16="http://schemas.microsoft.com/office/drawing/2014/main" id="{F3DACD8D-72D4-49E2-99CB-B1CFCFA72705}"/>
                  </a:ext>
                </a:extLst>
              </p:cNvPr>
              <p:cNvPicPr>
                <a:picLocks noChangeAspect="1"/>
              </p:cNvPicPr>
              <p:nvPr/>
            </p:nvPicPr>
            <p:blipFill>
              <a:blip r:embed="rId10">
                <a:duotone>
                  <a:prstClr val="black"/>
                  <a:srgbClr val="D9C3A5">
                    <a:tint val="50000"/>
                    <a:satMod val="180000"/>
                  </a:srgbClr>
                </a:duotone>
              </a:blip>
              <a:stretch>
                <a:fillRect/>
              </a:stretch>
            </p:blipFill>
            <p:spPr>
              <a:xfrm>
                <a:off x="5437947" y="5795619"/>
                <a:ext cx="780290" cy="780290"/>
              </a:xfrm>
              <a:prstGeom prst="rect">
                <a:avLst/>
              </a:prstGeom>
            </p:spPr>
          </p:pic>
          <p:pic>
            <p:nvPicPr>
              <p:cNvPr id="35" name="Picture 34">
                <a:extLst>
                  <a:ext uri="{FF2B5EF4-FFF2-40B4-BE49-F238E27FC236}">
                    <a16:creationId xmlns:a16="http://schemas.microsoft.com/office/drawing/2014/main" id="{EEA09A59-2297-4C5F-B810-26F1FEFC60A7}"/>
                  </a:ext>
                </a:extLst>
              </p:cNvPr>
              <p:cNvPicPr>
                <a:picLocks noChangeAspect="1"/>
              </p:cNvPicPr>
              <p:nvPr/>
            </p:nvPicPr>
            <p:blipFill>
              <a:blip r:embed="rId10">
                <a:duotone>
                  <a:prstClr val="black"/>
                  <a:srgbClr val="D9C3A5">
                    <a:tint val="50000"/>
                    <a:satMod val="180000"/>
                  </a:srgbClr>
                </a:duotone>
              </a:blip>
              <a:stretch>
                <a:fillRect/>
              </a:stretch>
            </p:blipFill>
            <p:spPr>
              <a:xfrm>
                <a:off x="6270052" y="4073326"/>
                <a:ext cx="780290" cy="780290"/>
              </a:xfrm>
              <a:prstGeom prst="rect">
                <a:avLst/>
              </a:prstGeom>
            </p:spPr>
          </p:pic>
          <p:pic>
            <p:nvPicPr>
              <p:cNvPr id="36" name="Picture 35">
                <a:extLst>
                  <a:ext uri="{FF2B5EF4-FFF2-40B4-BE49-F238E27FC236}">
                    <a16:creationId xmlns:a16="http://schemas.microsoft.com/office/drawing/2014/main" id="{B316DFF7-4E7B-48DA-A4E1-EB95636AA22D}"/>
                  </a:ext>
                </a:extLst>
              </p:cNvPr>
              <p:cNvPicPr>
                <a:picLocks noChangeAspect="1"/>
              </p:cNvPicPr>
              <p:nvPr/>
            </p:nvPicPr>
            <p:blipFill>
              <a:blip r:embed="rId10">
                <a:duotone>
                  <a:prstClr val="black"/>
                  <a:srgbClr val="D9C3A5">
                    <a:tint val="50000"/>
                    <a:satMod val="180000"/>
                  </a:srgbClr>
                </a:duotone>
              </a:blip>
              <a:stretch>
                <a:fillRect/>
              </a:stretch>
            </p:blipFill>
            <p:spPr>
              <a:xfrm>
                <a:off x="7104782" y="4073326"/>
                <a:ext cx="780290" cy="780290"/>
              </a:xfrm>
              <a:prstGeom prst="rect">
                <a:avLst/>
              </a:prstGeom>
            </p:spPr>
          </p:pic>
          <p:pic>
            <p:nvPicPr>
              <p:cNvPr id="37" name="Picture 36">
                <a:extLst>
                  <a:ext uri="{FF2B5EF4-FFF2-40B4-BE49-F238E27FC236}">
                    <a16:creationId xmlns:a16="http://schemas.microsoft.com/office/drawing/2014/main" id="{E48EAC4D-4806-449B-90E2-47B6C908479A}"/>
                  </a:ext>
                </a:extLst>
              </p:cNvPr>
              <p:cNvPicPr>
                <a:picLocks noChangeAspect="1"/>
              </p:cNvPicPr>
              <p:nvPr/>
            </p:nvPicPr>
            <p:blipFill>
              <a:blip r:embed="rId10">
                <a:duotone>
                  <a:prstClr val="black"/>
                  <a:srgbClr val="D9C3A5">
                    <a:tint val="50000"/>
                    <a:satMod val="180000"/>
                  </a:srgbClr>
                </a:duotone>
              </a:blip>
              <a:stretch>
                <a:fillRect/>
              </a:stretch>
            </p:blipFill>
            <p:spPr>
              <a:xfrm>
                <a:off x="7939512" y="4073326"/>
                <a:ext cx="780290" cy="780290"/>
              </a:xfrm>
              <a:prstGeom prst="rect">
                <a:avLst/>
              </a:prstGeom>
            </p:spPr>
          </p:pic>
          <p:pic>
            <p:nvPicPr>
              <p:cNvPr id="38" name="Picture 37">
                <a:extLst>
                  <a:ext uri="{FF2B5EF4-FFF2-40B4-BE49-F238E27FC236}">
                    <a16:creationId xmlns:a16="http://schemas.microsoft.com/office/drawing/2014/main" id="{88B95E28-822D-4C5D-9CED-44F2C511770A}"/>
                  </a:ext>
                </a:extLst>
              </p:cNvPr>
              <p:cNvPicPr>
                <a:picLocks noChangeAspect="1"/>
              </p:cNvPicPr>
              <p:nvPr/>
            </p:nvPicPr>
            <p:blipFill>
              <a:blip r:embed="rId10">
                <a:duotone>
                  <a:prstClr val="black"/>
                  <a:srgbClr val="D9C3A5">
                    <a:tint val="50000"/>
                    <a:satMod val="180000"/>
                  </a:srgbClr>
                </a:duotone>
              </a:blip>
              <a:stretch>
                <a:fillRect/>
              </a:stretch>
            </p:blipFill>
            <p:spPr>
              <a:xfrm>
                <a:off x="8774242" y="4073326"/>
                <a:ext cx="780290" cy="780290"/>
              </a:xfrm>
              <a:prstGeom prst="rect">
                <a:avLst/>
              </a:prstGeom>
            </p:spPr>
          </p:pic>
          <p:pic>
            <p:nvPicPr>
              <p:cNvPr id="39" name="Picture 38">
                <a:extLst>
                  <a:ext uri="{FF2B5EF4-FFF2-40B4-BE49-F238E27FC236}">
                    <a16:creationId xmlns:a16="http://schemas.microsoft.com/office/drawing/2014/main" id="{05A3543B-494A-411B-85A0-3BAD8F16A543}"/>
                  </a:ext>
                </a:extLst>
              </p:cNvPr>
              <p:cNvPicPr>
                <a:picLocks noChangeAspect="1"/>
              </p:cNvPicPr>
              <p:nvPr/>
            </p:nvPicPr>
            <p:blipFill>
              <a:blip r:embed="rId10">
                <a:duotone>
                  <a:prstClr val="black"/>
                  <a:srgbClr val="D9C3A5">
                    <a:tint val="50000"/>
                    <a:satMod val="180000"/>
                  </a:srgbClr>
                </a:duotone>
              </a:blip>
              <a:stretch>
                <a:fillRect/>
              </a:stretch>
            </p:blipFill>
            <p:spPr>
              <a:xfrm>
                <a:off x="9608973" y="4073326"/>
                <a:ext cx="780290" cy="780290"/>
              </a:xfrm>
              <a:prstGeom prst="rect">
                <a:avLst/>
              </a:prstGeom>
            </p:spPr>
          </p:pic>
          <p:pic>
            <p:nvPicPr>
              <p:cNvPr id="40" name="Picture 39">
                <a:extLst>
                  <a:ext uri="{FF2B5EF4-FFF2-40B4-BE49-F238E27FC236}">
                    <a16:creationId xmlns:a16="http://schemas.microsoft.com/office/drawing/2014/main" id="{AAA525AD-D2D2-490A-A638-845372C1521E}"/>
                  </a:ext>
                </a:extLst>
              </p:cNvPr>
              <p:cNvPicPr>
                <a:picLocks noChangeAspect="1"/>
              </p:cNvPicPr>
              <p:nvPr/>
            </p:nvPicPr>
            <p:blipFill>
              <a:blip r:embed="rId10">
                <a:duotone>
                  <a:prstClr val="black"/>
                  <a:srgbClr val="D9C3A5">
                    <a:tint val="50000"/>
                    <a:satMod val="180000"/>
                  </a:srgbClr>
                </a:duotone>
              </a:blip>
              <a:stretch>
                <a:fillRect/>
              </a:stretch>
            </p:blipFill>
            <p:spPr>
              <a:xfrm>
                <a:off x="6265862" y="4934472"/>
                <a:ext cx="780290" cy="780290"/>
              </a:xfrm>
              <a:prstGeom prst="rect">
                <a:avLst/>
              </a:prstGeom>
            </p:spPr>
          </p:pic>
          <p:pic>
            <p:nvPicPr>
              <p:cNvPr id="41" name="Picture 40">
                <a:extLst>
                  <a:ext uri="{FF2B5EF4-FFF2-40B4-BE49-F238E27FC236}">
                    <a16:creationId xmlns:a16="http://schemas.microsoft.com/office/drawing/2014/main" id="{19131F29-C4EB-4A0A-BDF1-D64F2A53E84C}"/>
                  </a:ext>
                </a:extLst>
              </p:cNvPr>
              <p:cNvPicPr>
                <a:picLocks noChangeAspect="1"/>
              </p:cNvPicPr>
              <p:nvPr/>
            </p:nvPicPr>
            <p:blipFill>
              <a:blip r:embed="rId10">
                <a:duotone>
                  <a:prstClr val="black"/>
                  <a:srgbClr val="D9C3A5">
                    <a:tint val="50000"/>
                    <a:satMod val="180000"/>
                  </a:srgbClr>
                </a:duotone>
              </a:blip>
              <a:stretch>
                <a:fillRect/>
              </a:stretch>
            </p:blipFill>
            <p:spPr>
              <a:xfrm>
                <a:off x="7100592" y="4934472"/>
                <a:ext cx="780290" cy="780290"/>
              </a:xfrm>
              <a:prstGeom prst="rect">
                <a:avLst/>
              </a:prstGeom>
            </p:spPr>
          </p:pic>
          <p:pic>
            <p:nvPicPr>
              <p:cNvPr id="42" name="Picture 41">
                <a:extLst>
                  <a:ext uri="{FF2B5EF4-FFF2-40B4-BE49-F238E27FC236}">
                    <a16:creationId xmlns:a16="http://schemas.microsoft.com/office/drawing/2014/main" id="{1DCC0FB7-17E9-4084-BCCF-A50727A57D22}"/>
                  </a:ext>
                </a:extLst>
              </p:cNvPr>
              <p:cNvPicPr>
                <a:picLocks noChangeAspect="1"/>
              </p:cNvPicPr>
              <p:nvPr/>
            </p:nvPicPr>
            <p:blipFill>
              <a:blip r:embed="rId10">
                <a:duotone>
                  <a:prstClr val="black"/>
                  <a:srgbClr val="D9C3A5">
                    <a:tint val="50000"/>
                    <a:satMod val="180000"/>
                  </a:srgbClr>
                </a:duotone>
              </a:blip>
              <a:stretch>
                <a:fillRect/>
              </a:stretch>
            </p:blipFill>
            <p:spPr>
              <a:xfrm>
                <a:off x="7935322" y="4934472"/>
                <a:ext cx="780290" cy="780290"/>
              </a:xfrm>
              <a:prstGeom prst="rect">
                <a:avLst/>
              </a:prstGeom>
            </p:spPr>
          </p:pic>
          <p:pic>
            <p:nvPicPr>
              <p:cNvPr id="43" name="Picture 42">
                <a:extLst>
                  <a:ext uri="{FF2B5EF4-FFF2-40B4-BE49-F238E27FC236}">
                    <a16:creationId xmlns:a16="http://schemas.microsoft.com/office/drawing/2014/main" id="{B533D679-8044-4056-A428-DA8365796811}"/>
                  </a:ext>
                </a:extLst>
              </p:cNvPr>
              <p:cNvPicPr>
                <a:picLocks noChangeAspect="1"/>
              </p:cNvPicPr>
              <p:nvPr/>
            </p:nvPicPr>
            <p:blipFill>
              <a:blip r:embed="rId10">
                <a:duotone>
                  <a:prstClr val="black"/>
                  <a:srgbClr val="D9C3A5">
                    <a:tint val="50000"/>
                    <a:satMod val="180000"/>
                  </a:srgbClr>
                </a:duotone>
              </a:blip>
              <a:stretch>
                <a:fillRect/>
              </a:stretch>
            </p:blipFill>
            <p:spPr>
              <a:xfrm>
                <a:off x="8770052" y="4934472"/>
                <a:ext cx="780290" cy="780290"/>
              </a:xfrm>
              <a:prstGeom prst="rect">
                <a:avLst/>
              </a:prstGeom>
            </p:spPr>
          </p:pic>
          <p:pic>
            <p:nvPicPr>
              <p:cNvPr id="44" name="Picture 43">
                <a:extLst>
                  <a:ext uri="{FF2B5EF4-FFF2-40B4-BE49-F238E27FC236}">
                    <a16:creationId xmlns:a16="http://schemas.microsoft.com/office/drawing/2014/main" id="{CE05B729-4F80-4B56-98F3-762FDB935EB3}"/>
                  </a:ext>
                </a:extLst>
              </p:cNvPr>
              <p:cNvPicPr>
                <a:picLocks noChangeAspect="1"/>
              </p:cNvPicPr>
              <p:nvPr/>
            </p:nvPicPr>
            <p:blipFill>
              <a:blip r:embed="rId10">
                <a:duotone>
                  <a:prstClr val="black"/>
                  <a:srgbClr val="D9C3A5">
                    <a:tint val="50000"/>
                    <a:satMod val="180000"/>
                  </a:srgbClr>
                </a:duotone>
              </a:blip>
              <a:stretch>
                <a:fillRect/>
              </a:stretch>
            </p:blipFill>
            <p:spPr>
              <a:xfrm>
                <a:off x="9604783" y="4934472"/>
                <a:ext cx="780290" cy="780290"/>
              </a:xfrm>
              <a:prstGeom prst="rect">
                <a:avLst/>
              </a:prstGeom>
            </p:spPr>
          </p:pic>
          <p:pic>
            <p:nvPicPr>
              <p:cNvPr id="45" name="Picture 44">
                <a:extLst>
                  <a:ext uri="{FF2B5EF4-FFF2-40B4-BE49-F238E27FC236}">
                    <a16:creationId xmlns:a16="http://schemas.microsoft.com/office/drawing/2014/main" id="{9B7A4082-5414-488A-B59E-00F8B26622E5}"/>
                  </a:ext>
                </a:extLst>
              </p:cNvPr>
              <p:cNvPicPr>
                <a:picLocks noChangeAspect="1"/>
              </p:cNvPicPr>
              <p:nvPr/>
            </p:nvPicPr>
            <p:blipFill>
              <a:blip r:embed="rId10">
                <a:duotone>
                  <a:prstClr val="black"/>
                  <a:srgbClr val="D9C3A5">
                    <a:tint val="50000"/>
                    <a:satMod val="180000"/>
                  </a:srgbClr>
                </a:duotone>
              </a:blip>
              <a:stretch>
                <a:fillRect/>
              </a:stretch>
            </p:blipFill>
            <p:spPr>
              <a:xfrm>
                <a:off x="6270052" y="5795619"/>
                <a:ext cx="780290" cy="780290"/>
              </a:xfrm>
              <a:prstGeom prst="rect">
                <a:avLst/>
              </a:prstGeom>
            </p:spPr>
          </p:pic>
          <p:pic>
            <p:nvPicPr>
              <p:cNvPr id="46" name="Picture 45">
                <a:extLst>
                  <a:ext uri="{FF2B5EF4-FFF2-40B4-BE49-F238E27FC236}">
                    <a16:creationId xmlns:a16="http://schemas.microsoft.com/office/drawing/2014/main" id="{763DB474-6474-483C-A3AA-D4F91E2E22E1}"/>
                  </a:ext>
                </a:extLst>
              </p:cNvPr>
              <p:cNvPicPr>
                <a:picLocks noChangeAspect="1"/>
              </p:cNvPicPr>
              <p:nvPr/>
            </p:nvPicPr>
            <p:blipFill>
              <a:blip r:embed="rId10">
                <a:duotone>
                  <a:prstClr val="black"/>
                  <a:srgbClr val="D9C3A5">
                    <a:tint val="50000"/>
                    <a:satMod val="180000"/>
                  </a:srgbClr>
                </a:duotone>
              </a:blip>
              <a:stretch>
                <a:fillRect/>
              </a:stretch>
            </p:blipFill>
            <p:spPr>
              <a:xfrm>
                <a:off x="7104782" y="5795619"/>
                <a:ext cx="780290" cy="780290"/>
              </a:xfrm>
              <a:prstGeom prst="rect">
                <a:avLst/>
              </a:prstGeom>
            </p:spPr>
          </p:pic>
          <p:pic>
            <p:nvPicPr>
              <p:cNvPr id="47" name="Picture 46">
                <a:extLst>
                  <a:ext uri="{FF2B5EF4-FFF2-40B4-BE49-F238E27FC236}">
                    <a16:creationId xmlns:a16="http://schemas.microsoft.com/office/drawing/2014/main" id="{D3E0A4B0-A2A6-46DE-BA5C-D6E0CDC78ADA}"/>
                  </a:ext>
                </a:extLst>
              </p:cNvPr>
              <p:cNvPicPr>
                <a:picLocks noChangeAspect="1"/>
              </p:cNvPicPr>
              <p:nvPr/>
            </p:nvPicPr>
            <p:blipFill>
              <a:blip r:embed="rId10">
                <a:duotone>
                  <a:prstClr val="black"/>
                  <a:srgbClr val="D9C3A5">
                    <a:tint val="50000"/>
                    <a:satMod val="180000"/>
                  </a:srgbClr>
                </a:duotone>
              </a:blip>
              <a:stretch>
                <a:fillRect/>
              </a:stretch>
            </p:blipFill>
            <p:spPr>
              <a:xfrm>
                <a:off x="7939512" y="5795619"/>
                <a:ext cx="780290" cy="780290"/>
              </a:xfrm>
              <a:prstGeom prst="rect">
                <a:avLst/>
              </a:prstGeom>
            </p:spPr>
          </p:pic>
          <p:pic>
            <p:nvPicPr>
              <p:cNvPr id="48" name="Picture 47">
                <a:extLst>
                  <a:ext uri="{FF2B5EF4-FFF2-40B4-BE49-F238E27FC236}">
                    <a16:creationId xmlns:a16="http://schemas.microsoft.com/office/drawing/2014/main" id="{1F8235A2-0D9F-4EFB-A34D-FCB2E6AFDCAE}"/>
                  </a:ext>
                </a:extLst>
              </p:cNvPr>
              <p:cNvPicPr>
                <a:picLocks noChangeAspect="1"/>
              </p:cNvPicPr>
              <p:nvPr/>
            </p:nvPicPr>
            <p:blipFill>
              <a:blip r:embed="rId10">
                <a:duotone>
                  <a:prstClr val="black"/>
                  <a:srgbClr val="D9C3A5">
                    <a:tint val="50000"/>
                    <a:satMod val="180000"/>
                  </a:srgbClr>
                </a:duotone>
              </a:blip>
              <a:stretch>
                <a:fillRect/>
              </a:stretch>
            </p:blipFill>
            <p:spPr>
              <a:xfrm>
                <a:off x="8774242" y="5795619"/>
                <a:ext cx="780290" cy="780290"/>
              </a:xfrm>
              <a:prstGeom prst="rect">
                <a:avLst/>
              </a:prstGeom>
            </p:spPr>
          </p:pic>
          <p:pic>
            <p:nvPicPr>
              <p:cNvPr id="49" name="Picture 48">
                <a:extLst>
                  <a:ext uri="{FF2B5EF4-FFF2-40B4-BE49-F238E27FC236}">
                    <a16:creationId xmlns:a16="http://schemas.microsoft.com/office/drawing/2014/main" id="{251EB5E9-6F77-41BF-B305-4FFF14075C03}"/>
                  </a:ext>
                </a:extLst>
              </p:cNvPr>
              <p:cNvPicPr>
                <a:picLocks noChangeAspect="1"/>
              </p:cNvPicPr>
              <p:nvPr/>
            </p:nvPicPr>
            <p:blipFill>
              <a:blip r:embed="rId10">
                <a:duotone>
                  <a:prstClr val="black"/>
                  <a:srgbClr val="D9C3A5">
                    <a:tint val="50000"/>
                    <a:satMod val="180000"/>
                  </a:srgbClr>
                </a:duotone>
              </a:blip>
              <a:stretch>
                <a:fillRect/>
              </a:stretch>
            </p:blipFill>
            <p:spPr>
              <a:xfrm>
                <a:off x="9608973" y="5795619"/>
                <a:ext cx="780290" cy="780290"/>
              </a:xfrm>
              <a:prstGeom prst="rect">
                <a:avLst/>
              </a:prstGeom>
            </p:spPr>
          </p:pic>
        </p:grpSp>
        <p:sp>
          <p:nvSpPr>
            <p:cNvPr id="19" name="Storage Text">
              <a:extLst>
                <a:ext uri="{FF2B5EF4-FFF2-40B4-BE49-F238E27FC236}">
                  <a16:creationId xmlns:a16="http://schemas.microsoft.com/office/drawing/2014/main" id="{D2CAB2BB-F2F8-4B95-9437-FBE619148E04}"/>
                </a:ext>
              </a:extLst>
            </p:cNvPr>
            <p:cNvSpPr txBox="1"/>
            <p:nvPr/>
          </p:nvSpPr>
          <p:spPr>
            <a:xfrm rot="16200000">
              <a:off x="99893" y="4980198"/>
              <a:ext cx="2776268" cy="634530"/>
            </a:xfrm>
            <a:prstGeom prst="rect">
              <a:avLst/>
            </a:prstGeom>
            <a:noFill/>
          </p:spPr>
          <p:txBody>
            <a:bodyPr wrap="none" lIns="182828" tIns="146262" rIns="182828" bIns="146262" rtlCol="0">
              <a:spAutoFit/>
            </a:bodyPr>
            <a:lstStyle/>
            <a:p>
              <a:pPr defTabSz="914049">
                <a:lnSpc>
                  <a:spcPct val="90000"/>
                </a:lnSpc>
                <a:spcAft>
                  <a:spcPts val="600"/>
                </a:spcAft>
                <a:defRPr/>
              </a:pPr>
              <a:r>
                <a:rPr lang="en-GB" sz="2400" kern="0">
                  <a:gradFill>
                    <a:gsLst>
                      <a:gs pos="2917">
                        <a:schemeClr val="tx1"/>
                      </a:gs>
                      <a:gs pos="30000">
                        <a:schemeClr val="tx1"/>
                      </a:gs>
                    </a:gsLst>
                    <a:lin ang="5400000" scaled="0"/>
                  </a:gradFill>
                </a:rPr>
                <a:t>Premium Storage</a:t>
              </a:r>
            </a:p>
          </p:txBody>
        </p:sp>
      </p:grpSp>
    </p:spTree>
    <p:custDataLst>
      <p:tags r:id="rId1"/>
    </p:custDataLst>
    <p:extLst>
      <p:ext uri="{BB962C8B-B14F-4D97-AF65-F5344CB8AC3E}">
        <p14:creationId xmlns:p14="http://schemas.microsoft.com/office/powerpoint/2010/main" val="1951336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97DE9-2F07-47F7-B2A1-B04A46967F20}"/>
              </a:ext>
            </a:extLst>
          </p:cNvPr>
          <p:cNvSpPr>
            <a:spLocks noGrp="1"/>
          </p:cNvSpPr>
          <p:nvPr>
            <p:ph type="title"/>
          </p:nvPr>
        </p:nvSpPr>
        <p:spPr/>
        <p:txBody>
          <a:bodyPr/>
          <a:lstStyle/>
          <a:p>
            <a:r>
              <a:rPr lang="es-ES" dirty="0"/>
              <a:t>Table </a:t>
            </a:r>
            <a:r>
              <a:rPr lang="es-ES" dirty="0" err="1"/>
              <a:t>Types</a:t>
            </a:r>
            <a:endParaRPr lang="es-ES" dirty="0"/>
          </a:p>
        </p:txBody>
      </p:sp>
      <p:graphicFrame>
        <p:nvGraphicFramePr>
          <p:cNvPr id="4" name="Content Placeholder 3">
            <a:extLst>
              <a:ext uri="{FF2B5EF4-FFF2-40B4-BE49-F238E27FC236}">
                <a16:creationId xmlns:a16="http://schemas.microsoft.com/office/drawing/2014/main" id="{EC632822-0EA5-4860-B595-5C32E8960896}"/>
              </a:ext>
            </a:extLst>
          </p:cNvPr>
          <p:cNvGraphicFramePr>
            <a:graphicFrameLocks noGrp="1"/>
          </p:cNvGraphicFramePr>
          <p:nvPr>
            <p:ph sz="quarter" idx="13"/>
            <p:extLst>
              <p:ext uri="{D42A27DB-BD31-4B8C-83A1-F6EECF244321}">
                <p14:modId xmlns:p14="http://schemas.microsoft.com/office/powerpoint/2010/main" val="1388707586"/>
              </p:ext>
            </p:extLst>
          </p:nvPr>
        </p:nvGraphicFramePr>
        <p:xfrm>
          <a:off x="668338" y="1436688"/>
          <a:ext cx="11099800" cy="49149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95932348"/>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Table Archite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8" name="Picture Placeholder 7">
            <a:extLst>
              <a:ext uri="{FF2B5EF4-FFF2-40B4-BE49-F238E27FC236}">
                <a16:creationId xmlns:a16="http://schemas.microsoft.com/office/drawing/2014/main" id="{EDC67D45-694A-4356-BDA3-30BA960758EC}"/>
              </a:ext>
            </a:extLst>
          </p:cNvPr>
          <p:cNvSpPr>
            <a:spLocks noGrp="1"/>
          </p:cNvSpPr>
          <p:nvPr>
            <p:ph type="pic" sz="quarter" idx="17"/>
          </p:nvPr>
        </p:nvSpPr>
        <p:spPr/>
      </p:sp>
      <p:pic>
        <p:nvPicPr>
          <p:cNvPr id="9" name="Picture Placeholder 1">
            <a:extLst>
              <a:ext uri="{FF2B5EF4-FFF2-40B4-BE49-F238E27FC236}">
                <a16:creationId xmlns:a16="http://schemas.microsoft.com/office/drawing/2014/main" id="{D3DB6F98-EBE9-485D-9539-880565BAC9EC}"/>
              </a:ext>
            </a:extLst>
          </p:cNvPr>
          <p:cNvPicPr>
            <a:picLocks noChangeAspect="1"/>
          </p:cNvPicPr>
          <p:nvPr/>
        </p:nvPicPr>
        <p:blipFill rotWithShape="1">
          <a:blip r:embed="rId3"/>
          <a:srcRect t="11" b="11"/>
          <a:stretch/>
        </p:blipFill>
        <p:spPr>
          <a:xfrm>
            <a:off x="8092552" y="2651542"/>
            <a:ext cx="1691679" cy="1691439"/>
          </a:xfrm>
          <a:prstGeom prst="rect">
            <a:avLst/>
          </a:prstGeom>
          <a:solidFill>
            <a:srgbClr val="243A5E"/>
          </a:solidFill>
        </p:spPr>
      </p:pic>
    </p:spTree>
    <p:extLst>
      <p:ext uri="{BB962C8B-B14F-4D97-AF65-F5344CB8AC3E}">
        <p14:creationId xmlns:p14="http://schemas.microsoft.com/office/powerpoint/2010/main" val="11961210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436475" cy="705321"/>
          </a:xfrm>
          <a:ln>
            <a:noFill/>
          </a:ln>
        </p:spPr>
        <p:txBody>
          <a:bodyPr/>
          <a:lstStyle/>
          <a:p>
            <a:r>
              <a:rPr lang="en-GB" dirty="0"/>
              <a:t>Hash-distributed Tables: Distribution</a:t>
            </a:r>
          </a:p>
        </p:txBody>
      </p:sp>
      <p:sp>
        <p:nvSpPr>
          <p:cNvPr id="79" name="Flowchart: Manual Operation 78">
            <a:extLst>
              <a:ext uri="{FF2B5EF4-FFF2-40B4-BE49-F238E27FC236}">
                <a16:creationId xmlns:a16="http://schemas.microsoft.com/office/drawing/2014/main" id="{BB56B78B-D5C6-4B58-985C-5EF9E15452EC}"/>
              </a:ext>
            </a:extLst>
          </p:cNvPr>
          <p:cNvSpPr/>
          <p:nvPr/>
        </p:nvSpPr>
        <p:spPr>
          <a:xfrm>
            <a:off x="4290573"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5</a:t>
            </a:r>
          </a:p>
        </p:txBody>
      </p:sp>
      <p:sp>
        <p:nvSpPr>
          <p:cNvPr id="86" name="Flowchart: Manual Operation 85">
            <a:extLst>
              <a:ext uri="{FF2B5EF4-FFF2-40B4-BE49-F238E27FC236}">
                <a16:creationId xmlns:a16="http://schemas.microsoft.com/office/drawing/2014/main" id="{844153C7-02FE-4E2E-A170-ED2B3FEEE9D0}"/>
              </a:ext>
            </a:extLst>
          </p:cNvPr>
          <p:cNvSpPr/>
          <p:nvPr/>
        </p:nvSpPr>
        <p:spPr>
          <a:xfrm>
            <a:off x="839692"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3</a:t>
            </a:r>
          </a:p>
        </p:txBody>
      </p:sp>
      <p:sp>
        <p:nvSpPr>
          <p:cNvPr id="87" name="Flowchart: Manual Operation 86">
            <a:extLst>
              <a:ext uri="{FF2B5EF4-FFF2-40B4-BE49-F238E27FC236}">
                <a16:creationId xmlns:a16="http://schemas.microsoft.com/office/drawing/2014/main" id="{0C003155-FF23-483B-9773-C807171D4962}"/>
              </a:ext>
            </a:extLst>
          </p:cNvPr>
          <p:cNvSpPr/>
          <p:nvPr/>
        </p:nvSpPr>
        <p:spPr>
          <a:xfrm>
            <a:off x="1703448"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4</a:t>
            </a:r>
          </a:p>
        </p:txBody>
      </p:sp>
      <p:sp>
        <p:nvSpPr>
          <p:cNvPr id="88" name="Flowchart: Manual Operation 87">
            <a:extLst>
              <a:ext uri="{FF2B5EF4-FFF2-40B4-BE49-F238E27FC236}">
                <a16:creationId xmlns:a16="http://schemas.microsoft.com/office/drawing/2014/main" id="{15A07BD4-CB94-481B-8DAE-DC60CE0A461B}"/>
              </a:ext>
            </a:extLst>
          </p:cNvPr>
          <p:cNvSpPr/>
          <p:nvPr/>
        </p:nvSpPr>
        <p:spPr>
          <a:xfrm>
            <a:off x="343095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6</a:t>
            </a:r>
          </a:p>
        </p:txBody>
      </p:sp>
      <p:sp>
        <p:nvSpPr>
          <p:cNvPr id="89" name="Flowchart: Manual Operation 88">
            <a:extLst>
              <a:ext uri="{FF2B5EF4-FFF2-40B4-BE49-F238E27FC236}">
                <a16:creationId xmlns:a16="http://schemas.microsoft.com/office/drawing/2014/main" id="{05690FCE-599D-4A2B-A958-CEF29CBD5134}"/>
              </a:ext>
            </a:extLst>
          </p:cNvPr>
          <p:cNvSpPr/>
          <p:nvPr/>
        </p:nvSpPr>
        <p:spPr>
          <a:xfrm>
            <a:off x="2567202"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5</a:t>
            </a:r>
          </a:p>
        </p:txBody>
      </p:sp>
      <p:sp>
        <p:nvSpPr>
          <p:cNvPr id="90" name="Flowchart: Manual Operation 89">
            <a:extLst>
              <a:ext uri="{FF2B5EF4-FFF2-40B4-BE49-F238E27FC236}">
                <a16:creationId xmlns:a16="http://schemas.microsoft.com/office/drawing/2014/main" id="{8A4F0BD6-C986-48EF-83BD-D7BF5D8A0F4C}"/>
              </a:ext>
            </a:extLst>
          </p:cNvPr>
          <p:cNvSpPr/>
          <p:nvPr/>
        </p:nvSpPr>
        <p:spPr>
          <a:xfrm>
            <a:off x="429057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7</a:t>
            </a:r>
          </a:p>
        </p:txBody>
      </p:sp>
      <p:sp>
        <p:nvSpPr>
          <p:cNvPr id="91" name="Flowchart: Manual Operation 90">
            <a:extLst>
              <a:ext uri="{FF2B5EF4-FFF2-40B4-BE49-F238E27FC236}">
                <a16:creationId xmlns:a16="http://schemas.microsoft.com/office/drawing/2014/main" id="{0C145930-623E-4FBE-8E8F-845C53E91CB7}"/>
              </a:ext>
            </a:extLst>
          </p:cNvPr>
          <p:cNvSpPr/>
          <p:nvPr/>
        </p:nvSpPr>
        <p:spPr>
          <a:xfrm>
            <a:off x="515432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8</a:t>
            </a:r>
          </a:p>
        </p:txBody>
      </p:sp>
      <p:sp>
        <p:nvSpPr>
          <p:cNvPr id="92" name="Flowchart: Manual Operation 91">
            <a:extLst>
              <a:ext uri="{FF2B5EF4-FFF2-40B4-BE49-F238E27FC236}">
                <a16:creationId xmlns:a16="http://schemas.microsoft.com/office/drawing/2014/main" id="{501B327C-0D5B-46E8-886A-4736907BD6F5}"/>
              </a:ext>
            </a:extLst>
          </p:cNvPr>
          <p:cNvSpPr/>
          <p:nvPr/>
        </p:nvSpPr>
        <p:spPr>
          <a:xfrm>
            <a:off x="688183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0</a:t>
            </a:r>
          </a:p>
        </p:txBody>
      </p:sp>
      <p:sp>
        <p:nvSpPr>
          <p:cNvPr id="93" name="Flowchart: Manual Operation 92">
            <a:extLst>
              <a:ext uri="{FF2B5EF4-FFF2-40B4-BE49-F238E27FC236}">
                <a16:creationId xmlns:a16="http://schemas.microsoft.com/office/drawing/2014/main" id="{3A280572-3D4A-41A4-8CF3-595E81B8F6AE}"/>
              </a:ext>
            </a:extLst>
          </p:cNvPr>
          <p:cNvSpPr/>
          <p:nvPr/>
        </p:nvSpPr>
        <p:spPr>
          <a:xfrm>
            <a:off x="601808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9</a:t>
            </a:r>
          </a:p>
        </p:txBody>
      </p:sp>
      <p:sp>
        <p:nvSpPr>
          <p:cNvPr id="94" name="Flowchart: Manual Operation 93">
            <a:extLst>
              <a:ext uri="{FF2B5EF4-FFF2-40B4-BE49-F238E27FC236}">
                <a16:creationId xmlns:a16="http://schemas.microsoft.com/office/drawing/2014/main" id="{849E5B5F-171B-4E13-B9CA-31990F9428EB}"/>
              </a:ext>
            </a:extLst>
          </p:cNvPr>
          <p:cNvSpPr/>
          <p:nvPr/>
        </p:nvSpPr>
        <p:spPr>
          <a:xfrm>
            <a:off x="774559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1</a:t>
            </a:r>
          </a:p>
        </p:txBody>
      </p:sp>
      <p:sp>
        <p:nvSpPr>
          <p:cNvPr id="95" name="Flowchart: Manual Operation 94">
            <a:extLst>
              <a:ext uri="{FF2B5EF4-FFF2-40B4-BE49-F238E27FC236}">
                <a16:creationId xmlns:a16="http://schemas.microsoft.com/office/drawing/2014/main" id="{E7CB420B-99B5-4B0E-B1A9-80B4ACA29580}"/>
              </a:ext>
            </a:extLst>
          </p:cNvPr>
          <p:cNvSpPr/>
          <p:nvPr/>
        </p:nvSpPr>
        <p:spPr>
          <a:xfrm>
            <a:off x="8609348"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2</a:t>
            </a:r>
          </a:p>
        </p:txBody>
      </p:sp>
      <p:sp>
        <p:nvSpPr>
          <p:cNvPr id="96" name="Flowchart: Manual Operation 95">
            <a:extLst>
              <a:ext uri="{FF2B5EF4-FFF2-40B4-BE49-F238E27FC236}">
                <a16:creationId xmlns:a16="http://schemas.microsoft.com/office/drawing/2014/main" id="{F1B51E85-159C-45B6-BB60-D38B2C301020}"/>
              </a:ext>
            </a:extLst>
          </p:cNvPr>
          <p:cNvSpPr/>
          <p:nvPr/>
        </p:nvSpPr>
        <p:spPr>
          <a:xfrm>
            <a:off x="1033685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4</a:t>
            </a:r>
          </a:p>
        </p:txBody>
      </p:sp>
      <p:sp>
        <p:nvSpPr>
          <p:cNvPr id="97" name="Flowchart: Manual Operation 96">
            <a:extLst>
              <a:ext uri="{FF2B5EF4-FFF2-40B4-BE49-F238E27FC236}">
                <a16:creationId xmlns:a16="http://schemas.microsoft.com/office/drawing/2014/main" id="{6DCEFBEF-0ED9-42B3-B359-7B56DB2E29ED}"/>
              </a:ext>
            </a:extLst>
          </p:cNvPr>
          <p:cNvSpPr/>
          <p:nvPr/>
        </p:nvSpPr>
        <p:spPr>
          <a:xfrm>
            <a:off x="947310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3</a:t>
            </a:r>
          </a:p>
        </p:txBody>
      </p:sp>
      <p:sp>
        <p:nvSpPr>
          <p:cNvPr id="98" name="Flowchart: Manual Operation 97">
            <a:extLst>
              <a:ext uri="{FF2B5EF4-FFF2-40B4-BE49-F238E27FC236}">
                <a16:creationId xmlns:a16="http://schemas.microsoft.com/office/drawing/2014/main" id="{E9CF44E0-AE1F-4280-9BC5-71C3EA7F6136}"/>
              </a:ext>
            </a:extLst>
          </p:cNvPr>
          <p:cNvSpPr/>
          <p:nvPr/>
        </p:nvSpPr>
        <p:spPr>
          <a:xfrm>
            <a:off x="839692"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5</a:t>
            </a:r>
          </a:p>
        </p:txBody>
      </p:sp>
      <p:sp>
        <p:nvSpPr>
          <p:cNvPr id="99" name="Flowchart: Manual Operation 98">
            <a:extLst>
              <a:ext uri="{FF2B5EF4-FFF2-40B4-BE49-F238E27FC236}">
                <a16:creationId xmlns:a16="http://schemas.microsoft.com/office/drawing/2014/main" id="{D267613A-1877-408F-BF82-60C3BE9CF6F1}"/>
              </a:ext>
            </a:extLst>
          </p:cNvPr>
          <p:cNvSpPr/>
          <p:nvPr/>
        </p:nvSpPr>
        <p:spPr>
          <a:xfrm>
            <a:off x="1703448"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6</a:t>
            </a:r>
          </a:p>
        </p:txBody>
      </p:sp>
      <p:sp>
        <p:nvSpPr>
          <p:cNvPr id="100" name="Flowchart: Manual Operation 99">
            <a:extLst>
              <a:ext uri="{FF2B5EF4-FFF2-40B4-BE49-F238E27FC236}">
                <a16:creationId xmlns:a16="http://schemas.microsoft.com/office/drawing/2014/main" id="{DEFB20DF-D784-4463-AA2B-342BC0F76AA7}"/>
              </a:ext>
            </a:extLst>
          </p:cNvPr>
          <p:cNvSpPr/>
          <p:nvPr/>
        </p:nvSpPr>
        <p:spPr>
          <a:xfrm>
            <a:off x="343095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8</a:t>
            </a:r>
          </a:p>
        </p:txBody>
      </p:sp>
      <p:sp>
        <p:nvSpPr>
          <p:cNvPr id="101" name="Flowchart: Manual Operation 100">
            <a:extLst>
              <a:ext uri="{FF2B5EF4-FFF2-40B4-BE49-F238E27FC236}">
                <a16:creationId xmlns:a16="http://schemas.microsoft.com/office/drawing/2014/main" id="{19C997DE-8885-4E4E-862F-3687CEFB6A69}"/>
              </a:ext>
            </a:extLst>
          </p:cNvPr>
          <p:cNvSpPr/>
          <p:nvPr/>
        </p:nvSpPr>
        <p:spPr>
          <a:xfrm>
            <a:off x="2567202"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7</a:t>
            </a:r>
          </a:p>
        </p:txBody>
      </p:sp>
      <p:sp>
        <p:nvSpPr>
          <p:cNvPr id="102" name="Flowchart: Manual Operation 101">
            <a:extLst>
              <a:ext uri="{FF2B5EF4-FFF2-40B4-BE49-F238E27FC236}">
                <a16:creationId xmlns:a16="http://schemas.microsoft.com/office/drawing/2014/main" id="{AC9AA8CE-91B1-4453-873D-13C97A32EB55}"/>
              </a:ext>
            </a:extLst>
          </p:cNvPr>
          <p:cNvSpPr/>
          <p:nvPr/>
        </p:nvSpPr>
        <p:spPr>
          <a:xfrm>
            <a:off x="429057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29</a:t>
            </a:r>
          </a:p>
        </p:txBody>
      </p:sp>
      <p:sp>
        <p:nvSpPr>
          <p:cNvPr id="103" name="Flowchart: Manual Operation 102">
            <a:extLst>
              <a:ext uri="{FF2B5EF4-FFF2-40B4-BE49-F238E27FC236}">
                <a16:creationId xmlns:a16="http://schemas.microsoft.com/office/drawing/2014/main" id="{4CA11CEE-EF00-4667-B9A1-DC4254DC87EF}"/>
              </a:ext>
            </a:extLst>
          </p:cNvPr>
          <p:cNvSpPr/>
          <p:nvPr/>
        </p:nvSpPr>
        <p:spPr>
          <a:xfrm>
            <a:off x="515432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0</a:t>
            </a:r>
          </a:p>
        </p:txBody>
      </p:sp>
      <p:sp>
        <p:nvSpPr>
          <p:cNvPr id="104" name="Flowchart: Manual Operation 103">
            <a:extLst>
              <a:ext uri="{FF2B5EF4-FFF2-40B4-BE49-F238E27FC236}">
                <a16:creationId xmlns:a16="http://schemas.microsoft.com/office/drawing/2014/main" id="{9ECFED9A-D6F4-4EAC-B518-56E36488E049}"/>
              </a:ext>
            </a:extLst>
          </p:cNvPr>
          <p:cNvSpPr/>
          <p:nvPr/>
        </p:nvSpPr>
        <p:spPr>
          <a:xfrm>
            <a:off x="688183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2</a:t>
            </a:r>
          </a:p>
        </p:txBody>
      </p:sp>
      <p:sp>
        <p:nvSpPr>
          <p:cNvPr id="105" name="Flowchart: Manual Operation 104">
            <a:extLst>
              <a:ext uri="{FF2B5EF4-FFF2-40B4-BE49-F238E27FC236}">
                <a16:creationId xmlns:a16="http://schemas.microsoft.com/office/drawing/2014/main" id="{6EF6BD1F-A71F-4155-93AF-F85EF78948AA}"/>
              </a:ext>
            </a:extLst>
          </p:cNvPr>
          <p:cNvSpPr/>
          <p:nvPr/>
        </p:nvSpPr>
        <p:spPr>
          <a:xfrm>
            <a:off x="601808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1</a:t>
            </a:r>
          </a:p>
        </p:txBody>
      </p:sp>
      <p:sp>
        <p:nvSpPr>
          <p:cNvPr id="106" name="Flowchart: Manual Operation 105">
            <a:extLst>
              <a:ext uri="{FF2B5EF4-FFF2-40B4-BE49-F238E27FC236}">
                <a16:creationId xmlns:a16="http://schemas.microsoft.com/office/drawing/2014/main" id="{6B5B0E96-A37E-45DB-8CA0-456436D32637}"/>
              </a:ext>
            </a:extLst>
          </p:cNvPr>
          <p:cNvSpPr/>
          <p:nvPr/>
        </p:nvSpPr>
        <p:spPr>
          <a:xfrm>
            <a:off x="774559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3</a:t>
            </a:r>
          </a:p>
        </p:txBody>
      </p:sp>
      <p:sp>
        <p:nvSpPr>
          <p:cNvPr id="107" name="Flowchart: Manual Operation 106">
            <a:extLst>
              <a:ext uri="{FF2B5EF4-FFF2-40B4-BE49-F238E27FC236}">
                <a16:creationId xmlns:a16="http://schemas.microsoft.com/office/drawing/2014/main" id="{9BE52EAB-BCE3-47A5-81D8-8E0F98FD1120}"/>
              </a:ext>
            </a:extLst>
          </p:cNvPr>
          <p:cNvSpPr/>
          <p:nvPr/>
        </p:nvSpPr>
        <p:spPr>
          <a:xfrm>
            <a:off x="8609348"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4</a:t>
            </a:r>
          </a:p>
        </p:txBody>
      </p:sp>
      <p:sp>
        <p:nvSpPr>
          <p:cNvPr id="108" name="Flowchart: Manual Operation 107">
            <a:extLst>
              <a:ext uri="{FF2B5EF4-FFF2-40B4-BE49-F238E27FC236}">
                <a16:creationId xmlns:a16="http://schemas.microsoft.com/office/drawing/2014/main" id="{DFD45A1D-B3BC-45FF-9781-C62E5C034F71}"/>
              </a:ext>
            </a:extLst>
          </p:cNvPr>
          <p:cNvSpPr/>
          <p:nvPr/>
        </p:nvSpPr>
        <p:spPr>
          <a:xfrm>
            <a:off x="1033685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6</a:t>
            </a:r>
          </a:p>
        </p:txBody>
      </p:sp>
      <p:sp>
        <p:nvSpPr>
          <p:cNvPr id="109" name="Flowchart: Manual Operation 108">
            <a:extLst>
              <a:ext uri="{FF2B5EF4-FFF2-40B4-BE49-F238E27FC236}">
                <a16:creationId xmlns:a16="http://schemas.microsoft.com/office/drawing/2014/main" id="{E528CEBC-F088-479F-A5D2-1BEA3A1DF186}"/>
              </a:ext>
            </a:extLst>
          </p:cNvPr>
          <p:cNvSpPr/>
          <p:nvPr/>
        </p:nvSpPr>
        <p:spPr>
          <a:xfrm>
            <a:off x="947310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5</a:t>
            </a:r>
          </a:p>
        </p:txBody>
      </p:sp>
      <p:sp>
        <p:nvSpPr>
          <p:cNvPr id="110" name="Flowchart: Manual Operation 109">
            <a:extLst>
              <a:ext uri="{FF2B5EF4-FFF2-40B4-BE49-F238E27FC236}">
                <a16:creationId xmlns:a16="http://schemas.microsoft.com/office/drawing/2014/main" id="{B8C38C92-97A6-45B4-80F3-806C83BCF946}"/>
              </a:ext>
            </a:extLst>
          </p:cNvPr>
          <p:cNvSpPr/>
          <p:nvPr/>
        </p:nvSpPr>
        <p:spPr>
          <a:xfrm>
            <a:off x="839692"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7</a:t>
            </a:r>
          </a:p>
        </p:txBody>
      </p:sp>
      <p:sp>
        <p:nvSpPr>
          <p:cNvPr id="111" name="Flowchart: Manual Operation 110">
            <a:extLst>
              <a:ext uri="{FF2B5EF4-FFF2-40B4-BE49-F238E27FC236}">
                <a16:creationId xmlns:a16="http://schemas.microsoft.com/office/drawing/2014/main" id="{7692DF58-1D3D-457C-A7B3-65FB5AF6464C}"/>
              </a:ext>
            </a:extLst>
          </p:cNvPr>
          <p:cNvSpPr/>
          <p:nvPr/>
        </p:nvSpPr>
        <p:spPr>
          <a:xfrm>
            <a:off x="1703448"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8</a:t>
            </a:r>
          </a:p>
        </p:txBody>
      </p:sp>
      <p:sp>
        <p:nvSpPr>
          <p:cNvPr id="112" name="Flowchart: Manual Operation 111">
            <a:extLst>
              <a:ext uri="{FF2B5EF4-FFF2-40B4-BE49-F238E27FC236}">
                <a16:creationId xmlns:a16="http://schemas.microsoft.com/office/drawing/2014/main" id="{C9F38318-8231-4137-B715-6B4F979941F7}"/>
              </a:ext>
            </a:extLst>
          </p:cNvPr>
          <p:cNvSpPr/>
          <p:nvPr/>
        </p:nvSpPr>
        <p:spPr>
          <a:xfrm>
            <a:off x="343095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0</a:t>
            </a:r>
          </a:p>
        </p:txBody>
      </p:sp>
      <p:sp>
        <p:nvSpPr>
          <p:cNvPr id="113" name="Flowchart: Manual Operation 112">
            <a:extLst>
              <a:ext uri="{FF2B5EF4-FFF2-40B4-BE49-F238E27FC236}">
                <a16:creationId xmlns:a16="http://schemas.microsoft.com/office/drawing/2014/main" id="{4176E3FD-79D2-4443-836D-D021FA102659}"/>
              </a:ext>
            </a:extLst>
          </p:cNvPr>
          <p:cNvSpPr/>
          <p:nvPr/>
        </p:nvSpPr>
        <p:spPr>
          <a:xfrm>
            <a:off x="2567202"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39</a:t>
            </a:r>
          </a:p>
        </p:txBody>
      </p:sp>
      <p:sp>
        <p:nvSpPr>
          <p:cNvPr id="114" name="Flowchart: Manual Operation 113">
            <a:extLst>
              <a:ext uri="{FF2B5EF4-FFF2-40B4-BE49-F238E27FC236}">
                <a16:creationId xmlns:a16="http://schemas.microsoft.com/office/drawing/2014/main" id="{7F51DABE-71AA-4484-8CE7-70A2572A389B}"/>
              </a:ext>
            </a:extLst>
          </p:cNvPr>
          <p:cNvSpPr/>
          <p:nvPr/>
        </p:nvSpPr>
        <p:spPr>
          <a:xfrm>
            <a:off x="4290573"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1</a:t>
            </a:r>
          </a:p>
        </p:txBody>
      </p:sp>
      <p:sp>
        <p:nvSpPr>
          <p:cNvPr id="115" name="Flowchart: Manual Operation 114">
            <a:extLst>
              <a:ext uri="{FF2B5EF4-FFF2-40B4-BE49-F238E27FC236}">
                <a16:creationId xmlns:a16="http://schemas.microsoft.com/office/drawing/2014/main" id="{76A2A27A-72DB-4DEB-A530-F40D8A31AA77}"/>
              </a:ext>
            </a:extLst>
          </p:cNvPr>
          <p:cNvSpPr/>
          <p:nvPr/>
        </p:nvSpPr>
        <p:spPr>
          <a:xfrm>
            <a:off x="515432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2</a:t>
            </a:r>
          </a:p>
        </p:txBody>
      </p:sp>
      <p:sp>
        <p:nvSpPr>
          <p:cNvPr id="116" name="Flowchart: Manual Operation 115">
            <a:extLst>
              <a:ext uri="{FF2B5EF4-FFF2-40B4-BE49-F238E27FC236}">
                <a16:creationId xmlns:a16="http://schemas.microsoft.com/office/drawing/2014/main" id="{04C4AFD6-1970-46C4-AFFB-A5F42B0B47CB}"/>
              </a:ext>
            </a:extLst>
          </p:cNvPr>
          <p:cNvSpPr/>
          <p:nvPr/>
        </p:nvSpPr>
        <p:spPr>
          <a:xfrm>
            <a:off x="688183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4</a:t>
            </a:r>
          </a:p>
        </p:txBody>
      </p:sp>
      <p:sp>
        <p:nvSpPr>
          <p:cNvPr id="117" name="Flowchart: Manual Operation 116">
            <a:extLst>
              <a:ext uri="{FF2B5EF4-FFF2-40B4-BE49-F238E27FC236}">
                <a16:creationId xmlns:a16="http://schemas.microsoft.com/office/drawing/2014/main" id="{72DE3DD2-9B12-4B5C-B19D-80259852DF9E}"/>
              </a:ext>
            </a:extLst>
          </p:cNvPr>
          <p:cNvSpPr/>
          <p:nvPr/>
        </p:nvSpPr>
        <p:spPr>
          <a:xfrm>
            <a:off x="6018083"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3</a:t>
            </a:r>
          </a:p>
        </p:txBody>
      </p:sp>
      <p:sp>
        <p:nvSpPr>
          <p:cNvPr id="118" name="Flowchart: Manual Operation 117">
            <a:extLst>
              <a:ext uri="{FF2B5EF4-FFF2-40B4-BE49-F238E27FC236}">
                <a16:creationId xmlns:a16="http://schemas.microsoft.com/office/drawing/2014/main" id="{498B30AC-725B-4CCB-9103-E86514728BEC}"/>
              </a:ext>
            </a:extLst>
          </p:cNvPr>
          <p:cNvSpPr/>
          <p:nvPr/>
        </p:nvSpPr>
        <p:spPr>
          <a:xfrm>
            <a:off x="7745593"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5</a:t>
            </a:r>
          </a:p>
        </p:txBody>
      </p:sp>
      <p:sp>
        <p:nvSpPr>
          <p:cNvPr id="119" name="Flowchart: Manual Operation 118">
            <a:extLst>
              <a:ext uri="{FF2B5EF4-FFF2-40B4-BE49-F238E27FC236}">
                <a16:creationId xmlns:a16="http://schemas.microsoft.com/office/drawing/2014/main" id="{2A63A9BC-294A-4188-9F80-5B4ABCCFBF75}"/>
              </a:ext>
            </a:extLst>
          </p:cNvPr>
          <p:cNvSpPr/>
          <p:nvPr/>
        </p:nvSpPr>
        <p:spPr>
          <a:xfrm>
            <a:off x="8609348"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6</a:t>
            </a:r>
          </a:p>
        </p:txBody>
      </p:sp>
      <p:sp>
        <p:nvSpPr>
          <p:cNvPr id="120" name="Flowchart: Manual Operation 119">
            <a:extLst>
              <a:ext uri="{FF2B5EF4-FFF2-40B4-BE49-F238E27FC236}">
                <a16:creationId xmlns:a16="http://schemas.microsoft.com/office/drawing/2014/main" id="{56BECCE8-9DD2-4744-BF81-88BEF2FD0E3D}"/>
              </a:ext>
            </a:extLst>
          </p:cNvPr>
          <p:cNvSpPr/>
          <p:nvPr/>
        </p:nvSpPr>
        <p:spPr>
          <a:xfrm>
            <a:off x="1033685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8</a:t>
            </a:r>
          </a:p>
        </p:txBody>
      </p:sp>
      <p:sp>
        <p:nvSpPr>
          <p:cNvPr id="121" name="Flowchart: Manual Operation 120">
            <a:extLst>
              <a:ext uri="{FF2B5EF4-FFF2-40B4-BE49-F238E27FC236}">
                <a16:creationId xmlns:a16="http://schemas.microsoft.com/office/drawing/2014/main" id="{FBC02E82-06EA-4AC2-8416-F562E1A37D24}"/>
              </a:ext>
            </a:extLst>
          </p:cNvPr>
          <p:cNvSpPr/>
          <p:nvPr/>
        </p:nvSpPr>
        <p:spPr>
          <a:xfrm>
            <a:off x="9473103"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7</a:t>
            </a:r>
          </a:p>
        </p:txBody>
      </p:sp>
      <p:sp>
        <p:nvSpPr>
          <p:cNvPr id="122" name="Flowchart: Manual Operation 121">
            <a:extLst>
              <a:ext uri="{FF2B5EF4-FFF2-40B4-BE49-F238E27FC236}">
                <a16:creationId xmlns:a16="http://schemas.microsoft.com/office/drawing/2014/main" id="{7BD47F53-13E4-4F85-B9AE-73D46737F820}"/>
              </a:ext>
            </a:extLst>
          </p:cNvPr>
          <p:cNvSpPr/>
          <p:nvPr/>
        </p:nvSpPr>
        <p:spPr>
          <a:xfrm>
            <a:off x="839692"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49</a:t>
            </a:r>
          </a:p>
        </p:txBody>
      </p:sp>
      <p:sp>
        <p:nvSpPr>
          <p:cNvPr id="123" name="Flowchart: Manual Operation 122">
            <a:extLst>
              <a:ext uri="{FF2B5EF4-FFF2-40B4-BE49-F238E27FC236}">
                <a16:creationId xmlns:a16="http://schemas.microsoft.com/office/drawing/2014/main" id="{743B991A-7043-4DC6-9DE6-B80F84C1A221}"/>
              </a:ext>
            </a:extLst>
          </p:cNvPr>
          <p:cNvSpPr/>
          <p:nvPr/>
        </p:nvSpPr>
        <p:spPr>
          <a:xfrm>
            <a:off x="1703448"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0</a:t>
            </a:r>
          </a:p>
        </p:txBody>
      </p:sp>
      <p:sp>
        <p:nvSpPr>
          <p:cNvPr id="124" name="Flowchart: Manual Operation 123">
            <a:extLst>
              <a:ext uri="{FF2B5EF4-FFF2-40B4-BE49-F238E27FC236}">
                <a16:creationId xmlns:a16="http://schemas.microsoft.com/office/drawing/2014/main" id="{5EBA0DCC-6C2E-4A12-86EA-2FF532652848}"/>
              </a:ext>
            </a:extLst>
          </p:cNvPr>
          <p:cNvSpPr/>
          <p:nvPr/>
        </p:nvSpPr>
        <p:spPr>
          <a:xfrm>
            <a:off x="343095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2</a:t>
            </a:r>
          </a:p>
        </p:txBody>
      </p:sp>
      <p:sp>
        <p:nvSpPr>
          <p:cNvPr id="125" name="Flowchart: Manual Operation 124">
            <a:extLst>
              <a:ext uri="{FF2B5EF4-FFF2-40B4-BE49-F238E27FC236}">
                <a16:creationId xmlns:a16="http://schemas.microsoft.com/office/drawing/2014/main" id="{363DB4F1-D975-44E6-B433-CB1E646544EB}"/>
              </a:ext>
            </a:extLst>
          </p:cNvPr>
          <p:cNvSpPr/>
          <p:nvPr/>
        </p:nvSpPr>
        <p:spPr>
          <a:xfrm>
            <a:off x="2567202"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1</a:t>
            </a:r>
          </a:p>
        </p:txBody>
      </p:sp>
      <p:sp>
        <p:nvSpPr>
          <p:cNvPr id="126" name="Flowchart: Manual Operation 125">
            <a:extLst>
              <a:ext uri="{FF2B5EF4-FFF2-40B4-BE49-F238E27FC236}">
                <a16:creationId xmlns:a16="http://schemas.microsoft.com/office/drawing/2014/main" id="{D1EE5C31-BA7B-4793-9A04-13BC2AAB2C4E}"/>
              </a:ext>
            </a:extLst>
          </p:cNvPr>
          <p:cNvSpPr/>
          <p:nvPr/>
        </p:nvSpPr>
        <p:spPr>
          <a:xfrm>
            <a:off x="4290573"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3</a:t>
            </a:r>
          </a:p>
        </p:txBody>
      </p:sp>
      <p:sp>
        <p:nvSpPr>
          <p:cNvPr id="127" name="Flowchart: Manual Operation 126">
            <a:extLst>
              <a:ext uri="{FF2B5EF4-FFF2-40B4-BE49-F238E27FC236}">
                <a16:creationId xmlns:a16="http://schemas.microsoft.com/office/drawing/2014/main" id="{E07B3409-6FA9-449F-8D03-68D14347C9B2}"/>
              </a:ext>
            </a:extLst>
          </p:cNvPr>
          <p:cNvSpPr/>
          <p:nvPr/>
        </p:nvSpPr>
        <p:spPr>
          <a:xfrm>
            <a:off x="515432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4</a:t>
            </a:r>
          </a:p>
        </p:txBody>
      </p:sp>
      <p:sp>
        <p:nvSpPr>
          <p:cNvPr id="128" name="Flowchart: Manual Operation 127">
            <a:extLst>
              <a:ext uri="{FF2B5EF4-FFF2-40B4-BE49-F238E27FC236}">
                <a16:creationId xmlns:a16="http://schemas.microsoft.com/office/drawing/2014/main" id="{D9F968D6-88B9-41E3-903F-EEFD22DCE35B}"/>
              </a:ext>
            </a:extLst>
          </p:cNvPr>
          <p:cNvSpPr/>
          <p:nvPr/>
        </p:nvSpPr>
        <p:spPr>
          <a:xfrm>
            <a:off x="688183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6</a:t>
            </a:r>
          </a:p>
        </p:txBody>
      </p:sp>
      <p:sp>
        <p:nvSpPr>
          <p:cNvPr id="129" name="Flowchart: Manual Operation 128">
            <a:extLst>
              <a:ext uri="{FF2B5EF4-FFF2-40B4-BE49-F238E27FC236}">
                <a16:creationId xmlns:a16="http://schemas.microsoft.com/office/drawing/2014/main" id="{5640DCC7-75C1-4084-B1DC-81C79BE34FA2}"/>
              </a:ext>
            </a:extLst>
          </p:cNvPr>
          <p:cNvSpPr/>
          <p:nvPr/>
        </p:nvSpPr>
        <p:spPr>
          <a:xfrm>
            <a:off x="6018083"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5</a:t>
            </a:r>
          </a:p>
        </p:txBody>
      </p:sp>
      <p:sp>
        <p:nvSpPr>
          <p:cNvPr id="130" name="Flowchart: Manual Operation 129">
            <a:extLst>
              <a:ext uri="{FF2B5EF4-FFF2-40B4-BE49-F238E27FC236}">
                <a16:creationId xmlns:a16="http://schemas.microsoft.com/office/drawing/2014/main" id="{2A4431CE-4854-49CC-92C9-10A6C43DEAA2}"/>
              </a:ext>
            </a:extLst>
          </p:cNvPr>
          <p:cNvSpPr/>
          <p:nvPr/>
        </p:nvSpPr>
        <p:spPr>
          <a:xfrm>
            <a:off x="7745593"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7</a:t>
            </a:r>
          </a:p>
        </p:txBody>
      </p:sp>
      <p:sp>
        <p:nvSpPr>
          <p:cNvPr id="131" name="Flowchart: Manual Operation 130">
            <a:extLst>
              <a:ext uri="{FF2B5EF4-FFF2-40B4-BE49-F238E27FC236}">
                <a16:creationId xmlns:a16="http://schemas.microsoft.com/office/drawing/2014/main" id="{C1EC87F5-9F68-4375-BABE-6674E3399A25}"/>
              </a:ext>
            </a:extLst>
          </p:cNvPr>
          <p:cNvSpPr/>
          <p:nvPr/>
        </p:nvSpPr>
        <p:spPr>
          <a:xfrm>
            <a:off x="8609348"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8</a:t>
            </a:r>
          </a:p>
        </p:txBody>
      </p:sp>
      <p:sp>
        <p:nvSpPr>
          <p:cNvPr id="132" name="Flowchart: Manual Operation 131">
            <a:extLst>
              <a:ext uri="{FF2B5EF4-FFF2-40B4-BE49-F238E27FC236}">
                <a16:creationId xmlns:a16="http://schemas.microsoft.com/office/drawing/2014/main" id="{1236E415-86E3-4F54-9D0E-35A0CFD85002}"/>
              </a:ext>
            </a:extLst>
          </p:cNvPr>
          <p:cNvSpPr/>
          <p:nvPr/>
        </p:nvSpPr>
        <p:spPr>
          <a:xfrm>
            <a:off x="1033685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60</a:t>
            </a:r>
          </a:p>
        </p:txBody>
      </p:sp>
      <p:sp>
        <p:nvSpPr>
          <p:cNvPr id="133" name="Flowchart: Manual Operation 132">
            <a:extLst>
              <a:ext uri="{FF2B5EF4-FFF2-40B4-BE49-F238E27FC236}">
                <a16:creationId xmlns:a16="http://schemas.microsoft.com/office/drawing/2014/main" id="{7ABC6FD0-55A0-4DCD-B15B-15E1528EB2E8}"/>
              </a:ext>
            </a:extLst>
          </p:cNvPr>
          <p:cNvSpPr/>
          <p:nvPr/>
        </p:nvSpPr>
        <p:spPr>
          <a:xfrm>
            <a:off x="9473103"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59</a:t>
            </a:r>
          </a:p>
        </p:txBody>
      </p:sp>
      <p:sp>
        <p:nvSpPr>
          <p:cNvPr id="134" name="Flowchart: Manual Operation 133">
            <a:extLst>
              <a:ext uri="{FF2B5EF4-FFF2-40B4-BE49-F238E27FC236}">
                <a16:creationId xmlns:a16="http://schemas.microsoft.com/office/drawing/2014/main" id="{BBC2B207-EA6C-4793-849D-3CB0CE96C871}"/>
              </a:ext>
            </a:extLst>
          </p:cNvPr>
          <p:cNvSpPr/>
          <p:nvPr/>
        </p:nvSpPr>
        <p:spPr>
          <a:xfrm>
            <a:off x="839692"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1</a:t>
            </a:r>
          </a:p>
        </p:txBody>
      </p:sp>
      <p:sp>
        <p:nvSpPr>
          <p:cNvPr id="135" name="Flowchart: Manual Operation 134">
            <a:extLst>
              <a:ext uri="{FF2B5EF4-FFF2-40B4-BE49-F238E27FC236}">
                <a16:creationId xmlns:a16="http://schemas.microsoft.com/office/drawing/2014/main" id="{93ECE408-540C-4806-9DC6-DDDD3A276131}"/>
              </a:ext>
            </a:extLst>
          </p:cNvPr>
          <p:cNvSpPr/>
          <p:nvPr/>
        </p:nvSpPr>
        <p:spPr>
          <a:xfrm>
            <a:off x="1703448"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2</a:t>
            </a:r>
          </a:p>
        </p:txBody>
      </p:sp>
      <p:sp>
        <p:nvSpPr>
          <p:cNvPr id="136" name="Flowchart: Manual Operation 135">
            <a:extLst>
              <a:ext uri="{FF2B5EF4-FFF2-40B4-BE49-F238E27FC236}">
                <a16:creationId xmlns:a16="http://schemas.microsoft.com/office/drawing/2014/main" id="{83456675-AC6A-4E32-99D5-3E23086393DF}"/>
              </a:ext>
            </a:extLst>
          </p:cNvPr>
          <p:cNvSpPr/>
          <p:nvPr/>
        </p:nvSpPr>
        <p:spPr>
          <a:xfrm>
            <a:off x="3430957"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4</a:t>
            </a:r>
          </a:p>
        </p:txBody>
      </p:sp>
      <p:sp>
        <p:nvSpPr>
          <p:cNvPr id="137" name="Flowchart: Manual Operation 136">
            <a:extLst>
              <a:ext uri="{FF2B5EF4-FFF2-40B4-BE49-F238E27FC236}">
                <a16:creationId xmlns:a16="http://schemas.microsoft.com/office/drawing/2014/main" id="{0A2B3D84-6D88-4C79-A8C0-1CD6969F3B55}"/>
              </a:ext>
            </a:extLst>
          </p:cNvPr>
          <p:cNvSpPr/>
          <p:nvPr/>
        </p:nvSpPr>
        <p:spPr>
          <a:xfrm>
            <a:off x="2567202"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3</a:t>
            </a:r>
          </a:p>
        </p:txBody>
      </p:sp>
      <p:sp>
        <p:nvSpPr>
          <p:cNvPr id="138" name="Flowchart: Manual Operation 137">
            <a:extLst>
              <a:ext uri="{FF2B5EF4-FFF2-40B4-BE49-F238E27FC236}">
                <a16:creationId xmlns:a16="http://schemas.microsoft.com/office/drawing/2014/main" id="{A1CB5ECC-BA58-4249-A3DE-1B8E4020503E}"/>
              </a:ext>
            </a:extLst>
          </p:cNvPr>
          <p:cNvSpPr/>
          <p:nvPr/>
        </p:nvSpPr>
        <p:spPr>
          <a:xfrm>
            <a:off x="5154327"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6</a:t>
            </a:r>
          </a:p>
        </p:txBody>
      </p:sp>
      <p:sp>
        <p:nvSpPr>
          <p:cNvPr id="139" name="Flowchart: Manual Operation 138">
            <a:extLst>
              <a:ext uri="{FF2B5EF4-FFF2-40B4-BE49-F238E27FC236}">
                <a16:creationId xmlns:a16="http://schemas.microsoft.com/office/drawing/2014/main" id="{87704EBB-ED25-4567-A25E-48EBE6218CAD}"/>
              </a:ext>
            </a:extLst>
          </p:cNvPr>
          <p:cNvSpPr/>
          <p:nvPr/>
        </p:nvSpPr>
        <p:spPr>
          <a:xfrm>
            <a:off x="6881837"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8</a:t>
            </a:r>
          </a:p>
        </p:txBody>
      </p:sp>
      <p:sp>
        <p:nvSpPr>
          <p:cNvPr id="140" name="Flowchart: Manual Operation 139">
            <a:extLst>
              <a:ext uri="{FF2B5EF4-FFF2-40B4-BE49-F238E27FC236}">
                <a16:creationId xmlns:a16="http://schemas.microsoft.com/office/drawing/2014/main" id="{C379BA71-FE31-46D0-B108-CE52F8FBC579}"/>
              </a:ext>
            </a:extLst>
          </p:cNvPr>
          <p:cNvSpPr/>
          <p:nvPr/>
        </p:nvSpPr>
        <p:spPr>
          <a:xfrm>
            <a:off x="6018083"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7</a:t>
            </a:r>
          </a:p>
        </p:txBody>
      </p:sp>
      <p:sp>
        <p:nvSpPr>
          <p:cNvPr id="141" name="Flowchart: Manual Operation 140">
            <a:extLst>
              <a:ext uri="{FF2B5EF4-FFF2-40B4-BE49-F238E27FC236}">
                <a16:creationId xmlns:a16="http://schemas.microsoft.com/office/drawing/2014/main" id="{32F3027C-37F0-403C-AA16-FA7EDE7821D2}"/>
              </a:ext>
            </a:extLst>
          </p:cNvPr>
          <p:cNvSpPr/>
          <p:nvPr/>
        </p:nvSpPr>
        <p:spPr>
          <a:xfrm>
            <a:off x="7745593"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09</a:t>
            </a:r>
          </a:p>
        </p:txBody>
      </p:sp>
      <p:sp>
        <p:nvSpPr>
          <p:cNvPr id="142" name="Flowchart: Manual Operation 141">
            <a:extLst>
              <a:ext uri="{FF2B5EF4-FFF2-40B4-BE49-F238E27FC236}">
                <a16:creationId xmlns:a16="http://schemas.microsoft.com/office/drawing/2014/main" id="{3AC33345-4E43-4DDC-9FAC-619F510E2F60}"/>
              </a:ext>
            </a:extLst>
          </p:cNvPr>
          <p:cNvSpPr/>
          <p:nvPr/>
        </p:nvSpPr>
        <p:spPr>
          <a:xfrm>
            <a:off x="8609348"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0</a:t>
            </a:r>
          </a:p>
        </p:txBody>
      </p:sp>
      <p:sp>
        <p:nvSpPr>
          <p:cNvPr id="143" name="Flowchart: Manual Operation 142">
            <a:extLst>
              <a:ext uri="{FF2B5EF4-FFF2-40B4-BE49-F238E27FC236}">
                <a16:creationId xmlns:a16="http://schemas.microsoft.com/office/drawing/2014/main" id="{ED6A5642-A6BF-49F0-B388-AD5D3C3B6426}"/>
              </a:ext>
            </a:extLst>
          </p:cNvPr>
          <p:cNvSpPr/>
          <p:nvPr/>
        </p:nvSpPr>
        <p:spPr>
          <a:xfrm>
            <a:off x="10336857"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2</a:t>
            </a:r>
          </a:p>
        </p:txBody>
      </p:sp>
      <p:sp>
        <p:nvSpPr>
          <p:cNvPr id="144" name="Flowchart: Manual Operation 143">
            <a:extLst>
              <a:ext uri="{FF2B5EF4-FFF2-40B4-BE49-F238E27FC236}">
                <a16:creationId xmlns:a16="http://schemas.microsoft.com/office/drawing/2014/main" id="{CDC252A0-7523-499D-9C42-94409058B32C}"/>
              </a:ext>
            </a:extLst>
          </p:cNvPr>
          <p:cNvSpPr/>
          <p:nvPr/>
        </p:nvSpPr>
        <p:spPr>
          <a:xfrm>
            <a:off x="9473103"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2400" kern="0" dirty="0">
                <a:solidFill>
                  <a:sysClr val="windowText" lastClr="000000"/>
                </a:solidFill>
                <a:latin typeface="Segoe UI Light"/>
              </a:rPr>
              <a:t>11</a:t>
            </a:r>
          </a:p>
        </p:txBody>
      </p:sp>
      <p:sp>
        <p:nvSpPr>
          <p:cNvPr id="145" name="Rectangle 144">
            <a:extLst>
              <a:ext uri="{FF2B5EF4-FFF2-40B4-BE49-F238E27FC236}">
                <a16:creationId xmlns:a16="http://schemas.microsoft.com/office/drawing/2014/main" id="{82399977-3BBF-4112-8A92-D734CD53FCF9}"/>
              </a:ext>
            </a:extLst>
          </p:cNvPr>
          <p:cNvSpPr/>
          <p:nvPr/>
        </p:nvSpPr>
        <p:spPr>
          <a:xfrm>
            <a:off x="7803945" y="297917"/>
            <a:ext cx="2879182" cy="1439592"/>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GB" sz="4000" kern="0" dirty="0">
                <a:solidFill>
                  <a:srgbClr val="FFFFFF"/>
                </a:solidFill>
                <a:latin typeface="Segoe UI Light"/>
              </a:rPr>
              <a:t>HASH (    )</a:t>
            </a:r>
          </a:p>
        </p:txBody>
      </p:sp>
      <p:sp>
        <p:nvSpPr>
          <p:cNvPr id="146" name="TextBox 145">
            <a:extLst>
              <a:ext uri="{FF2B5EF4-FFF2-40B4-BE49-F238E27FC236}">
                <a16:creationId xmlns:a16="http://schemas.microsoft.com/office/drawing/2014/main" id="{07679362-9D92-4A8A-8DEB-193D1380B57D}"/>
              </a:ext>
            </a:extLst>
          </p:cNvPr>
          <p:cNvSpPr txBox="1"/>
          <p:nvPr/>
        </p:nvSpPr>
        <p:spPr>
          <a:xfrm>
            <a:off x="9589918" y="643975"/>
            <a:ext cx="686212" cy="782749"/>
          </a:xfrm>
          <a:prstGeom prst="rect">
            <a:avLst/>
          </a:prstGeom>
          <a:noFill/>
        </p:spPr>
        <p:txBody>
          <a:bodyPr wrap="none" rtlCol="0">
            <a:spAutoFit/>
          </a:bodyPr>
          <a:lstStyle/>
          <a:p>
            <a:pPr defTabSz="896214">
              <a:defRPr/>
            </a:pPr>
            <a:r>
              <a:rPr lang="en-GB" sz="4400" kern="0" dirty="0">
                <a:solidFill>
                  <a:srgbClr val="00188F"/>
                </a:solidFill>
                <a:latin typeface="Segoe UI Light"/>
              </a:rPr>
              <a:t>01</a:t>
            </a:r>
          </a:p>
        </p:txBody>
      </p:sp>
      <p:sp>
        <p:nvSpPr>
          <p:cNvPr id="147" name="TextBox 146">
            <a:extLst>
              <a:ext uri="{FF2B5EF4-FFF2-40B4-BE49-F238E27FC236}">
                <a16:creationId xmlns:a16="http://schemas.microsoft.com/office/drawing/2014/main" id="{FB0AACA0-D334-450E-942F-ACB2A9BC96EA}"/>
              </a:ext>
            </a:extLst>
          </p:cNvPr>
          <p:cNvSpPr txBox="1"/>
          <p:nvPr/>
        </p:nvSpPr>
        <p:spPr>
          <a:xfrm>
            <a:off x="9589919" y="643975"/>
            <a:ext cx="777556" cy="782749"/>
          </a:xfrm>
          <a:prstGeom prst="rect">
            <a:avLst/>
          </a:prstGeom>
          <a:noFill/>
        </p:spPr>
        <p:txBody>
          <a:bodyPr wrap="none" rtlCol="0">
            <a:spAutoFit/>
          </a:bodyPr>
          <a:lstStyle/>
          <a:p>
            <a:pPr defTabSz="896214">
              <a:defRPr/>
            </a:pPr>
            <a:r>
              <a:rPr lang="en-GB" sz="4400" kern="0" dirty="0">
                <a:solidFill>
                  <a:srgbClr val="00188F"/>
                </a:solidFill>
                <a:latin typeface="Segoe UI Light"/>
              </a:rPr>
              <a:t>02</a:t>
            </a:r>
          </a:p>
        </p:txBody>
      </p:sp>
      <p:sp>
        <p:nvSpPr>
          <p:cNvPr id="148" name="TextBox 147">
            <a:extLst>
              <a:ext uri="{FF2B5EF4-FFF2-40B4-BE49-F238E27FC236}">
                <a16:creationId xmlns:a16="http://schemas.microsoft.com/office/drawing/2014/main" id="{40F79981-C9FD-408A-AB01-501BC6A0F250}"/>
              </a:ext>
            </a:extLst>
          </p:cNvPr>
          <p:cNvSpPr txBox="1"/>
          <p:nvPr/>
        </p:nvSpPr>
        <p:spPr>
          <a:xfrm>
            <a:off x="9589919" y="643975"/>
            <a:ext cx="777556" cy="782749"/>
          </a:xfrm>
          <a:prstGeom prst="rect">
            <a:avLst/>
          </a:prstGeom>
          <a:noFill/>
        </p:spPr>
        <p:txBody>
          <a:bodyPr wrap="none" rtlCol="0">
            <a:spAutoFit/>
          </a:bodyPr>
          <a:lstStyle/>
          <a:p>
            <a:pPr defTabSz="896214">
              <a:defRPr/>
            </a:pPr>
            <a:r>
              <a:rPr lang="en-GB" sz="4400" kern="0" dirty="0">
                <a:solidFill>
                  <a:srgbClr val="00188F"/>
                </a:solidFill>
                <a:latin typeface="Segoe UI Light"/>
              </a:rPr>
              <a:t>03</a:t>
            </a:r>
          </a:p>
        </p:txBody>
      </p:sp>
      <p:sp>
        <p:nvSpPr>
          <p:cNvPr id="149" name="TextBox 148">
            <a:extLst>
              <a:ext uri="{FF2B5EF4-FFF2-40B4-BE49-F238E27FC236}">
                <a16:creationId xmlns:a16="http://schemas.microsoft.com/office/drawing/2014/main" id="{A8BFA5CD-2650-4BB6-9AFF-ABCCD77CB380}"/>
              </a:ext>
            </a:extLst>
          </p:cNvPr>
          <p:cNvSpPr txBox="1"/>
          <p:nvPr/>
        </p:nvSpPr>
        <p:spPr>
          <a:xfrm>
            <a:off x="9589918" y="643975"/>
            <a:ext cx="686212" cy="782749"/>
          </a:xfrm>
          <a:prstGeom prst="rect">
            <a:avLst/>
          </a:prstGeom>
          <a:noFill/>
        </p:spPr>
        <p:txBody>
          <a:bodyPr wrap="none" rtlCol="0">
            <a:spAutoFit/>
          </a:bodyPr>
          <a:lstStyle/>
          <a:p>
            <a:pPr defTabSz="896214">
              <a:defRPr/>
            </a:pPr>
            <a:r>
              <a:rPr lang="en-GB" sz="4400" kern="0" dirty="0">
                <a:solidFill>
                  <a:srgbClr val="00188F"/>
                </a:solidFill>
                <a:latin typeface="Segoe UI Light"/>
              </a:rPr>
              <a:t>01</a:t>
            </a:r>
          </a:p>
        </p:txBody>
      </p:sp>
      <p:sp>
        <p:nvSpPr>
          <p:cNvPr id="150" name="TextBox 149">
            <a:extLst>
              <a:ext uri="{FF2B5EF4-FFF2-40B4-BE49-F238E27FC236}">
                <a16:creationId xmlns:a16="http://schemas.microsoft.com/office/drawing/2014/main" id="{64CE447E-B823-4E08-9ED7-C6DDFF58BE44}"/>
              </a:ext>
            </a:extLst>
          </p:cNvPr>
          <p:cNvSpPr txBox="1"/>
          <p:nvPr/>
        </p:nvSpPr>
        <p:spPr>
          <a:xfrm>
            <a:off x="9568897" y="643975"/>
            <a:ext cx="762488" cy="767579"/>
          </a:xfrm>
          <a:prstGeom prst="rect">
            <a:avLst/>
          </a:prstGeom>
          <a:noFill/>
        </p:spPr>
        <p:txBody>
          <a:bodyPr wrap="none" rtlCol="0">
            <a:spAutoFit/>
          </a:bodyPr>
          <a:lstStyle/>
          <a:p>
            <a:pPr defTabSz="896214">
              <a:defRPr/>
            </a:pPr>
            <a:r>
              <a:rPr lang="en-GB" sz="4400" kern="0" dirty="0">
                <a:solidFill>
                  <a:srgbClr val="00188F"/>
                </a:solidFill>
                <a:latin typeface="Segoe UI Light"/>
              </a:rPr>
              <a:t>99</a:t>
            </a:r>
          </a:p>
        </p:txBody>
      </p:sp>
      <p:sp>
        <p:nvSpPr>
          <p:cNvPr id="151" name="TextBox 150">
            <a:extLst>
              <a:ext uri="{FF2B5EF4-FFF2-40B4-BE49-F238E27FC236}">
                <a16:creationId xmlns:a16="http://schemas.microsoft.com/office/drawing/2014/main" id="{6C4E5B82-74C3-4E87-9655-06935DCED84F}"/>
              </a:ext>
            </a:extLst>
          </p:cNvPr>
          <p:cNvSpPr txBox="1"/>
          <p:nvPr/>
        </p:nvSpPr>
        <p:spPr>
          <a:xfrm>
            <a:off x="4423641" y="1987661"/>
            <a:ext cx="597617" cy="479745"/>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rgbClr val="FFFF00"/>
                </a:solidFill>
              </a:rPr>
              <a:t>01</a:t>
            </a:r>
          </a:p>
        </p:txBody>
      </p:sp>
      <p:sp>
        <p:nvSpPr>
          <p:cNvPr id="152" name="TextBox 151">
            <a:extLst>
              <a:ext uri="{FF2B5EF4-FFF2-40B4-BE49-F238E27FC236}">
                <a16:creationId xmlns:a16="http://schemas.microsoft.com/office/drawing/2014/main" id="{BF87112F-838F-4933-9B7E-06B2876259A8}"/>
              </a:ext>
            </a:extLst>
          </p:cNvPr>
          <p:cNvSpPr txBox="1"/>
          <p:nvPr/>
        </p:nvSpPr>
        <p:spPr>
          <a:xfrm>
            <a:off x="6201874" y="3583375"/>
            <a:ext cx="597617" cy="479745"/>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rgbClr val="FFFF00"/>
                </a:solidFill>
              </a:rPr>
              <a:t>02</a:t>
            </a:r>
          </a:p>
        </p:txBody>
      </p:sp>
      <p:sp>
        <p:nvSpPr>
          <p:cNvPr id="153" name="TextBox 152">
            <a:extLst>
              <a:ext uri="{FF2B5EF4-FFF2-40B4-BE49-F238E27FC236}">
                <a16:creationId xmlns:a16="http://schemas.microsoft.com/office/drawing/2014/main" id="{D008ACEE-18BA-4D28-B295-8108C4D62F97}"/>
              </a:ext>
            </a:extLst>
          </p:cNvPr>
          <p:cNvSpPr txBox="1"/>
          <p:nvPr/>
        </p:nvSpPr>
        <p:spPr>
          <a:xfrm>
            <a:off x="8761045" y="4385528"/>
            <a:ext cx="597617" cy="479745"/>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rgbClr val="FFFF00"/>
                </a:solidFill>
              </a:rPr>
              <a:t>03</a:t>
            </a:r>
          </a:p>
        </p:txBody>
      </p:sp>
      <p:sp>
        <p:nvSpPr>
          <p:cNvPr id="154" name="TextBox 153">
            <a:extLst>
              <a:ext uri="{FF2B5EF4-FFF2-40B4-BE49-F238E27FC236}">
                <a16:creationId xmlns:a16="http://schemas.microsoft.com/office/drawing/2014/main" id="{B54BA1FF-D69F-4D5F-AC42-A2CB4997E032}"/>
              </a:ext>
            </a:extLst>
          </p:cNvPr>
          <p:cNvSpPr txBox="1"/>
          <p:nvPr/>
        </p:nvSpPr>
        <p:spPr>
          <a:xfrm>
            <a:off x="4423641" y="2225543"/>
            <a:ext cx="597617" cy="479745"/>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rgbClr val="FFFF00"/>
                </a:solidFill>
              </a:rPr>
              <a:t>99</a:t>
            </a:r>
          </a:p>
        </p:txBody>
      </p:sp>
      <p:sp>
        <p:nvSpPr>
          <p:cNvPr id="155" name="TextBox 154">
            <a:extLst>
              <a:ext uri="{FF2B5EF4-FFF2-40B4-BE49-F238E27FC236}">
                <a16:creationId xmlns:a16="http://schemas.microsoft.com/office/drawing/2014/main" id="{3C2054FF-28C3-405D-8F90-61727EB5B6C7}"/>
              </a:ext>
            </a:extLst>
          </p:cNvPr>
          <p:cNvSpPr txBox="1"/>
          <p:nvPr/>
        </p:nvSpPr>
        <p:spPr>
          <a:xfrm>
            <a:off x="9491672" y="855617"/>
            <a:ext cx="892922" cy="392245"/>
          </a:xfrm>
          <a:prstGeom prst="rect">
            <a:avLst/>
          </a:prstGeom>
          <a:noFill/>
        </p:spPr>
        <p:txBody>
          <a:bodyPr wrap="none" rtlCol="0">
            <a:spAutoFit/>
          </a:bodyPr>
          <a:lstStyle/>
          <a:p>
            <a:pPr defTabSz="896214">
              <a:defRPr/>
            </a:pPr>
            <a:r>
              <a:rPr lang="en-GB" sz="1961" kern="0" dirty="0">
                <a:solidFill>
                  <a:srgbClr val="00188F"/>
                </a:solidFill>
                <a:latin typeface="Segoe UI Light"/>
              </a:rPr>
              <a:t>[NULL]</a:t>
            </a:r>
          </a:p>
        </p:txBody>
      </p:sp>
      <p:sp>
        <p:nvSpPr>
          <p:cNvPr id="156" name="TextBox 155">
            <a:extLst>
              <a:ext uri="{FF2B5EF4-FFF2-40B4-BE49-F238E27FC236}">
                <a16:creationId xmlns:a16="http://schemas.microsoft.com/office/drawing/2014/main" id="{DC0736E6-D4EE-418C-B985-63EA5B7AFBAE}"/>
              </a:ext>
            </a:extLst>
          </p:cNvPr>
          <p:cNvSpPr txBox="1"/>
          <p:nvPr/>
        </p:nvSpPr>
        <p:spPr>
          <a:xfrm>
            <a:off x="889109" y="2007970"/>
            <a:ext cx="1151106" cy="479745"/>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rgbClr val="FFFF00"/>
                </a:solidFill>
              </a:rPr>
              <a:t>NULL</a:t>
            </a:r>
          </a:p>
        </p:txBody>
      </p:sp>
      <p:sp>
        <p:nvSpPr>
          <p:cNvPr id="157" name="TextBox 156">
            <a:extLst>
              <a:ext uri="{FF2B5EF4-FFF2-40B4-BE49-F238E27FC236}">
                <a16:creationId xmlns:a16="http://schemas.microsoft.com/office/drawing/2014/main" id="{1E89F00D-E522-41AD-AB0C-3243D17C949F}"/>
              </a:ext>
            </a:extLst>
          </p:cNvPr>
          <p:cNvSpPr txBox="1"/>
          <p:nvPr/>
        </p:nvSpPr>
        <p:spPr>
          <a:xfrm>
            <a:off x="9474165" y="862091"/>
            <a:ext cx="892922" cy="392245"/>
          </a:xfrm>
          <a:prstGeom prst="rect">
            <a:avLst/>
          </a:prstGeom>
          <a:noFill/>
        </p:spPr>
        <p:txBody>
          <a:bodyPr wrap="none" rtlCol="0">
            <a:spAutoFit/>
          </a:bodyPr>
          <a:lstStyle/>
          <a:p>
            <a:pPr defTabSz="896214">
              <a:defRPr/>
            </a:pPr>
            <a:r>
              <a:rPr lang="en-GB" sz="1961" kern="0" dirty="0">
                <a:solidFill>
                  <a:srgbClr val="00188F"/>
                </a:solidFill>
                <a:latin typeface="Segoe UI Light"/>
              </a:rPr>
              <a:t>[NULL]</a:t>
            </a:r>
          </a:p>
        </p:txBody>
      </p:sp>
      <p:sp>
        <p:nvSpPr>
          <p:cNvPr id="158" name="TextBox 157">
            <a:extLst>
              <a:ext uri="{FF2B5EF4-FFF2-40B4-BE49-F238E27FC236}">
                <a16:creationId xmlns:a16="http://schemas.microsoft.com/office/drawing/2014/main" id="{9C98FD9B-2CA8-468A-A28F-EDB3EAF964C8}"/>
              </a:ext>
            </a:extLst>
          </p:cNvPr>
          <p:cNvSpPr txBox="1"/>
          <p:nvPr/>
        </p:nvSpPr>
        <p:spPr>
          <a:xfrm>
            <a:off x="9549234" y="781705"/>
            <a:ext cx="817853" cy="584775"/>
          </a:xfrm>
          <a:prstGeom prst="rect">
            <a:avLst/>
          </a:prstGeom>
          <a:noFill/>
        </p:spPr>
        <p:txBody>
          <a:bodyPr wrap="none" rtlCol="0">
            <a:spAutoFit/>
          </a:bodyPr>
          <a:lstStyle/>
          <a:p>
            <a:pPr defTabSz="896214">
              <a:defRPr/>
            </a:pPr>
            <a:r>
              <a:rPr lang="en-GB" sz="3200" b="1" kern="0" dirty="0">
                <a:solidFill>
                  <a:srgbClr val="00188F"/>
                </a:solidFill>
                <a:latin typeface="Segoe UI Light"/>
              </a:rPr>
              <a:t>“01”</a:t>
            </a:r>
          </a:p>
        </p:txBody>
      </p:sp>
      <p:sp>
        <p:nvSpPr>
          <p:cNvPr id="159" name="TextBox 158">
            <a:extLst>
              <a:ext uri="{FF2B5EF4-FFF2-40B4-BE49-F238E27FC236}">
                <a16:creationId xmlns:a16="http://schemas.microsoft.com/office/drawing/2014/main" id="{DED583AE-CFCA-430D-9E57-64F638F26B5C}"/>
              </a:ext>
            </a:extLst>
          </p:cNvPr>
          <p:cNvSpPr txBox="1"/>
          <p:nvPr/>
        </p:nvSpPr>
        <p:spPr>
          <a:xfrm>
            <a:off x="7803945" y="5183123"/>
            <a:ext cx="845128" cy="479709"/>
          </a:xfrm>
          <a:prstGeom prst="rect">
            <a:avLst/>
          </a:prstGeom>
          <a:noFill/>
        </p:spPr>
        <p:txBody>
          <a:bodyPr wrap="square" lIns="179285" tIns="143428" rIns="179285" bIns="143428" rtlCol="0">
            <a:spAutoFit/>
          </a:bodyPr>
          <a:lstStyle/>
          <a:p>
            <a:pPr>
              <a:lnSpc>
                <a:spcPct val="90000"/>
              </a:lnSpc>
              <a:spcAft>
                <a:spcPts val="588"/>
              </a:spcAft>
            </a:pPr>
            <a:r>
              <a:rPr lang="en-US" sz="1372" dirty="0">
                <a:solidFill>
                  <a:srgbClr val="FFFF00"/>
                </a:solidFill>
              </a:rPr>
              <a:t>“01”</a:t>
            </a:r>
          </a:p>
        </p:txBody>
      </p:sp>
      <p:graphicFrame>
        <p:nvGraphicFramePr>
          <p:cNvPr id="168" name="Diagram 167">
            <a:extLst>
              <a:ext uri="{FF2B5EF4-FFF2-40B4-BE49-F238E27FC236}">
                <a16:creationId xmlns:a16="http://schemas.microsoft.com/office/drawing/2014/main" id="{B41ED63E-CF52-4853-8C03-79B22CF6B674}"/>
              </a:ext>
            </a:extLst>
          </p:cNvPr>
          <p:cNvGraphicFramePr/>
          <p:nvPr>
            <p:extLst>
              <p:ext uri="{D42A27DB-BD31-4B8C-83A1-F6EECF244321}">
                <p14:modId xmlns:p14="http://schemas.microsoft.com/office/powerpoint/2010/main" val="2502726152"/>
              </p:ext>
            </p:extLst>
          </p:nvPr>
        </p:nvGraphicFramePr>
        <p:xfrm>
          <a:off x="194537" y="2945340"/>
          <a:ext cx="5602655" cy="363127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0053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fade">
                                      <p:cBhvr>
                                        <p:cTn id="7" dur="500"/>
                                        <p:tgtEl>
                                          <p:spTgt spid="146"/>
                                        </p:tgtEl>
                                      </p:cBhvr>
                                    </p:animEffect>
                                  </p:childTnLst>
                                </p:cTn>
                              </p:par>
                            </p:childTnLst>
                          </p:cTn>
                        </p:par>
                        <p:par>
                          <p:cTn id="8" fill="hold">
                            <p:stCondLst>
                              <p:cond delay="500"/>
                            </p:stCondLst>
                            <p:childTnLst>
                              <p:par>
                                <p:cTn id="9" presetID="50" presetClass="path" presetSubtype="0" accel="50000" decel="50000" fill="hold" grpId="0" nodeType="afterEffect">
                                  <p:stCondLst>
                                    <p:cond delay="0"/>
                                  </p:stCondLst>
                                  <p:childTnLst>
                                    <p:animMotion origin="layout" path="M -2.91667E-6 1.48148E-6 L -0.21289 1.48148E-6 C -0.3082 1.48148E-6 -0.42565 0.05579 -0.42565 0.10116 L -0.42565 0.20254 " pathEditMode="relative" rAng="0" ptsTypes="AAAA">
                                      <p:cBhvr>
                                        <p:cTn id="10" dur="2000" fill="hold"/>
                                        <p:tgtEl>
                                          <p:spTgt spid="146"/>
                                        </p:tgtEl>
                                        <p:attrNameLst>
                                          <p:attrName>ppt_x</p:attrName>
                                          <p:attrName>ppt_y</p:attrName>
                                        </p:attrNameLst>
                                      </p:cBhvr>
                                      <p:rCtr x="-21289" y="10116"/>
                                    </p:animMotion>
                                  </p:childTnLst>
                                </p:cTn>
                              </p:par>
                            </p:childTnLst>
                          </p:cTn>
                        </p:par>
                        <p:par>
                          <p:cTn id="11" fill="hold">
                            <p:stCondLst>
                              <p:cond delay="2500"/>
                            </p:stCondLst>
                            <p:childTnLst>
                              <p:par>
                                <p:cTn id="12" presetID="10" presetClass="exit" presetSubtype="0" fill="hold" grpId="1" nodeType="afterEffect">
                                  <p:stCondLst>
                                    <p:cond delay="0"/>
                                  </p:stCondLst>
                                  <p:childTnLst>
                                    <p:animEffect transition="out" filter="fade">
                                      <p:cBhvr>
                                        <p:cTn id="13" dur="500"/>
                                        <p:tgtEl>
                                          <p:spTgt spid="146"/>
                                        </p:tgtEl>
                                      </p:cBhvr>
                                    </p:animEffect>
                                    <p:set>
                                      <p:cBhvr>
                                        <p:cTn id="14" dur="1" fill="hold">
                                          <p:stCondLst>
                                            <p:cond delay="499"/>
                                          </p:stCondLst>
                                        </p:cTn>
                                        <p:tgtEl>
                                          <p:spTgt spid="146"/>
                                        </p:tgtEl>
                                        <p:attrNameLst>
                                          <p:attrName>style.visibility</p:attrName>
                                        </p:attrNameLst>
                                      </p:cBhvr>
                                      <p:to>
                                        <p:strVal val="hidden"/>
                                      </p:to>
                                    </p:set>
                                  </p:childTnLst>
                                </p:cTn>
                              </p:par>
                              <p:par>
                                <p:cTn id="15" presetID="19" presetClass="emph" presetSubtype="0" fill="hold" grpId="0" nodeType="withEffect">
                                  <p:stCondLst>
                                    <p:cond delay="0"/>
                                  </p:stCondLst>
                                  <p:childTnLst>
                                    <p:animClr clrSpc="rgb" dir="cw">
                                      <p:cBhvr override="childStyle">
                                        <p:cTn id="16" dur="500" fill="hold"/>
                                        <p:tgtEl>
                                          <p:spTgt spid="79"/>
                                        </p:tgtEl>
                                        <p:attrNameLst>
                                          <p:attrName>style.color</p:attrName>
                                        </p:attrNameLst>
                                      </p:cBhvr>
                                      <p:to>
                                        <a:srgbClr val="BE4391"/>
                                      </p:to>
                                    </p:animClr>
                                    <p:animClr clrSpc="rgb" dir="cw">
                                      <p:cBhvr>
                                        <p:cTn id="17" dur="500" fill="hold"/>
                                        <p:tgtEl>
                                          <p:spTgt spid="79"/>
                                        </p:tgtEl>
                                        <p:attrNameLst>
                                          <p:attrName>fillcolor</p:attrName>
                                        </p:attrNameLst>
                                      </p:cBhvr>
                                      <p:to>
                                        <a:srgbClr val="BE4391"/>
                                      </p:to>
                                    </p:animClr>
                                    <p:set>
                                      <p:cBhvr>
                                        <p:cTn id="18" dur="500" fill="hold"/>
                                        <p:tgtEl>
                                          <p:spTgt spid="79"/>
                                        </p:tgtEl>
                                        <p:attrNameLst>
                                          <p:attrName>fill.type</p:attrName>
                                        </p:attrNameLst>
                                      </p:cBhvr>
                                      <p:to>
                                        <p:strVal val="solid"/>
                                      </p:to>
                                    </p:set>
                                    <p:set>
                                      <p:cBhvr>
                                        <p:cTn id="19" dur="500" fill="hold"/>
                                        <p:tgtEl>
                                          <p:spTgt spid="79"/>
                                        </p:tgtEl>
                                        <p:attrNameLst>
                                          <p:attrName>fill.on</p:attrName>
                                        </p:attrNameLst>
                                      </p:cBhvr>
                                      <p:to>
                                        <p:strVal val="true"/>
                                      </p:to>
                                    </p:set>
                                  </p:childTnLst>
                                </p:cTn>
                              </p:par>
                            </p:childTnLst>
                          </p:cTn>
                        </p:par>
                        <p:par>
                          <p:cTn id="20" fill="hold">
                            <p:stCondLst>
                              <p:cond delay="3000"/>
                            </p:stCondLst>
                            <p:childTnLst>
                              <p:par>
                                <p:cTn id="21" presetID="10" presetClass="entr" presetSubtype="0" fill="hold" grpId="0" nodeType="afterEffect">
                                  <p:stCondLst>
                                    <p:cond delay="0"/>
                                  </p:stCondLst>
                                  <p:childTnLst>
                                    <p:set>
                                      <p:cBhvr>
                                        <p:cTn id="22" dur="1" fill="hold">
                                          <p:stCondLst>
                                            <p:cond delay="0"/>
                                          </p:stCondLst>
                                        </p:cTn>
                                        <p:tgtEl>
                                          <p:spTgt spid="151"/>
                                        </p:tgtEl>
                                        <p:attrNameLst>
                                          <p:attrName>style.visibility</p:attrName>
                                        </p:attrNameLst>
                                      </p:cBhvr>
                                      <p:to>
                                        <p:strVal val="visible"/>
                                      </p:to>
                                    </p:set>
                                    <p:animEffect transition="in" filter="fade">
                                      <p:cBhvr>
                                        <p:cTn id="23" dur="500"/>
                                        <p:tgtEl>
                                          <p:spTgt spid="151"/>
                                        </p:tgtEl>
                                      </p:cBhvr>
                                    </p:animEffect>
                                  </p:childTnLst>
                                </p:cTn>
                              </p:par>
                            </p:childTnLst>
                          </p:cTn>
                        </p:par>
                        <p:par>
                          <p:cTn id="24" fill="hold">
                            <p:stCondLst>
                              <p:cond delay="3500"/>
                            </p:stCondLst>
                            <p:childTnLst>
                              <p:par>
                                <p:cTn id="25" presetID="10" presetClass="entr" presetSubtype="0" fill="hold" grpId="2" nodeType="afterEffect">
                                  <p:stCondLst>
                                    <p:cond delay="0"/>
                                  </p:stCondLst>
                                  <p:childTnLst>
                                    <p:set>
                                      <p:cBhvr>
                                        <p:cTn id="26" dur="1" fill="hold">
                                          <p:stCondLst>
                                            <p:cond delay="0"/>
                                          </p:stCondLst>
                                        </p:cTn>
                                        <p:tgtEl>
                                          <p:spTgt spid="147"/>
                                        </p:tgtEl>
                                        <p:attrNameLst>
                                          <p:attrName>style.visibility</p:attrName>
                                        </p:attrNameLst>
                                      </p:cBhvr>
                                      <p:to>
                                        <p:strVal val="visible"/>
                                      </p:to>
                                    </p:set>
                                    <p:animEffect transition="in" filter="fade">
                                      <p:cBhvr>
                                        <p:cTn id="27" dur="500"/>
                                        <p:tgtEl>
                                          <p:spTgt spid="147"/>
                                        </p:tgtEl>
                                      </p:cBhvr>
                                    </p:animEffect>
                                  </p:childTnLst>
                                </p:cTn>
                              </p:par>
                            </p:childTnLst>
                          </p:cTn>
                        </p:par>
                        <p:par>
                          <p:cTn id="28" fill="hold">
                            <p:stCondLst>
                              <p:cond delay="4000"/>
                            </p:stCondLst>
                            <p:childTnLst>
                              <p:par>
                                <p:cTn id="29" presetID="50" presetClass="path" presetSubtype="0" accel="50000" decel="50000" fill="hold" grpId="0" nodeType="afterEffect">
                                  <p:stCondLst>
                                    <p:cond delay="0"/>
                                  </p:stCondLst>
                                  <p:childTnLst>
                                    <p:animMotion origin="layout" path="M 1.25E-6 1.48148E-6 L -0.14219 1.48148E-6 C -0.20586 1.48148E-6 -0.28412 0.11991 -0.28412 0.21736 L -0.28412 0.43588 " pathEditMode="relative" rAng="0" ptsTypes="AAAA">
                                      <p:cBhvr>
                                        <p:cTn id="30" dur="2000" fill="hold"/>
                                        <p:tgtEl>
                                          <p:spTgt spid="147"/>
                                        </p:tgtEl>
                                        <p:attrNameLst>
                                          <p:attrName>ppt_x</p:attrName>
                                          <p:attrName>ppt_y</p:attrName>
                                        </p:attrNameLst>
                                      </p:cBhvr>
                                      <p:rCtr x="-14206" y="21782"/>
                                    </p:animMotion>
                                  </p:childTnLst>
                                </p:cTn>
                              </p:par>
                            </p:childTnLst>
                          </p:cTn>
                        </p:par>
                        <p:par>
                          <p:cTn id="31" fill="hold">
                            <p:stCondLst>
                              <p:cond delay="6000"/>
                            </p:stCondLst>
                            <p:childTnLst>
                              <p:par>
                                <p:cTn id="32" presetID="10" presetClass="exit" presetSubtype="0" fill="hold" grpId="1" nodeType="afterEffect">
                                  <p:stCondLst>
                                    <p:cond delay="0"/>
                                  </p:stCondLst>
                                  <p:childTnLst>
                                    <p:animEffect transition="out" filter="fade">
                                      <p:cBhvr>
                                        <p:cTn id="33" dur="500"/>
                                        <p:tgtEl>
                                          <p:spTgt spid="147"/>
                                        </p:tgtEl>
                                      </p:cBhvr>
                                    </p:animEffect>
                                    <p:set>
                                      <p:cBhvr>
                                        <p:cTn id="34" dur="1" fill="hold">
                                          <p:stCondLst>
                                            <p:cond delay="499"/>
                                          </p:stCondLst>
                                        </p:cTn>
                                        <p:tgtEl>
                                          <p:spTgt spid="147"/>
                                        </p:tgtEl>
                                        <p:attrNameLst>
                                          <p:attrName>style.visibility</p:attrName>
                                        </p:attrNameLst>
                                      </p:cBhvr>
                                      <p:to>
                                        <p:strVal val="hidden"/>
                                      </p:to>
                                    </p:set>
                                  </p:childTnLst>
                                </p:cTn>
                              </p:par>
                              <p:par>
                                <p:cTn id="35" presetID="19" presetClass="emph" presetSubtype="0" fill="hold" grpId="0" nodeType="withEffect">
                                  <p:stCondLst>
                                    <p:cond delay="0"/>
                                  </p:stCondLst>
                                  <p:childTnLst>
                                    <p:animClr clrSpc="rgb" dir="cw">
                                      <p:cBhvr override="childStyle">
                                        <p:cTn id="36" dur="500" fill="hold"/>
                                        <p:tgtEl>
                                          <p:spTgt spid="105"/>
                                        </p:tgtEl>
                                        <p:attrNameLst>
                                          <p:attrName>style.color</p:attrName>
                                        </p:attrNameLst>
                                      </p:cBhvr>
                                      <p:to>
                                        <a:srgbClr val="0A7487"/>
                                      </p:to>
                                    </p:animClr>
                                    <p:animClr clrSpc="rgb" dir="cw">
                                      <p:cBhvr>
                                        <p:cTn id="37" dur="500" fill="hold"/>
                                        <p:tgtEl>
                                          <p:spTgt spid="105"/>
                                        </p:tgtEl>
                                        <p:attrNameLst>
                                          <p:attrName>fillcolor</p:attrName>
                                        </p:attrNameLst>
                                      </p:cBhvr>
                                      <p:to>
                                        <a:srgbClr val="0A7487"/>
                                      </p:to>
                                    </p:animClr>
                                    <p:set>
                                      <p:cBhvr>
                                        <p:cTn id="38" dur="500" fill="hold"/>
                                        <p:tgtEl>
                                          <p:spTgt spid="105"/>
                                        </p:tgtEl>
                                        <p:attrNameLst>
                                          <p:attrName>fill.type</p:attrName>
                                        </p:attrNameLst>
                                      </p:cBhvr>
                                      <p:to>
                                        <p:strVal val="solid"/>
                                      </p:to>
                                    </p:set>
                                    <p:set>
                                      <p:cBhvr>
                                        <p:cTn id="39" dur="500" fill="hold"/>
                                        <p:tgtEl>
                                          <p:spTgt spid="105"/>
                                        </p:tgtEl>
                                        <p:attrNameLst>
                                          <p:attrName>fill.on</p:attrName>
                                        </p:attrNameLst>
                                      </p:cBhvr>
                                      <p:to>
                                        <p:strVal val="true"/>
                                      </p:to>
                                    </p:se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152"/>
                                        </p:tgtEl>
                                        <p:attrNameLst>
                                          <p:attrName>style.visibility</p:attrName>
                                        </p:attrNameLst>
                                      </p:cBhvr>
                                      <p:to>
                                        <p:strVal val="visible"/>
                                      </p:to>
                                    </p:set>
                                    <p:animEffect transition="in" filter="fade">
                                      <p:cBhvr>
                                        <p:cTn id="43" dur="500"/>
                                        <p:tgtEl>
                                          <p:spTgt spid="152"/>
                                        </p:tgtEl>
                                      </p:cBhvr>
                                    </p:animEffect>
                                  </p:childTnLst>
                                </p:cTn>
                              </p:par>
                            </p:childTnLst>
                          </p:cTn>
                        </p:par>
                        <p:par>
                          <p:cTn id="44" fill="hold">
                            <p:stCondLst>
                              <p:cond delay="7000"/>
                            </p:stCondLst>
                            <p:childTnLst>
                              <p:par>
                                <p:cTn id="45" presetID="10" presetClass="entr" presetSubtype="0" fill="hold" grpId="2" nodeType="afterEffect">
                                  <p:stCondLst>
                                    <p:cond delay="0"/>
                                  </p:stCondLst>
                                  <p:childTnLst>
                                    <p:set>
                                      <p:cBhvr>
                                        <p:cTn id="46" dur="1" fill="hold">
                                          <p:stCondLst>
                                            <p:cond delay="0"/>
                                          </p:stCondLst>
                                        </p:cTn>
                                        <p:tgtEl>
                                          <p:spTgt spid="148"/>
                                        </p:tgtEl>
                                        <p:attrNameLst>
                                          <p:attrName>style.visibility</p:attrName>
                                        </p:attrNameLst>
                                      </p:cBhvr>
                                      <p:to>
                                        <p:strVal val="visible"/>
                                      </p:to>
                                    </p:set>
                                    <p:animEffect transition="in" filter="fade">
                                      <p:cBhvr>
                                        <p:cTn id="47" dur="500"/>
                                        <p:tgtEl>
                                          <p:spTgt spid="148"/>
                                        </p:tgtEl>
                                      </p:cBhvr>
                                    </p:animEffect>
                                  </p:childTnLst>
                                </p:cTn>
                              </p:par>
                            </p:childTnLst>
                          </p:cTn>
                        </p:par>
                        <p:par>
                          <p:cTn id="48" fill="hold">
                            <p:stCondLst>
                              <p:cond delay="7500"/>
                            </p:stCondLst>
                            <p:childTnLst>
                              <p:par>
                                <p:cTn id="49" presetID="50" presetClass="path" presetSubtype="0" accel="50000" decel="50000" fill="hold" grpId="0" nodeType="afterEffect">
                                  <p:stCondLst>
                                    <p:cond delay="0"/>
                                  </p:stCondLst>
                                  <p:childTnLst>
                                    <p:animMotion origin="layout" path="M 1.25E-6 1.48148E-6 L -0.03503 1.48148E-6 C -0.05078 1.48148E-6 -0.06992 0.15254 -0.06992 0.27662 L -0.06992 0.55486 " pathEditMode="relative" rAng="0" ptsTypes="AAAA">
                                      <p:cBhvr>
                                        <p:cTn id="50" dur="2000" fill="hold"/>
                                        <p:tgtEl>
                                          <p:spTgt spid="148"/>
                                        </p:tgtEl>
                                        <p:attrNameLst>
                                          <p:attrName>ppt_x</p:attrName>
                                          <p:attrName>ppt_y</p:attrName>
                                        </p:attrNameLst>
                                      </p:cBhvr>
                                      <p:rCtr x="-3503" y="27731"/>
                                    </p:animMotion>
                                  </p:childTnLst>
                                </p:cTn>
                              </p:par>
                            </p:childTnLst>
                          </p:cTn>
                        </p:par>
                        <p:par>
                          <p:cTn id="51" fill="hold">
                            <p:stCondLst>
                              <p:cond delay="9500"/>
                            </p:stCondLst>
                            <p:childTnLst>
                              <p:par>
                                <p:cTn id="52" presetID="10" presetClass="exit" presetSubtype="0" fill="hold" grpId="1" nodeType="afterEffect">
                                  <p:stCondLst>
                                    <p:cond delay="0"/>
                                  </p:stCondLst>
                                  <p:childTnLst>
                                    <p:animEffect transition="out" filter="fade">
                                      <p:cBhvr>
                                        <p:cTn id="53" dur="500"/>
                                        <p:tgtEl>
                                          <p:spTgt spid="148"/>
                                        </p:tgtEl>
                                      </p:cBhvr>
                                    </p:animEffect>
                                    <p:set>
                                      <p:cBhvr>
                                        <p:cTn id="54" dur="1" fill="hold">
                                          <p:stCondLst>
                                            <p:cond delay="499"/>
                                          </p:stCondLst>
                                        </p:cTn>
                                        <p:tgtEl>
                                          <p:spTgt spid="148"/>
                                        </p:tgtEl>
                                        <p:attrNameLst>
                                          <p:attrName>style.visibility</p:attrName>
                                        </p:attrNameLst>
                                      </p:cBhvr>
                                      <p:to>
                                        <p:strVal val="hidden"/>
                                      </p:to>
                                    </p:set>
                                  </p:childTnLst>
                                </p:cTn>
                              </p:par>
                              <p:par>
                                <p:cTn id="55" presetID="19" presetClass="emph" presetSubtype="0" fill="hold" grpId="0" nodeType="withEffect">
                                  <p:stCondLst>
                                    <p:cond delay="0"/>
                                  </p:stCondLst>
                                  <p:childTnLst>
                                    <p:animClr clrSpc="rgb" dir="cw">
                                      <p:cBhvr override="childStyle">
                                        <p:cTn id="56" dur="500" fill="hold"/>
                                        <p:tgtEl>
                                          <p:spTgt spid="119"/>
                                        </p:tgtEl>
                                        <p:attrNameLst>
                                          <p:attrName>style.color</p:attrName>
                                        </p:attrNameLst>
                                      </p:cBhvr>
                                      <p:to>
                                        <a:srgbClr val="E20F20"/>
                                      </p:to>
                                    </p:animClr>
                                    <p:animClr clrSpc="rgb" dir="cw">
                                      <p:cBhvr>
                                        <p:cTn id="57" dur="500" fill="hold"/>
                                        <p:tgtEl>
                                          <p:spTgt spid="119"/>
                                        </p:tgtEl>
                                        <p:attrNameLst>
                                          <p:attrName>fillcolor</p:attrName>
                                        </p:attrNameLst>
                                      </p:cBhvr>
                                      <p:to>
                                        <a:srgbClr val="E20F20"/>
                                      </p:to>
                                    </p:animClr>
                                    <p:set>
                                      <p:cBhvr>
                                        <p:cTn id="58" dur="500" fill="hold"/>
                                        <p:tgtEl>
                                          <p:spTgt spid="119"/>
                                        </p:tgtEl>
                                        <p:attrNameLst>
                                          <p:attrName>fill.type</p:attrName>
                                        </p:attrNameLst>
                                      </p:cBhvr>
                                      <p:to>
                                        <p:strVal val="solid"/>
                                      </p:to>
                                    </p:set>
                                    <p:set>
                                      <p:cBhvr>
                                        <p:cTn id="59" dur="500" fill="hold"/>
                                        <p:tgtEl>
                                          <p:spTgt spid="119"/>
                                        </p:tgtEl>
                                        <p:attrNameLst>
                                          <p:attrName>fill.on</p:attrName>
                                        </p:attrNameLst>
                                      </p:cBhvr>
                                      <p:to>
                                        <p:strVal val="true"/>
                                      </p:to>
                                    </p:set>
                                  </p:childTnLst>
                                </p:cTn>
                              </p:par>
                            </p:childTnLst>
                          </p:cTn>
                        </p:par>
                        <p:par>
                          <p:cTn id="60" fill="hold">
                            <p:stCondLst>
                              <p:cond delay="10000"/>
                            </p:stCondLst>
                            <p:childTnLst>
                              <p:par>
                                <p:cTn id="61" presetID="10" presetClass="entr" presetSubtype="0" fill="hold" grpId="0" nodeType="afterEffect">
                                  <p:stCondLst>
                                    <p:cond delay="0"/>
                                  </p:stCondLst>
                                  <p:childTnLst>
                                    <p:set>
                                      <p:cBhvr>
                                        <p:cTn id="62" dur="1" fill="hold">
                                          <p:stCondLst>
                                            <p:cond delay="0"/>
                                          </p:stCondLst>
                                        </p:cTn>
                                        <p:tgtEl>
                                          <p:spTgt spid="153"/>
                                        </p:tgtEl>
                                        <p:attrNameLst>
                                          <p:attrName>style.visibility</p:attrName>
                                        </p:attrNameLst>
                                      </p:cBhvr>
                                      <p:to>
                                        <p:strVal val="visible"/>
                                      </p:to>
                                    </p:set>
                                    <p:animEffect transition="in" filter="fade">
                                      <p:cBhvr>
                                        <p:cTn id="63" dur="500"/>
                                        <p:tgtEl>
                                          <p:spTgt spid="153"/>
                                        </p:tgtEl>
                                      </p:cBhvr>
                                    </p:animEffect>
                                  </p:childTnLst>
                                </p:cTn>
                              </p:par>
                            </p:childTnLst>
                          </p:cTn>
                        </p:par>
                        <p:par>
                          <p:cTn id="64" fill="hold">
                            <p:stCondLst>
                              <p:cond delay="10500"/>
                            </p:stCondLst>
                            <p:childTnLst>
                              <p:par>
                                <p:cTn id="65" presetID="10" presetClass="entr" presetSubtype="0" fill="hold" grpId="2" nodeType="afterEffect">
                                  <p:stCondLst>
                                    <p:cond delay="0"/>
                                  </p:stCondLst>
                                  <p:childTnLst>
                                    <p:set>
                                      <p:cBhvr>
                                        <p:cTn id="66" dur="1" fill="hold">
                                          <p:stCondLst>
                                            <p:cond delay="0"/>
                                          </p:stCondLst>
                                        </p:cTn>
                                        <p:tgtEl>
                                          <p:spTgt spid="149"/>
                                        </p:tgtEl>
                                        <p:attrNameLst>
                                          <p:attrName>style.visibility</p:attrName>
                                        </p:attrNameLst>
                                      </p:cBhvr>
                                      <p:to>
                                        <p:strVal val="visible"/>
                                      </p:to>
                                    </p:set>
                                    <p:animEffect transition="in" filter="fade">
                                      <p:cBhvr>
                                        <p:cTn id="67" dur="500"/>
                                        <p:tgtEl>
                                          <p:spTgt spid="149"/>
                                        </p:tgtEl>
                                      </p:cBhvr>
                                    </p:animEffect>
                                  </p:childTnLst>
                                </p:cTn>
                              </p:par>
                            </p:childTnLst>
                          </p:cTn>
                        </p:par>
                        <p:par>
                          <p:cTn id="68" fill="hold">
                            <p:stCondLst>
                              <p:cond delay="11000"/>
                            </p:stCondLst>
                            <p:childTnLst>
                              <p:par>
                                <p:cTn id="69" presetID="50" presetClass="path" presetSubtype="0" accel="50000" decel="50000" fill="hold" grpId="0" nodeType="afterEffect">
                                  <p:stCondLst>
                                    <p:cond delay="0"/>
                                  </p:stCondLst>
                                  <p:childTnLst>
                                    <p:animMotion origin="layout" path="M -4.07199E-6 -3.58602E-6 L -0.21291 -3.58602E-6 C -0.30814 -3.58602E-6 -0.4257 0.05584 -0.4257 0.10123 L -0.4257 0.20245 " pathEditMode="relative" rAng="0" ptsTypes="AAAA">
                                      <p:cBhvr>
                                        <p:cTn id="70" dur="2000" fill="hold"/>
                                        <p:tgtEl>
                                          <p:spTgt spid="149"/>
                                        </p:tgtEl>
                                        <p:attrNameLst>
                                          <p:attrName>ppt_x</p:attrName>
                                          <p:attrName>ppt_y</p:attrName>
                                        </p:attrNameLst>
                                      </p:cBhvr>
                                      <p:rCtr x="-21292" y="10123"/>
                                    </p:animMotion>
                                  </p:childTnLst>
                                </p:cTn>
                              </p:par>
                            </p:childTnLst>
                          </p:cTn>
                        </p:par>
                        <p:par>
                          <p:cTn id="71" fill="hold">
                            <p:stCondLst>
                              <p:cond delay="13000"/>
                            </p:stCondLst>
                            <p:childTnLst>
                              <p:par>
                                <p:cTn id="72" presetID="10" presetClass="exit" presetSubtype="0" fill="hold" grpId="1" nodeType="afterEffect">
                                  <p:stCondLst>
                                    <p:cond delay="0"/>
                                  </p:stCondLst>
                                  <p:childTnLst>
                                    <p:animEffect transition="out" filter="fade">
                                      <p:cBhvr>
                                        <p:cTn id="73" dur="500"/>
                                        <p:tgtEl>
                                          <p:spTgt spid="149"/>
                                        </p:tgtEl>
                                      </p:cBhvr>
                                    </p:animEffect>
                                    <p:set>
                                      <p:cBhvr>
                                        <p:cTn id="74" dur="1" fill="hold">
                                          <p:stCondLst>
                                            <p:cond delay="499"/>
                                          </p:stCondLst>
                                        </p:cTn>
                                        <p:tgtEl>
                                          <p:spTgt spid="149"/>
                                        </p:tgtEl>
                                        <p:attrNameLst>
                                          <p:attrName>style.visibility</p:attrName>
                                        </p:attrNameLst>
                                      </p:cBhvr>
                                      <p:to>
                                        <p:strVal val="hidden"/>
                                      </p:to>
                                    </p:set>
                                  </p:childTnLst>
                                </p:cTn>
                              </p:par>
                            </p:childTnLst>
                          </p:cTn>
                        </p:par>
                        <p:par>
                          <p:cTn id="75" fill="hold">
                            <p:stCondLst>
                              <p:cond delay="13500"/>
                            </p:stCondLst>
                            <p:childTnLst>
                              <p:par>
                                <p:cTn id="76" presetID="10" presetClass="entr" presetSubtype="0" fill="hold" grpId="2" nodeType="afterEffect">
                                  <p:stCondLst>
                                    <p:cond delay="0"/>
                                  </p:stCondLst>
                                  <p:childTnLst>
                                    <p:set>
                                      <p:cBhvr>
                                        <p:cTn id="77" dur="1" fill="hold">
                                          <p:stCondLst>
                                            <p:cond delay="0"/>
                                          </p:stCondLst>
                                        </p:cTn>
                                        <p:tgtEl>
                                          <p:spTgt spid="150"/>
                                        </p:tgtEl>
                                        <p:attrNameLst>
                                          <p:attrName>style.visibility</p:attrName>
                                        </p:attrNameLst>
                                      </p:cBhvr>
                                      <p:to>
                                        <p:strVal val="visible"/>
                                      </p:to>
                                    </p:set>
                                    <p:animEffect transition="in" filter="fade">
                                      <p:cBhvr>
                                        <p:cTn id="78" dur="500"/>
                                        <p:tgtEl>
                                          <p:spTgt spid="150"/>
                                        </p:tgtEl>
                                      </p:cBhvr>
                                    </p:animEffect>
                                  </p:childTnLst>
                                </p:cTn>
                              </p:par>
                            </p:childTnLst>
                          </p:cTn>
                        </p:par>
                        <p:par>
                          <p:cTn id="79" fill="hold">
                            <p:stCondLst>
                              <p:cond delay="14000"/>
                            </p:stCondLst>
                            <p:childTnLst>
                              <p:par>
                                <p:cTn id="80" presetID="50" presetClass="path" presetSubtype="0" accel="50000" decel="50000" fill="hold" grpId="0" nodeType="afterEffect">
                                  <p:stCondLst>
                                    <p:cond delay="0"/>
                                  </p:stCondLst>
                                  <p:childTnLst>
                                    <p:animMotion origin="layout" path="M -0.00026 4.26691E-6 L -0.21305 4.26691E-6 C -0.30815 4.26691E-6 -0.42571 0.05583 -0.42571 0.10122 L -0.42571 0.20245 " pathEditMode="relative" rAng="0" ptsTypes="AAAA">
                                      <p:cBhvr>
                                        <p:cTn id="81" dur="2000" fill="hold"/>
                                        <p:tgtEl>
                                          <p:spTgt spid="150"/>
                                        </p:tgtEl>
                                        <p:attrNameLst>
                                          <p:attrName>ppt_x</p:attrName>
                                          <p:attrName>ppt_y</p:attrName>
                                        </p:attrNameLst>
                                      </p:cBhvr>
                                      <p:rCtr x="-21279" y="10123"/>
                                    </p:animMotion>
                                  </p:childTnLst>
                                </p:cTn>
                              </p:par>
                            </p:childTnLst>
                          </p:cTn>
                        </p:par>
                        <p:par>
                          <p:cTn id="82" fill="hold">
                            <p:stCondLst>
                              <p:cond delay="16000"/>
                            </p:stCondLst>
                            <p:childTnLst>
                              <p:par>
                                <p:cTn id="83" presetID="10" presetClass="exit" presetSubtype="0" fill="hold" grpId="1" nodeType="afterEffect">
                                  <p:stCondLst>
                                    <p:cond delay="0"/>
                                  </p:stCondLst>
                                  <p:childTnLst>
                                    <p:animEffect transition="out" filter="fade">
                                      <p:cBhvr>
                                        <p:cTn id="84" dur="500"/>
                                        <p:tgtEl>
                                          <p:spTgt spid="150"/>
                                        </p:tgtEl>
                                      </p:cBhvr>
                                    </p:animEffect>
                                    <p:set>
                                      <p:cBhvr>
                                        <p:cTn id="85" dur="1" fill="hold">
                                          <p:stCondLst>
                                            <p:cond delay="499"/>
                                          </p:stCondLst>
                                        </p:cTn>
                                        <p:tgtEl>
                                          <p:spTgt spid="150"/>
                                        </p:tgtEl>
                                        <p:attrNameLst>
                                          <p:attrName>style.visibility</p:attrName>
                                        </p:attrNameLst>
                                      </p:cBhvr>
                                      <p:to>
                                        <p:strVal val="hidden"/>
                                      </p:to>
                                    </p:set>
                                  </p:childTnLst>
                                </p:cTn>
                              </p:par>
                            </p:childTnLst>
                          </p:cTn>
                        </p:par>
                        <p:par>
                          <p:cTn id="86" fill="hold">
                            <p:stCondLst>
                              <p:cond delay="16500"/>
                            </p:stCondLst>
                            <p:childTnLst>
                              <p:par>
                                <p:cTn id="87" presetID="10" presetClass="entr" presetSubtype="0" fill="hold" grpId="0" nodeType="afterEffect">
                                  <p:stCondLst>
                                    <p:cond delay="0"/>
                                  </p:stCondLst>
                                  <p:childTnLst>
                                    <p:set>
                                      <p:cBhvr>
                                        <p:cTn id="88" dur="1" fill="hold">
                                          <p:stCondLst>
                                            <p:cond delay="0"/>
                                          </p:stCondLst>
                                        </p:cTn>
                                        <p:tgtEl>
                                          <p:spTgt spid="154"/>
                                        </p:tgtEl>
                                        <p:attrNameLst>
                                          <p:attrName>style.visibility</p:attrName>
                                        </p:attrNameLst>
                                      </p:cBhvr>
                                      <p:to>
                                        <p:strVal val="visible"/>
                                      </p:to>
                                    </p:set>
                                    <p:animEffect transition="in" filter="fade">
                                      <p:cBhvr>
                                        <p:cTn id="89" dur="500"/>
                                        <p:tgtEl>
                                          <p:spTgt spid="154"/>
                                        </p:tgtEl>
                                      </p:cBhvr>
                                    </p:animEffect>
                                  </p:childTnLst>
                                </p:cTn>
                              </p:par>
                            </p:childTnLst>
                          </p:cTn>
                        </p:par>
                        <p:par>
                          <p:cTn id="90" fill="hold">
                            <p:stCondLst>
                              <p:cond delay="17000"/>
                            </p:stCondLst>
                            <p:childTnLst>
                              <p:par>
                                <p:cTn id="91" presetID="10" presetClass="entr" presetSubtype="0" fill="hold" grpId="2" nodeType="afterEffect">
                                  <p:stCondLst>
                                    <p:cond delay="0"/>
                                  </p:stCondLst>
                                  <p:childTnLst>
                                    <p:set>
                                      <p:cBhvr>
                                        <p:cTn id="92" dur="1" fill="hold">
                                          <p:stCondLst>
                                            <p:cond delay="0"/>
                                          </p:stCondLst>
                                        </p:cTn>
                                        <p:tgtEl>
                                          <p:spTgt spid="155"/>
                                        </p:tgtEl>
                                        <p:attrNameLst>
                                          <p:attrName>style.visibility</p:attrName>
                                        </p:attrNameLst>
                                      </p:cBhvr>
                                      <p:to>
                                        <p:strVal val="visible"/>
                                      </p:to>
                                    </p:set>
                                    <p:animEffect transition="in" filter="fade">
                                      <p:cBhvr>
                                        <p:cTn id="93" dur="500"/>
                                        <p:tgtEl>
                                          <p:spTgt spid="155"/>
                                        </p:tgtEl>
                                      </p:cBhvr>
                                    </p:animEffect>
                                  </p:childTnLst>
                                </p:cTn>
                              </p:par>
                            </p:childTnLst>
                          </p:cTn>
                        </p:par>
                        <p:par>
                          <p:cTn id="94" fill="hold">
                            <p:stCondLst>
                              <p:cond delay="17500"/>
                            </p:stCondLst>
                            <p:childTnLst>
                              <p:par>
                                <p:cTn id="95" presetID="50" presetClass="path" presetSubtype="0" accel="50000" decel="50000" fill="hold" grpId="0" nodeType="afterEffect">
                                  <p:stCondLst>
                                    <p:cond delay="0"/>
                                  </p:stCondLst>
                                  <p:childTnLst>
                                    <p:animMotion origin="layout" path="M -0.00025 -1.81571E-7 L -0.35716 -1.81571E-7 C -0.51646 -1.81571E-7 -0.71342 0.05583 -0.71342 0.10123 L -0.71342 0.20245 " pathEditMode="relative" rAng="0" ptsTypes="AAAA">
                                      <p:cBhvr>
                                        <p:cTn id="96" dur="2000" fill="hold"/>
                                        <p:tgtEl>
                                          <p:spTgt spid="155"/>
                                        </p:tgtEl>
                                        <p:attrNameLst>
                                          <p:attrName>ppt_x</p:attrName>
                                          <p:attrName>ppt_y</p:attrName>
                                        </p:attrNameLst>
                                      </p:cBhvr>
                                      <p:rCtr x="-35665" y="10123"/>
                                    </p:animMotion>
                                  </p:childTnLst>
                                </p:cTn>
                              </p:par>
                            </p:childTnLst>
                          </p:cTn>
                        </p:par>
                        <p:par>
                          <p:cTn id="97" fill="hold">
                            <p:stCondLst>
                              <p:cond delay="19500"/>
                            </p:stCondLst>
                            <p:childTnLst>
                              <p:par>
                                <p:cTn id="98" presetID="10" presetClass="exit" presetSubtype="0" fill="hold" nodeType="afterEffect">
                                  <p:stCondLst>
                                    <p:cond delay="0"/>
                                  </p:stCondLst>
                                  <p:childTnLst>
                                    <p:animEffect transition="out" filter="fade">
                                      <p:cBhvr>
                                        <p:cTn id="99" dur="500"/>
                                        <p:tgtEl>
                                          <p:spTgt spid="134">
                                            <p:txEl>
                                              <p:pRg st="0" end="0"/>
                                            </p:txEl>
                                          </p:spTgt>
                                        </p:tgtEl>
                                      </p:cBhvr>
                                    </p:animEffect>
                                    <p:set>
                                      <p:cBhvr>
                                        <p:cTn id="100" dur="1" fill="hold">
                                          <p:stCondLst>
                                            <p:cond delay="499"/>
                                          </p:stCondLst>
                                        </p:cTn>
                                        <p:tgtEl>
                                          <p:spTgt spid="134">
                                            <p:txEl>
                                              <p:pRg st="0" end="0"/>
                                            </p:txEl>
                                          </p:spTgt>
                                        </p:tgtEl>
                                        <p:attrNameLst>
                                          <p:attrName>style.visibility</p:attrName>
                                        </p:attrNameLst>
                                      </p:cBhvr>
                                      <p:to>
                                        <p:strVal val="hidden"/>
                                      </p:to>
                                    </p:set>
                                  </p:childTnLst>
                                </p:cTn>
                              </p:par>
                              <p:par>
                                <p:cTn id="101" presetID="1" presetClass="emph" presetSubtype="2" fill="hold" nodeType="withEffect">
                                  <p:stCondLst>
                                    <p:cond delay="0"/>
                                  </p:stCondLst>
                                  <p:childTnLst>
                                    <p:animClr clrSpc="rgb" dir="cw">
                                      <p:cBhvr>
                                        <p:cTn id="102" dur="500" fill="hold"/>
                                        <p:tgtEl>
                                          <p:spTgt spid="134"/>
                                        </p:tgtEl>
                                        <p:attrNameLst>
                                          <p:attrName>fillcolor</p:attrName>
                                        </p:attrNameLst>
                                      </p:cBhvr>
                                      <p:to>
                                        <a:srgbClr val="275F2A"/>
                                      </p:to>
                                    </p:animClr>
                                    <p:set>
                                      <p:cBhvr>
                                        <p:cTn id="103" dur="500" fill="hold"/>
                                        <p:tgtEl>
                                          <p:spTgt spid="134"/>
                                        </p:tgtEl>
                                        <p:attrNameLst>
                                          <p:attrName>fill.type</p:attrName>
                                        </p:attrNameLst>
                                      </p:cBhvr>
                                      <p:to>
                                        <p:strVal val="solid"/>
                                      </p:to>
                                    </p:set>
                                    <p:set>
                                      <p:cBhvr>
                                        <p:cTn id="104" dur="500" fill="hold"/>
                                        <p:tgtEl>
                                          <p:spTgt spid="134"/>
                                        </p:tgtEl>
                                        <p:attrNameLst>
                                          <p:attrName>fill.on</p:attrName>
                                        </p:attrNameLst>
                                      </p:cBhvr>
                                      <p:to>
                                        <p:strVal val="true"/>
                                      </p:to>
                                    </p:set>
                                  </p:childTnLst>
                                </p:cTn>
                              </p:par>
                              <p:par>
                                <p:cTn id="105" presetID="10" presetClass="exit" presetSubtype="0" fill="hold" grpId="1" nodeType="withEffect">
                                  <p:stCondLst>
                                    <p:cond delay="0"/>
                                  </p:stCondLst>
                                  <p:childTnLst>
                                    <p:animEffect transition="out" filter="fade">
                                      <p:cBhvr>
                                        <p:cTn id="106" dur="500"/>
                                        <p:tgtEl>
                                          <p:spTgt spid="155"/>
                                        </p:tgtEl>
                                      </p:cBhvr>
                                    </p:animEffect>
                                    <p:set>
                                      <p:cBhvr>
                                        <p:cTn id="107" dur="1" fill="hold">
                                          <p:stCondLst>
                                            <p:cond delay="499"/>
                                          </p:stCondLst>
                                        </p:cTn>
                                        <p:tgtEl>
                                          <p:spTgt spid="155"/>
                                        </p:tgtEl>
                                        <p:attrNameLst>
                                          <p:attrName>style.visibility</p:attrName>
                                        </p:attrNameLst>
                                      </p:cBhvr>
                                      <p:to>
                                        <p:strVal val="hidden"/>
                                      </p:to>
                                    </p:set>
                                  </p:childTnLst>
                                </p:cTn>
                              </p:par>
                            </p:childTnLst>
                          </p:cTn>
                        </p:par>
                        <p:par>
                          <p:cTn id="108" fill="hold">
                            <p:stCondLst>
                              <p:cond delay="20000"/>
                            </p:stCondLst>
                            <p:childTnLst>
                              <p:par>
                                <p:cTn id="109" presetID="10" presetClass="entr" presetSubtype="0" fill="hold" grpId="0" nodeType="afterEffect">
                                  <p:stCondLst>
                                    <p:cond delay="0"/>
                                  </p:stCondLst>
                                  <p:childTnLst>
                                    <p:set>
                                      <p:cBhvr>
                                        <p:cTn id="110" dur="1" fill="hold">
                                          <p:stCondLst>
                                            <p:cond delay="0"/>
                                          </p:stCondLst>
                                        </p:cTn>
                                        <p:tgtEl>
                                          <p:spTgt spid="156"/>
                                        </p:tgtEl>
                                        <p:attrNameLst>
                                          <p:attrName>style.visibility</p:attrName>
                                        </p:attrNameLst>
                                      </p:cBhvr>
                                      <p:to>
                                        <p:strVal val="visible"/>
                                      </p:to>
                                    </p:set>
                                    <p:animEffect transition="in" filter="fade">
                                      <p:cBhvr>
                                        <p:cTn id="111" dur="500"/>
                                        <p:tgtEl>
                                          <p:spTgt spid="156"/>
                                        </p:tgtEl>
                                      </p:cBhvr>
                                    </p:animEffect>
                                  </p:childTnLst>
                                </p:cTn>
                              </p:par>
                            </p:childTnLst>
                          </p:cTn>
                        </p:par>
                        <p:par>
                          <p:cTn id="112" fill="hold">
                            <p:stCondLst>
                              <p:cond delay="20500"/>
                            </p:stCondLst>
                            <p:childTnLst>
                              <p:par>
                                <p:cTn id="113" presetID="10" presetClass="entr" presetSubtype="0" fill="hold" grpId="2" nodeType="afterEffect">
                                  <p:stCondLst>
                                    <p:cond delay="0"/>
                                  </p:stCondLst>
                                  <p:childTnLst>
                                    <p:set>
                                      <p:cBhvr>
                                        <p:cTn id="114" dur="1" fill="hold">
                                          <p:stCondLst>
                                            <p:cond delay="0"/>
                                          </p:stCondLst>
                                        </p:cTn>
                                        <p:tgtEl>
                                          <p:spTgt spid="157"/>
                                        </p:tgtEl>
                                        <p:attrNameLst>
                                          <p:attrName>style.visibility</p:attrName>
                                        </p:attrNameLst>
                                      </p:cBhvr>
                                      <p:to>
                                        <p:strVal val="visible"/>
                                      </p:to>
                                    </p:set>
                                    <p:animEffect transition="in" filter="fade">
                                      <p:cBhvr>
                                        <p:cTn id="115" dur="500"/>
                                        <p:tgtEl>
                                          <p:spTgt spid="157"/>
                                        </p:tgtEl>
                                      </p:cBhvr>
                                    </p:animEffect>
                                  </p:childTnLst>
                                </p:cTn>
                              </p:par>
                            </p:childTnLst>
                          </p:cTn>
                        </p:par>
                        <p:par>
                          <p:cTn id="116" fill="hold">
                            <p:stCondLst>
                              <p:cond delay="21000"/>
                            </p:stCondLst>
                            <p:childTnLst>
                              <p:par>
                                <p:cTn id="117" presetID="50" presetClass="path" presetSubtype="0" accel="50000" decel="50000" fill="hold" grpId="0" nodeType="afterEffect">
                                  <p:stCondLst>
                                    <p:cond delay="0"/>
                                  </p:stCondLst>
                                  <p:childTnLst>
                                    <p:animMotion origin="layout" path="M -0.00025 -4.99773E-6 L -0.35716 -4.99773E-6 C -0.51646 -4.99773E-6 -0.71343 0.05584 -0.71343 0.10123 L -0.71343 0.20246 " pathEditMode="relative" rAng="0" ptsTypes="AAAA">
                                      <p:cBhvr>
                                        <p:cTn id="118" dur="2000" fill="hold"/>
                                        <p:tgtEl>
                                          <p:spTgt spid="157"/>
                                        </p:tgtEl>
                                        <p:attrNameLst>
                                          <p:attrName>ppt_x</p:attrName>
                                          <p:attrName>ppt_y</p:attrName>
                                        </p:attrNameLst>
                                      </p:cBhvr>
                                      <p:rCtr x="-35665" y="10123"/>
                                    </p:animMotion>
                                  </p:childTnLst>
                                </p:cTn>
                              </p:par>
                            </p:childTnLst>
                          </p:cTn>
                        </p:par>
                        <p:par>
                          <p:cTn id="119" fill="hold">
                            <p:stCondLst>
                              <p:cond delay="23000"/>
                            </p:stCondLst>
                            <p:childTnLst>
                              <p:par>
                                <p:cTn id="120" presetID="10" presetClass="exit" presetSubtype="0" fill="hold" grpId="1" nodeType="afterEffect">
                                  <p:stCondLst>
                                    <p:cond delay="0"/>
                                  </p:stCondLst>
                                  <p:childTnLst>
                                    <p:animEffect transition="out" filter="fade">
                                      <p:cBhvr>
                                        <p:cTn id="121" dur="500"/>
                                        <p:tgtEl>
                                          <p:spTgt spid="157"/>
                                        </p:tgtEl>
                                      </p:cBhvr>
                                    </p:animEffect>
                                    <p:set>
                                      <p:cBhvr>
                                        <p:cTn id="122" dur="1" fill="hold">
                                          <p:stCondLst>
                                            <p:cond delay="499"/>
                                          </p:stCondLst>
                                        </p:cTn>
                                        <p:tgtEl>
                                          <p:spTgt spid="157"/>
                                        </p:tgtEl>
                                        <p:attrNameLst>
                                          <p:attrName>style.visibility</p:attrName>
                                        </p:attrNameLst>
                                      </p:cBhvr>
                                      <p:to>
                                        <p:strVal val="hidden"/>
                                      </p:to>
                                    </p:set>
                                  </p:childTnLst>
                                </p:cTn>
                              </p:par>
                            </p:childTnLst>
                          </p:cTn>
                        </p:par>
                        <p:par>
                          <p:cTn id="123" fill="hold">
                            <p:stCondLst>
                              <p:cond delay="23500"/>
                            </p:stCondLst>
                            <p:childTnLst>
                              <p:par>
                                <p:cTn id="124" presetID="10" presetClass="entr" presetSubtype="0" fill="hold" grpId="2" nodeType="afterEffect">
                                  <p:stCondLst>
                                    <p:cond delay="0"/>
                                  </p:stCondLst>
                                  <p:childTnLst>
                                    <p:set>
                                      <p:cBhvr>
                                        <p:cTn id="125" dur="1" fill="hold">
                                          <p:stCondLst>
                                            <p:cond delay="0"/>
                                          </p:stCondLst>
                                        </p:cTn>
                                        <p:tgtEl>
                                          <p:spTgt spid="158"/>
                                        </p:tgtEl>
                                        <p:attrNameLst>
                                          <p:attrName>style.visibility</p:attrName>
                                        </p:attrNameLst>
                                      </p:cBhvr>
                                      <p:to>
                                        <p:strVal val="visible"/>
                                      </p:to>
                                    </p:set>
                                    <p:animEffect transition="in" filter="fade">
                                      <p:cBhvr>
                                        <p:cTn id="126" dur="500"/>
                                        <p:tgtEl>
                                          <p:spTgt spid="158"/>
                                        </p:tgtEl>
                                      </p:cBhvr>
                                    </p:animEffect>
                                  </p:childTnLst>
                                </p:cTn>
                              </p:par>
                            </p:childTnLst>
                          </p:cTn>
                        </p:par>
                        <p:par>
                          <p:cTn id="127" fill="hold">
                            <p:stCondLst>
                              <p:cond delay="24000"/>
                            </p:stCondLst>
                            <p:childTnLst>
                              <p:par>
                                <p:cTn id="128" presetID="10" presetClass="exit" presetSubtype="0" fill="hold" grpId="1" nodeType="afterEffect">
                                  <p:stCondLst>
                                    <p:cond delay="0"/>
                                  </p:stCondLst>
                                  <p:childTnLst>
                                    <p:animEffect transition="out" filter="fade">
                                      <p:cBhvr>
                                        <p:cTn id="129" dur="500"/>
                                        <p:tgtEl>
                                          <p:spTgt spid="158"/>
                                        </p:tgtEl>
                                      </p:cBhvr>
                                    </p:animEffect>
                                    <p:set>
                                      <p:cBhvr>
                                        <p:cTn id="130" dur="1" fill="hold">
                                          <p:stCondLst>
                                            <p:cond delay="499"/>
                                          </p:stCondLst>
                                        </p:cTn>
                                        <p:tgtEl>
                                          <p:spTgt spid="158"/>
                                        </p:tgtEl>
                                        <p:attrNameLst>
                                          <p:attrName>style.visibility</p:attrName>
                                        </p:attrNameLst>
                                      </p:cBhvr>
                                      <p:to>
                                        <p:strVal val="hidden"/>
                                      </p:to>
                                    </p:set>
                                  </p:childTnLst>
                                </p:cTn>
                              </p:par>
                            </p:childTnLst>
                          </p:cTn>
                        </p:par>
                        <p:par>
                          <p:cTn id="131" fill="hold">
                            <p:stCondLst>
                              <p:cond delay="24500"/>
                            </p:stCondLst>
                            <p:childTnLst>
                              <p:par>
                                <p:cTn id="132" presetID="19" presetClass="emph" presetSubtype="0" fill="hold" grpId="0" nodeType="afterEffect">
                                  <p:stCondLst>
                                    <p:cond delay="0"/>
                                  </p:stCondLst>
                                  <p:childTnLst>
                                    <p:animClr clrSpc="rgb" dir="cw">
                                      <p:cBhvr override="childStyle">
                                        <p:cTn id="133" dur="500" fill="hold"/>
                                        <p:tgtEl>
                                          <p:spTgt spid="130"/>
                                        </p:tgtEl>
                                        <p:attrNameLst>
                                          <p:attrName>style.color</p:attrName>
                                        </p:attrNameLst>
                                      </p:cBhvr>
                                      <p:to>
                                        <a:srgbClr val="3523BB"/>
                                      </p:to>
                                    </p:animClr>
                                    <p:animClr clrSpc="rgb" dir="cw">
                                      <p:cBhvr>
                                        <p:cTn id="134" dur="500" fill="hold"/>
                                        <p:tgtEl>
                                          <p:spTgt spid="130"/>
                                        </p:tgtEl>
                                        <p:attrNameLst>
                                          <p:attrName>fillcolor</p:attrName>
                                        </p:attrNameLst>
                                      </p:cBhvr>
                                      <p:to>
                                        <a:srgbClr val="3523BB"/>
                                      </p:to>
                                    </p:animClr>
                                    <p:set>
                                      <p:cBhvr>
                                        <p:cTn id="135" dur="500" fill="hold"/>
                                        <p:tgtEl>
                                          <p:spTgt spid="130"/>
                                        </p:tgtEl>
                                        <p:attrNameLst>
                                          <p:attrName>fill.type</p:attrName>
                                        </p:attrNameLst>
                                      </p:cBhvr>
                                      <p:to>
                                        <p:strVal val="solid"/>
                                      </p:to>
                                    </p:set>
                                    <p:set>
                                      <p:cBhvr>
                                        <p:cTn id="136" dur="500" fill="hold"/>
                                        <p:tgtEl>
                                          <p:spTgt spid="130"/>
                                        </p:tgtEl>
                                        <p:attrNameLst>
                                          <p:attrName>fill.on</p:attrName>
                                        </p:attrNameLst>
                                      </p:cBhvr>
                                      <p:to>
                                        <p:strVal val="true"/>
                                      </p:to>
                                    </p:set>
                                  </p:childTnLst>
                                </p:cTn>
                              </p:par>
                            </p:childTnLst>
                          </p:cTn>
                        </p:par>
                        <p:par>
                          <p:cTn id="137" fill="hold">
                            <p:stCondLst>
                              <p:cond delay="25000"/>
                            </p:stCondLst>
                            <p:childTnLst>
                              <p:par>
                                <p:cTn id="138" presetID="10" presetClass="entr" presetSubtype="0" fill="hold" grpId="0" nodeType="afterEffect">
                                  <p:stCondLst>
                                    <p:cond delay="0"/>
                                  </p:stCondLst>
                                  <p:childTnLst>
                                    <p:set>
                                      <p:cBhvr>
                                        <p:cTn id="139" dur="1" fill="hold">
                                          <p:stCondLst>
                                            <p:cond delay="0"/>
                                          </p:stCondLst>
                                        </p:cTn>
                                        <p:tgtEl>
                                          <p:spTgt spid="159"/>
                                        </p:tgtEl>
                                        <p:attrNameLst>
                                          <p:attrName>style.visibility</p:attrName>
                                        </p:attrNameLst>
                                      </p:cBhvr>
                                      <p:to>
                                        <p:strVal val="visible"/>
                                      </p:to>
                                    </p:set>
                                    <p:animEffect transition="in" filter="fade">
                                      <p:cBhvr>
                                        <p:cTn id="140" dur="500"/>
                                        <p:tgtEl>
                                          <p:spTgt spid="159"/>
                                        </p:tgtEl>
                                      </p:cBhvr>
                                    </p:animEffect>
                                  </p:childTnLst>
                                </p:cTn>
                              </p:par>
                            </p:childTnLst>
                          </p:cTn>
                        </p:par>
                        <p:par>
                          <p:cTn id="141" fill="hold">
                            <p:stCondLst>
                              <p:cond delay="25500"/>
                            </p:stCondLst>
                            <p:childTnLst>
                              <p:par>
                                <p:cTn id="142" presetID="10" presetClass="exit" presetSubtype="0" fill="hold" grpId="0" nodeType="afterEffect">
                                  <p:stCondLst>
                                    <p:cond delay="1000"/>
                                  </p:stCondLst>
                                  <p:childTnLst>
                                    <p:animEffect transition="out" filter="fade">
                                      <p:cBhvr>
                                        <p:cTn id="143" dur="500"/>
                                        <p:tgtEl>
                                          <p:spTgt spid="86"/>
                                        </p:tgtEl>
                                      </p:cBhvr>
                                    </p:animEffect>
                                    <p:set>
                                      <p:cBhvr>
                                        <p:cTn id="144" dur="1" fill="hold">
                                          <p:stCondLst>
                                            <p:cond delay="499"/>
                                          </p:stCondLst>
                                        </p:cTn>
                                        <p:tgtEl>
                                          <p:spTgt spid="86"/>
                                        </p:tgtEl>
                                        <p:attrNameLst>
                                          <p:attrName>style.visibility</p:attrName>
                                        </p:attrNameLst>
                                      </p:cBhvr>
                                      <p:to>
                                        <p:strVal val="hidden"/>
                                      </p:to>
                                    </p:set>
                                  </p:childTnLst>
                                </p:cTn>
                              </p:par>
                              <p:par>
                                <p:cTn id="145" presetID="10" presetClass="exit" presetSubtype="0" fill="hold" grpId="0" nodeType="withEffect">
                                  <p:stCondLst>
                                    <p:cond delay="1000"/>
                                  </p:stCondLst>
                                  <p:childTnLst>
                                    <p:animEffect transition="out" filter="fade">
                                      <p:cBhvr>
                                        <p:cTn id="146" dur="500"/>
                                        <p:tgtEl>
                                          <p:spTgt spid="87"/>
                                        </p:tgtEl>
                                      </p:cBhvr>
                                    </p:animEffect>
                                    <p:set>
                                      <p:cBhvr>
                                        <p:cTn id="147" dur="1" fill="hold">
                                          <p:stCondLst>
                                            <p:cond delay="499"/>
                                          </p:stCondLst>
                                        </p:cTn>
                                        <p:tgtEl>
                                          <p:spTgt spid="87"/>
                                        </p:tgtEl>
                                        <p:attrNameLst>
                                          <p:attrName>style.visibility</p:attrName>
                                        </p:attrNameLst>
                                      </p:cBhvr>
                                      <p:to>
                                        <p:strVal val="hidden"/>
                                      </p:to>
                                    </p:set>
                                  </p:childTnLst>
                                </p:cTn>
                              </p:par>
                              <p:par>
                                <p:cTn id="148" presetID="10" presetClass="exit" presetSubtype="0" fill="hold" grpId="0" nodeType="withEffect">
                                  <p:stCondLst>
                                    <p:cond delay="1000"/>
                                  </p:stCondLst>
                                  <p:childTnLst>
                                    <p:animEffect transition="out" filter="fade">
                                      <p:cBhvr>
                                        <p:cTn id="149" dur="500"/>
                                        <p:tgtEl>
                                          <p:spTgt spid="88"/>
                                        </p:tgtEl>
                                      </p:cBhvr>
                                    </p:animEffect>
                                    <p:set>
                                      <p:cBhvr>
                                        <p:cTn id="150" dur="1" fill="hold">
                                          <p:stCondLst>
                                            <p:cond delay="499"/>
                                          </p:stCondLst>
                                        </p:cTn>
                                        <p:tgtEl>
                                          <p:spTgt spid="88"/>
                                        </p:tgtEl>
                                        <p:attrNameLst>
                                          <p:attrName>style.visibility</p:attrName>
                                        </p:attrNameLst>
                                      </p:cBhvr>
                                      <p:to>
                                        <p:strVal val="hidden"/>
                                      </p:to>
                                    </p:set>
                                  </p:childTnLst>
                                </p:cTn>
                              </p:par>
                              <p:par>
                                <p:cTn id="151" presetID="10" presetClass="exit" presetSubtype="0" fill="hold" grpId="0" nodeType="withEffect">
                                  <p:stCondLst>
                                    <p:cond delay="1000"/>
                                  </p:stCondLst>
                                  <p:childTnLst>
                                    <p:animEffect transition="out" filter="fade">
                                      <p:cBhvr>
                                        <p:cTn id="152" dur="500"/>
                                        <p:tgtEl>
                                          <p:spTgt spid="89"/>
                                        </p:tgtEl>
                                      </p:cBhvr>
                                    </p:animEffect>
                                    <p:set>
                                      <p:cBhvr>
                                        <p:cTn id="153" dur="1" fill="hold">
                                          <p:stCondLst>
                                            <p:cond delay="499"/>
                                          </p:stCondLst>
                                        </p:cTn>
                                        <p:tgtEl>
                                          <p:spTgt spid="89"/>
                                        </p:tgtEl>
                                        <p:attrNameLst>
                                          <p:attrName>style.visibility</p:attrName>
                                        </p:attrNameLst>
                                      </p:cBhvr>
                                      <p:to>
                                        <p:strVal val="hidden"/>
                                      </p:to>
                                    </p:set>
                                  </p:childTnLst>
                                </p:cTn>
                              </p:par>
                              <p:par>
                                <p:cTn id="154" presetID="10" presetClass="exit" presetSubtype="0" fill="hold" grpId="0" nodeType="withEffect">
                                  <p:stCondLst>
                                    <p:cond delay="1000"/>
                                  </p:stCondLst>
                                  <p:childTnLst>
                                    <p:animEffect transition="out" filter="fade">
                                      <p:cBhvr>
                                        <p:cTn id="155" dur="500"/>
                                        <p:tgtEl>
                                          <p:spTgt spid="90"/>
                                        </p:tgtEl>
                                      </p:cBhvr>
                                    </p:animEffect>
                                    <p:set>
                                      <p:cBhvr>
                                        <p:cTn id="156" dur="1" fill="hold">
                                          <p:stCondLst>
                                            <p:cond delay="499"/>
                                          </p:stCondLst>
                                        </p:cTn>
                                        <p:tgtEl>
                                          <p:spTgt spid="90"/>
                                        </p:tgtEl>
                                        <p:attrNameLst>
                                          <p:attrName>style.visibility</p:attrName>
                                        </p:attrNameLst>
                                      </p:cBhvr>
                                      <p:to>
                                        <p:strVal val="hidden"/>
                                      </p:to>
                                    </p:set>
                                  </p:childTnLst>
                                </p:cTn>
                              </p:par>
                              <p:par>
                                <p:cTn id="157" presetID="10" presetClass="exit" presetSubtype="0" fill="hold" grpId="0" nodeType="withEffect">
                                  <p:stCondLst>
                                    <p:cond delay="1000"/>
                                  </p:stCondLst>
                                  <p:childTnLst>
                                    <p:animEffect transition="out" filter="fade">
                                      <p:cBhvr>
                                        <p:cTn id="158" dur="500"/>
                                        <p:tgtEl>
                                          <p:spTgt spid="91"/>
                                        </p:tgtEl>
                                      </p:cBhvr>
                                    </p:animEffect>
                                    <p:set>
                                      <p:cBhvr>
                                        <p:cTn id="159" dur="1" fill="hold">
                                          <p:stCondLst>
                                            <p:cond delay="499"/>
                                          </p:stCondLst>
                                        </p:cTn>
                                        <p:tgtEl>
                                          <p:spTgt spid="91"/>
                                        </p:tgtEl>
                                        <p:attrNameLst>
                                          <p:attrName>style.visibility</p:attrName>
                                        </p:attrNameLst>
                                      </p:cBhvr>
                                      <p:to>
                                        <p:strVal val="hidden"/>
                                      </p:to>
                                    </p:set>
                                  </p:childTnLst>
                                </p:cTn>
                              </p:par>
                              <p:par>
                                <p:cTn id="160" presetID="10" presetClass="exit" presetSubtype="0" fill="hold" grpId="0" nodeType="withEffect">
                                  <p:stCondLst>
                                    <p:cond delay="1000"/>
                                  </p:stCondLst>
                                  <p:childTnLst>
                                    <p:animEffect transition="out" filter="fade">
                                      <p:cBhvr>
                                        <p:cTn id="161" dur="500"/>
                                        <p:tgtEl>
                                          <p:spTgt spid="98"/>
                                        </p:tgtEl>
                                      </p:cBhvr>
                                    </p:animEffect>
                                    <p:set>
                                      <p:cBhvr>
                                        <p:cTn id="162" dur="1" fill="hold">
                                          <p:stCondLst>
                                            <p:cond delay="499"/>
                                          </p:stCondLst>
                                        </p:cTn>
                                        <p:tgtEl>
                                          <p:spTgt spid="98"/>
                                        </p:tgtEl>
                                        <p:attrNameLst>
                                          <p:attrName>style.visibility</p:attrName>
                                        </p:attrNameLst>
                                      </p:cBhvr>
                                      <p:to>
                                        <p:strVal val="hidden"/>
                                      </p:to>
                                    </p:set>
                                  </p:childTnLst>
                                </p:cTn>
                              </p:par>
                              <p:par>
                                <p:cTn id="163" presetID="10" presetClass="exit" presetSubtype="0" fill="hold" grpId="0" nodeType="withEffect">
                                  <p:stCondLst>
                                    <p:cond delay="1000"/>
                                  </p:stCondLst>
                                  <p:childTnLst>
                                    <p:animEffect transition="out" filter="fade">
                                      <p:cBhvr>
                                        <p:cTn id="164" dur="500"/>
                                        <p:tgtEl>
                                          <p:spTgt spid="99"/>
                                        </p:tgtEl>
                                      </p:cBhvr>
                                    </p:animEffect>
                                    <p:set>
                                      <p:cBhvr>
                                        <p:cTn id="165" dur="1" fill="hold">
                                          <p:stCondLst>
                                            <p:cond delay="499"/>
                                          </p:stCondLst>
                                        </p:cTn>
                                        <p:tgtEl>
                                          <p:spTgt spid="99"/>
                                        </p:tgtEl>
                                        <p:attrNameLst>
                                          <p:attrName>style.visibility</p:attrName>
                                        </p:attrNameLst>
                                      </p:cBhvr>
                                      <p:to>
                                        <p:strVal val="hidden"/>
                                      </p:to>
                                    </p:set>
                                  </p:childTnLst>
                                </p:cTn>
                              </p:par>
                              <p:par>
                                <p:cTn id="166" presetID="10" presetClass="exit" presetSubtype="0" fill="hold" grpId="0" nodeType="withEffect">
                                  <p:stCondLst>
                                    <p:cond delay="1000"/>
                                  </p:stCondLst>
                                  <p:childTnLst>
                                    <p:animEffect transition="out" filter="fade">
                                      <p:cBhvr>
                                        <p:cTn id="167" dur="500"/>
                                        <p:tgtEl>
                                          <p:spTgt spid="100"/>
                                        </p:tgtEl>
                                      </p:cBhvr>
                                    </p:animEffect>
                                    <p:set>
                                      <p:cBhvr>
                                        <p:cTn id="168" dur="1" fill="hold">
                                          <p:stCondLst>
                                            <p:cond delay="499"/>
                                          </p:stCondLst>
                                        </p:cTn>
                                        <p:tgtEl>
                                          <p:spTgt spid="100"/>
                                        </p:tgtEl>
                                        <p:attrNameLst>
                                          <p:attrName>style.visibility</p:attrName>
                                        </p:attrNameLst>
                                      </p:cBhvr>
                                      <p:to>
                                        <p:strVal val="hidden"/>
                                      </p:to>
                                    </p:set>
                                  </p:childTnLst>
                                </p:cTn>
                              </p:par>
                              <p:par>
                                <p:cTn id="169" presetID="10" presetClass="exit" presetSubtype="0" fill="hold" grpId="0" nodeType="withEffect">
                                  <p:stCondLst>
                                    <p:cond delay="1000"/>
                                  </p:stCondLst>
                                  <p:childTnLst>
                                    <p:animEffect transition="out" filter="fade">
                                      <p:cBhvr>
                                        <p:cTn id="170" dur="500"/>
                                        <p:tgtEl>
                                          <p:spTgt spid="101"/>
                                        </p:tgtEl>
                                      </p:cBhvr>
                                    </p:animEffect>
                                    <p:set>
                                      <p:cBhvr>
                                        <p:cTn id="171" dur="1" fill="hold">
                                          <p:stCondLst>
                                            <p:cond delay="499"/>
                                          </p:stCondLst>
                                        </p:cTn>
                                        <p:tgtEl>
                                          <p:spTgt spid="101"/>
                                        </p:tgtEl>
                                        <p:attrNameLst>
                                          <p:attrName>style.visibility</p:attrName>
                                        </p:attrNameLst>
                                      </p:cBhvr>
                                      <p:to>
                                        <p:strVal val="hidden"/>
                                      </p:to>
                                    </p:set>
                                  </p:childTnLst>
                                </p:cTn>
                              </p:par>
                              <p:par>
                                <p:cTn id="172" presetID="10" presetClass="exit" presetSubtype="0" fill="hold" grpId="0" nodeType="withEffect">
                                  <p:stCondLst>
                                    <p:cond delay="1000"/>
                                  </p:stCondLst>
                                  <p:childTnLst>
                                    <p:animEffect transition="out" filter="fade">
                                      <p:cBhvr>
                                        <p:cTn id="173" dur="500"/>
                                        <p:tgtEl>
                                          <p:spTgt spid="102"/>
                                        </p:tgtEl>
                                      </p:cBhvr>
                                    </p:animEffect>
                                    <p:set>
                                      <p:cBhvr>
                                        <p:cTn id="174" dur="1" fill="hold">
                                          <p:stCondLst>
                                            <p:cond delay="499"/>
                                          </p:stCondLst>
                                        </p:cTn>
                                        <p:tgtEl>
                                          <p:spTgt spid="102"/>
                                        </p:tgtEl>
                                        <p:attrNameLst>
                                          <p:attrName>style.visibility</p:attrName>
                                        </p:attrNameLst>
                                      </p:cBhvr>
                                      <p:to>
                                        <p:strVal val="hidden"/>
                                      </p:to>
                                    </p:set>
                                  </p:childTnLst>
                                </p:cTn>
                              </p:par>
                              <p:par>
                                <p:cTn id="175" presetID="10" presetClass="exit" presetSubtype="0" fill="hold" grpId="0" nodeType="withEffect">
                                  <p:stCondLst>
                                    <p:cond delay="1000"/>
                                  </p:stCondLst>
                                  <p:childTnLst>
                                    <p:animEffect transition="out" filter="fade">
                                      <p:cBhvr>
                                        <p:cTn id="176" dur="500"/>
                                        <p:tgtEl>
                                          <p:spTgt spid="103"/>
                                        </p:tgtEl>
                                      </p:cBhvr>
                                    </p:animEffect>
                                    <p:set>
                                      <p:cBhvr>
                                        <p:cTn id="177" dur="1" fill="hold">
                                          <p:stCondLst>
                                            <p:cond delay="499"/>
                                          </p:stCondLst>
                                        </p:cTn>
                                        <p:tgtEl>
                                          <p:spTgt spid="103"/>
                                        </p:tgtEl>
                                        <p:attrNameLst>
                                          <p:attrName>style.visibility</p:attrName>
                                        </p:attrNameLst>
                                      </p:cBhvr>
                                      <p:to>
                                        <p:strVal val="hidden"/>
                                      </p:to>
                                    </p:set>
                                  </p:childTnLst>
                                </p:cTn>
                              </p:par>
                              <p:par>
                                <p:cTn id="178" presetID="10" presetClass="exit" presetSubtype="0" fill="hold" grpId="0" nodeType="withEffect">
                                  <p:stCondLst>
                                    <p:cond delay="1000"/>
                                  </p:stCondLst>
                                  <p:childTnLst>
                                    <p:animEffect transition="out" filter="fade">
                                      <p:cBhvr>
                                        <p:cTn id="179" dur="500"/>
                                        <p:tgtEl>
                                          <p:spTgt spid="110"/>
                                        </p:tgtEl>
                                      </p:cBhvr>
                                    </p:animEffect>
                                    <p:set>
                                      <p:cBhvr>
                                        <p:cTn id="180" dur="1" fill="hold">
                                          <p:stCondLst>
                                            <p:cond delay="499"/>
                                          </p:stCondLst>
                                        </p:cTn>
                                        <p:tgtEl>
                                          <p:spTgt spid="110"/>
                                        </p:tgtEl>
                                        <p:attrNameLst>
                                          <p:attrName>style.visibility</p:attrName>
                                        </p:attrNameLst>
                                      </p:cBhvr>
                                      <p:to>
                                        <p:strVal val="hidden"/>
                                      </p:to>
                                    </p:set>
                                  </p:childTnLst>
                                </p:cTn>
                              </p:par>
                              <p:par>
                                <p:cTn id="181" presetID="10" presetClass="exit" presetSubtype="0" fill="hold" grpId="0" nodeType="withEffect">
                                  <p:stCondLst>
                                    <p:cond delay="1000"/>
                                  </p:stCondLst>
                                  <p:childTnLst>
                                    <p:animEffect transition="out" filter="fade">
                                      <p:cBhvr>
                                        <p:cTn id="182" dur="500"/>
                                        <p:tgtEl>
                                          <p:spTgt spid="111"/>
                                        </p:tgtEl>
                                      </p:cBhvr>
                                    </p:animEffect>
                                    <p:set>
                                      <p:cBhvr>
                                        <p:cTn id="183" dur="1" fill="hold">
                                          <p:stCondLst>
                                            <p:cond delay="499"/>
                                          </p:stCondLst>
                                        </p:cTn>
                                        <p:tgtEl>
                                          <p:spTgt spid="111"/>
                                        </p:tgtEl>
                                        <p:attrNameLst>
                                          <p:attrName>style.visibility</p:attrName>
                                        </p:attrNameLst>
                                      </p:cBhvr>
                                      <p:to>
                                        <p:strVal val="hidden"/>
                                      </p:to>
                                    </p:set>
                                  </p:childTnLst>
                                </p:cTn>
                              </p:par>
                              <p:par>
                                <p:cTn id="184" presetID="10" presetClass="exit" presetSubtype="0" fill="hold" grpId="0" nodeType="withEffect">
                                  <p:stCondLst>
                                    <p:cond delay="1000"/>
                                  </p:stCondLst>
                                  <p:childTnLst>
                                    <p:animEffect transition="out" filter="fade">
                                      <p:cBhvr>
                                        <p:cTn id="185" dur="500"/>
                                        <p:tgtEl>
                                          <p:spTgt spid="112"/>
                                        </p:tgtEl>
                                      </p:cBhvr>
                                    </p:animEffect>
                                    <p:set>
                                      <p:cBhvr>
                                        <p:cTn id="186" dur="1" fill="hold">
                                          <p:stCondLst>
                                            <p:cond delay="499"/>
                                          </p:stCondLst>
                                        </p:cTn>
                                        <p:tgtEl>
                                          <p:spTgt spid="112"/>
                                        </p:tgtEl>
                                        <p:attrNameLst>
                                          <p:attrName>style.visibility</p:attrName>
                                        </p:attrNameLst>
                                      </p:cBhvr>
                                      <p:to>
                                        <p:strVal val="hidden"/>
                                      </p:to>
                                    </p:set>
                                  </p:childTnLst>
                                </p:cTn>
                              </p:par>
                              <p:par>
                                <p:cTn id="187" presetID="10" presetClass="exit" presetSubtype="0" fill="hold" grpId="0" nodeType="withEffect">
                                  <p:stCondLst>
                                    <p:cond delay="1000"/>
                                  </p:stCondLst>
                                  <p:childTnLst>
                                    <p:animEffect transition="out" filter="fade">
                                      <p:cBhvr>
                                        <p:cTn id="188" dur="500"/>
                                        <p:tgtEl>
                                          <p:spTgt spid="113"/>
                                        </p:tgtEl>
                                      </p:cBhvr>
                                    </p:animEffect>
                                    <p:set>
                                      <p:cBhvr>
                                        <p:cTn id="189" dur="1" fill="hold">
                                          <p:stCondLst>
                                            <p:cond delay="499"/>
                                          </p:stCondLst>
                                        </p:cTn>
                                        <p:tgtEl>
                                          <p:spTgt spid="113"/>
                                        </p:tgtEl>
                                        <p:attrNameLst>
                                          <p:attrName>style.visibility</p:attrName>
                                        </p:attrNameLst>
                                      </p:cBhvr>
                                      <p:to>
                                        <p:strVal val="hidden"/>
                                      </p:to>
                                    </p:set>
                                  </p:childTnLst>
                                </p:cTn>
                              </p:par>
                              <p:par>
                                <p:cTn id="190" presetID="10" presetClass="exit" presetSubtype="0" fill="hold" grpId="0" nodeType="withEffect">
                                  <p:stCondLst>
                                    <p:cond delay="1000"/>
                                  </p:stCondLst>
                                  <p:childTnLst>
                                    <p:animEffect transition="out" filter="fade">
                                      <p:cBhvr>
                                        <p:cTn id="191" dur="500"/>
                                        <p:tgtEl>
                                          <p:spTgt spid="114"/>
                                        </p:tgtEl>
                                      </p:cBhvr>
                                    </p:animEffect>
                                    <p:set>
                                      <p:cBhvr>
                                        <p:cTn id="192" dur="1" fill="hold">
                                          <p:stCondLst>
                                            <p:cond delay="499"/>
                                          </p:stCondLst>
                                        </p:cTn>
                                        <p:tgtEl>
                                          <p:spTgt spid="114"/>
                                        </p:tgtEl>
                                        <p:attrNameLst>
                                          <p:attrName>style.visibility</p:attrName>
                                        </p:attrNameLst>
                                      </p:cBhvr>
                                      <p:to>
                                        <p:strVal val="hidden"/>
                                      </p:to>
                                    </p:set>
                                  </p:childTnLst>
                                </p:cTn>
                              </p:par>
                              <p:par>
                                <p:cTn id="193" presetID="10" presetClass="exit" presetSubtype="0" fill="hold" grpId="0" nodeType="withEffect">
                                  <p:stCondLst>
                                    <p:cond delay="1000"/>
                                  </p:stCondLst>
                                  <p:childTnLst>
                                    <p:animEffect transition="out" filter="fade">
                                      <p:cBhvr>
                                        <p:cTn id="194" dur="500"/>
                                        <p:tgtEl>
                                          <p:spTgt spid="115"/>
                                        </p:tgtEl>
                                      </p:cBhvr>
                                    </p:animEffect>
                                    <p:set>
                                      <p:cBhvr>
                                        <p:cTn id="195" dur="1" fill="hold">
                                          <p:stCondLst>
                                            <p:cond delay="499"/>
                                          </p:stCondLst>
                                        </p:cTn>
                                        <p:tgtEl>
                                          <p:spTgt spid="115"/>
                                        </p:tgtEl>
                                        <p:attrNameLst>
                                          <p:attrName>style.visibility</p:attrName>
                                        </p:attrNameLst>
                                      </p:cBhvr>
                                      <p:to>
                                        <p:strVal val="hidden"/>
                                      </p:to>
                                    </p:set>
                                  </p:childTnLst>
                                </p:cTn>
                              </p:par>
                              <p:par>
                                <p:cTn id="196" presetID="10" presetClass="exit" presetSubtype="0" fill="hold" grpId="0" nodeType="withEffect">
                                  <p:stCondLst>
                                    <p:cond delay="1000"/>
                                  </p:stCondLst>
                                  <p:childTnLst>
                                    <p:animEffect transition="out" filter="fade">
                                      <p:cBhvr>
                                        <p:cTn id="197" dur="500"/>
                                        <p:tgtEl>
                                          <p:spTgt spid="122"/>
                                        </p:tgtEl>
                                      </p:cBhvr>
                                    </p:animEffect>
                                    <p:set>
                                      <p:cBhvr>
                                        <p:cTn id="198" dur="1" fill="hold">
                                          <p:stCondLst>
                                            <p:cond delay="499"/>
                                          </p:stCondLst>
                                        </p:cTn>
                                        <p:tgtEl>
                                          <p:spTgt spid="122"/>
                                        </p:tgtEl>
                                        <p:attrNameLst>
                                          <p:attrName>style.visibility</p:attrName>
                                        </p:attrNameLst>
                                      </p:cBhvr>
                                      <p:to>
                                        <p:strVal val="hidden"/>
                                      </p:to>
                                    </p:set>
                                  </p:childTnLst>
                                </p:cTn>
                              </p:par>
                              <p:par>
                                <p:cTn id="199" presetID="10" presetClass="exit" presetSubtype="0" fill="hold" grpId="0" nodeType="withEffect">
                                  <p:stCondLst>
                                    <p:cond delay="1000"/>
                                  </p:stCondLst>
                                  <p:childTnLst>
                                    <p:animEffect transition="out" filter="fade">
                                      <p:cBhvr>
                                        <p:cTn id="200" dur="500"/>
                                        <p:tgtEl>
                                          <p:spTgt spid="123"/>
                                        </p:tgtEl>
                                      </p:cBhvr>
                                    </p:animEffect>
                                    <p:set>
                                      <p:cBhvr>
                                        <p:cTn id="201" dur="1" fill="hold">
                                          <p:stCondLst>
                                            <p:cond delay="499"/>
                                          </p:stCondLst>
                                        </p:cTn>
                                        <p:tgtEl>
                                          <p:spTgt spid="123"/>
                                        </p:tgtEl>
                                        <p:attrNameLst>
                                          <p:attrName>style.visibility</p:attrName>
                                        </p:attrNameLst>
                                      </p:cBhvr>
                                      <p:to>
                                        <p:strVal val="hidden"/>
                                      </p:to>
                                    </p:set>
                                  </p:childTnLst>
                                </p:cTn>
                              </p:par>
                              <p:par>
                                <p:cTn id="202" presetID="10" presetClass="exit" presetSubtype="0" fill="hold" grpId="0" nodeType="withEffect">
                                  <p:stCondLst>
                                    <p:cond delay="1000"/>
                                  </p:stCondLst>
                                  <p:childTnLst>
                                    <p:animEffect transition="out" filter="fade">
                                      <p:cBhvr>
                                        <p:cTn id="203" dur="500"/>
                                        <p:tgtEl>
                                          <p:spTgt spid="124"/>
                                        </p:tgtEl>
                                      </p:cBhvr>
                                    </p:animEffect>
                                    <p:set>
                                      <p:cBhvr>
                                        <p:cTn id="204" dur="1" fill="hold">
                                          <p:stCondLst>
                                            <p:cond delay="499"/>
                                          </p:stCondLst>
                                        </p:cTn>
                                        <p:tgtEl>
                                          <p:spTgt spid="124"/>
                                        </p:tgtEl>
                                        <p:attrNameLst>
                                          <p:attrName>style.visibility</p:attrName>
                                        </p:attrNameLst>
                                      </p:cBhvr>
                                      <p:to>
                                        <p:strVal val="hidden"/>
                                      </p:to>
                                    </p:set>
                                  </p:childTnLst>
                                </p:cTn>
                              </p:par>
                              <p:par>
                                <p:cTn id="205" presetID="10" presetClass="exit" presetSubtype="0" fill="hold" grpId="0" nodeType="withEffect">
                                  <p:stCondLst>
                                    <p:cond delay="1000"/>
                                  </p:stCondLst>
                                  <p:childTnLst>
                                    <p:animEffect transition="out" filter="fade">
                                      <p:cBhvr>
                                        <p:cTn id="206" dur="500"/>
                                        <p:tgtEl>
                                          <p:spTgt spid="125"/>
                                        </p:tgtEl>
                                      </p:cBhvr>
                                    </p:animEffect>
                                    <p:set>
                                      <p:cBhvr>
                                        <p:cTn id="207" dur="1" fill="hold">
                                          <p:stCondLst>
                                            <p:cond delay="499"/>
                                          </p:stCondLst>
                                        </p:cTn>
                                        <p:tgtEl>
                                          <p:spTgt spid="125"/>
                                        </p:tgtEl>
                                        <p:attrNameLst>
                                          <p:attrName>style.visibility</p:attrName>
                                        </p:attrNameLst>
                                      </p:cBhvr>
                                      <p:to>
                                        <p:strVal val="hidden"/>
                                      </p:to>
                                    </p:set>
                                  </p:childTnLst>
                                </p:cTn>
                              </p:par>
                              <p:par>
                                <p:cTn id="208" presetID="10" presetClass="exit" presetSubtype="0" fill="hold" grpId="0" nodeType="withEffect">
                                  <p:stCondLst>
                                    <p:cond delay="1000"/>
                                  </p:stCondLst>
                                  <p:childTnLst>
                                    <p:animEffect transition="out" filter="fade">
                                      <p:cBhvr>
                                        <p:cTn id="209" dur="500"/>
                                        <p:tgtEl>
                                          <p:spTgt spid="126"/>
                                        </p:tgtEl>
                                      </p:cBhvr>
                                    </p:animEffect>
                                    <p:set>
                                      <p:cBhvr>
                                        <p:cTn id="210" dur="1" fill="hold">
                                          <p:stCondLst>
                                            <p:cond delay="499"/>
                                          </p:stCondLst>
                                        </p:cTn>
                                        <p:tgtEl>
                                          <p:spTgt spid="126"/>
                                        </p:tgtEl>
                                        <p:attrNameLst>
                                          <p:attrName>style.visibility</p:attrName>
                                        </p:attrNameLst>
                                      </p:cBhvr>
                                      <p:to>
                                        <p:strVal val="hidden"/>
                                      </p:to>
                                    </p:set>
                                  </p:childTnLst>
                                </p:cTn>
                              </p:par>
                              <p:par>
                                <p:cTn id="211" presetID="10" presetClass="exit" presetSubtype="0" fill="hold" grpId="0" nodeType="withEffect">
                                  <p:stCondLst>
                                    <p:cond delay="1000"/>
                                  </p:stCondLst>
                                  <p:childTnLst>
                                    <p:animEffect transition="out" filter="fade">
                                      <p:cBhvr>
                                        <p:cTn id="212" dur="500"/>
                                        <p:tgtEl>
                                          <p:spTgt spid="127"/>
                                        </p:tgtEl>
                                      </p:cBhvr>
                                    </p:animEffect>
                                    <p:set>
                                      <p:cBhvr>
                                        <p:cTn id="213" dur="1" fill="hold">
                                          <p:stCondLst>
                                            <p:cond delay="499"/>
                                          </p:stCondLst>
                                        </p:cTn>
                                        <p:tgtEl>
                                          <p:spTgt spid="127"/>
                                        </p:tgtEl>
                                        <p:attrNameLst>
                                          <p:attrName>style.visibility</p:attrName>
                                        </p:attrNameLst>
                                      </p:cBhvr>
                                      <p:to>
                                        <p:strVal val="hidden"/>
                                      </p:to>
                                    </p:set>
                                  </p:childTnLst>
                                </p:cTn>
                              </p:par>
                            </p:childTnLst>
                          </p:cTn>
                        </p:par>
                        <p:par>
                          <p:cTn id="214" fill="hold">
                            <p:stCondLst>
                              <p:cond delay="27000"/>
                            </p:stCondLst>
                            <p:childTnLst>
                              <p:par>
                                <p:cTn id="215" presetID="10" presetClass="entr" presetSubtype="0" fill="hold" grpId="0" nodeType="afterEffect">
                                  <p:stCondLst>
                                    <p:cond delay="0"/>
                                  </p:stCondLst>
                                  <p:childTnLst>
                                    <p:set>
                                      <p:cBhvr>
                                        <p:cTn id="216" dur="1" fill="hold">
                                          <p:stCondLst>
                                            <p:cond delay="0"/>
                                          </p:stCondLst>
                                        </p:cTn>
                                        <p:tgtEl>
                                          <p:spTgt spid="168">
                                            <p:graphicEl>
                                              <a:dgm id="{8688B365-703D-4425-B132-39AED29BF5AB}"/>
                                            </p:graphicEl>
                                          </p:spTgt>
                                        </p:tgtEl>
                                        <p:attrNameLst>
                                          <p:attrName>style.visibility</p:attrName>
                                        </p:attrNameLst>
                                      </p:cBhvr>
                                      <p:to>
                                        <p:strVal val="visible"/>
                                      </p:to>
                                    </p:set>
                                    <p:animEffect transition="in" filter="fade">
                                      <p:cBhvr>
                                        <p:cTn id="217" dur="500"/>
                                        <p:tgtEl>
                                          <p:spTgt spid="168">
                                            <p:graphicEl>
                                              <a:dgm id="{8688B365-703D-4425-B132-39AED29BF5AB}"/>
                                            </p:graphicEl>
                                          </p:spTgt>
                                        </p:tgtEl>
                                      </p:cBhvr>
                                    </p:animEffect>
                                  </p:childTnLst>
                                </p:cTn>
                              </p:par>
                              <p:par>
                                <p:cTn id="218" presetID="10" presetClass="entr" presetSubtype="0" fill="hold" grpId="0" nodeType="withEffect">
                                  <p:stCondLst>
                                    <p:cond delay="0"/>
                                  </p:stCondLst>
                                  <p:childTnLst>
                                    <p:set>
                                      <p:cBhvr>
                                        <p:cTn id="219" dur="1" fill="hold">
                                          <p:stCondLst>
                                            <p:cond delay="0"/>
                                          </p:stCondLst>
                                        </p:cTn>
                                        <p:tgtEl>
                                          <p:spTgt spid="168">
                                            <p:graphicEl>
                                              <a:dgm id="{654875E4-C0CC-44D9-8791-3D70B8F8E8E6}"/>
                                            </p:graphicEl>
                                          </p:spTgt>
                                        </p:tgtEl>
                                        <p:attrNameLst>
                                          <p:attrName>style.visibility</p:attrName>
                                        </p:attrNameLst>
                                      </p:cBhvr>
                                      <p:to>
                                        <p:strVal val="visible"/>
                                      </p:to>
                                    </p:set>
                                    <p:animEffect transition="in" filter="fade">
                                      <p:cBhvr>
                                        <p:cTn id="220" dur="500"/>
                                        <p:tgtEl>
                                          <p:spTgt spid="168">
                                            <p:graphicEl>
                                              <a:dgm id="{654875E4-C0CC-44D9-8791-3D70B8F8E8E6}"/>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6" grpId="0" animBg="1"/>
      <p:bldP spid="87" grpId="0" animBg="1"/>
      <p:bldP spid="88" grpId="0" animBg="1"/>
      <p:bldP spid="89" grpId="0" animBg="1"/>
      <p:bldP spid="90" grpId="0" animBg="1"/>
      <p:bldP spid="91" grpId="0" animBg="1"/>
      <p:bldP spid="98" grpId="0" animBg="1"/>
      <p:bldP spid="99" grpId="0" animBg="1"/>
      <p:bldP spid="100" grpId="0" animBg="1"/>
      <p:bldP spid="101" grpId="0" animBg="1"/>
      <p:bldP spid="102" grpId="0" animBg="1"/>
      <p:bldP spid="103" grpId="0" animBg="1"/>
      <p:bldP spid="105" grpId="0" animBg="1"/>
      <p:bldP spid="110" grpId="0" animBg="1"/>
      <p:bldP spid="111" grpId="0" animBg="1"/>
      <p:bldP spid="112" grpId="0" animBg="1"/>
      <p:bldP spid="113" grpId="0" animBg="1"/>
      <p:bldP spid="114" grpId="0" animBg="1"/>
      <p:bldP spid="115" grpId="0" animBg="1"/>
      <p:bldP spid="119" grpId="0" animBg="1"/>
      <p:bldP spid="122" grpId="0" animBg="1"/>
      <p:bldP spid="123" grpId="0" animBg="1"/>
      <p:bldP spid="124" grpId="0" animBg="1"/>
      <p:bldP spid="125" grpId="0" animBg="1"/>
      <p:bldP spid="126" grpId="0" animBg="1"/>
      <p:bldP spid="127" grpId="0" animBg="1"/>
      <p:bldP spid="130" grpId="0" animBg="1"/>
      <p:bldP spid="146" grpId="0"/>
      <p:bldP spid="146" grpId="1"/>
      <p:bldP spid="146" grpId="2"/>
      <p:bldP spid="147" grpId="0"/>
      <p:bldP spid="147" grpId="1"/>
      <p:bldP spid="147" grpId="2"/>
      <p:bldP spid="148" grpId="0"/>
      <p:bldP spid="148" grpId="1"/>
      <p:bldP spid="148" grpId="2"/>
      <p:bldP spid="149" grpId="0"/>
      <p:bldP spid="149" grpId="1"/>
      <p:bldP spid="149" grpId="2"/>
      <p:bldP spid="150" grpId="0"/>
      <p:bldP spid="150" grpId="1"/>
      <p:bldP spid="150" grpId="2"/>
      <p:bldP spid="151" grpId="0"/>
      <p:bldP spid="152" grpId="0"/>
      <p:bldP spid="153" grpId="0"/>
      <p:bldP spid="154" grpId="0"/>
      <p:bldP spid="155" grpId="0"/>
      <p:bldP spid="155" grpId="1"/>
      <p:bldP spid="155" grpId="2"/>
      <p:bldP spid="156" grpId="0"/>
      <p:bldP spid="157" grpId="0"/>
      <p:bldP spid="157" grpId="1"/>
      <p:bldP spid="157" grpId="2"/>
      <p:bldP spid="158" grpId="1"/>
      <p:bldP spid="158" grpId="2"/>
      <p:bldP spid="159" grpId="0"/>
      <p:bldGraphic spid="168" grpId="0">
        <p:bldSub>
          <a:bldDgm/>
        </p:bldSub>
      </p:bldGraphic>
    </p:bldLst>
  </p:timing>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8AF7E-B0CD-46FF-B175-71CD60FDEFC6}"/>
              </a:ext>
            </a:extLst>
          </p:cNvPr>
          <p:cNvSpPr>
            <a:spLocks noGrp="1"/>
          </p:cNvSpPr>
          <p:nvPr>
            <p:ph type="title"/>
          </p:nvPr>
        </p:nvSpPr>
        <p:spPr>
          <a:xfrm>
            <a:off x="0" y="2"/>
            <a:ext cx="12436475" cy="705321"/>
          </a:xfrm>
        </p:spPr>
        <p:txBody>
          <a:bodyPr/>
          <a:lstStyle/>
          <a:p>
            <a:r>
              <a:rPr lang="en-US" dirty="0"/>
              <a:t>Hash-distributed Tables: When to use</a:t>
            </a:r>
          </a:p>
        </p:txBody>
      </p:sp>
      <p:graphicFrame>
        <p:nvGraphicFramePr>
          <p:cNvPr id="3" name="Diagram 2">
            <a:extLst>
              <a:ext uri="{FF2B5EF4-FFF2-40B4-BE49-F238E27FC236}">
                <a16:creationId xmlns:a16="http://schemas.microsoft.com/office/drawing/2014/main" id="{3EE4E233-5048-4738-BF7D-919E72766EEF}"/>
              </a:ext>
            </a:extLst>
          </p:cNvPr>
          <p:cNvGraphicFramePr/>
          <p:nvPr>
            <p:extLst>
              <p:ext uri="{D42A27DB-BD31-4B8C-83A1-F6EECF244321}">
                <p14:modId xmlns:p14="http://schemas.microsoft.com/office/powerpoint/2010/main" val="2721965713"/>
              </p:ext>
            </p:extLst>
          </p:nvPr>
        </p:nvGraphicFramePr>
        <p:xfrm>
          <a:off x="2179637" y="1058862"/>
          <a:ext cx="8290983" cy="5527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08303158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436475" cy="705321"/>
          </a:xfrm>
          <a:ln>
            <a:noFill/>
          </a:ln>
        </p:spPr>
        <p:txBody>
          <a:bodyPr/>
          <a:lstStyle/>
          <a:p>
            <a:r>
              <a:rPr lang="en-GB" dirty="0"/>
              <a:t>Hash-distributed Tables: Joins</a:t>
            </a:r>
            <a:endParaRPr lang="en-GB" dirty="0">
              <a:solidFill>
                <a:srgbClr val="0078D7"/>
              </a:solidFill>
            </a:endParaRPr>
          </a:p>
        </p:txBody>
      </p:sp>
      <p:sp>
        <p:nvSpPr>
          <p:cNvPr id="110" name="TextBox 109">
            <a:extLst>
              <a:ext uri="{FF2B5EF4-FFF2-40B4-BE49-F238E27FC236}">
                <a16:creationId xmlns:a16="http://schemas.microsoft.com/office/drawing/2014/main" id="{64CC30ED-ACCE-496C-BF7A-88EDCF9D8DDA}"/>
              </a:ext>
            </a:extLst>
          </p:cNvPr>
          <p:cNvSpPr txBox="1"/>
          <p:nvPr/>
        </p:nvSpPr>
        <p:spPr>
          <a:xfrm>
            <a:off x="11444968" y="2155862"/>
            <a:ext cx="971854"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a:t>
            </a:r>
          </a:p>
        </p:txBody>
      </p:sp>
      <p:sp>
        <p:nvSpPr>
          <p:cNvPr id="111" name="TextBox 110">
            <a:extLst>
              <a:ext uri="{FF2B5EF4-FFF2-40B4-BE49-F238E27FC236}">
                <a16:creationId xmlns:a16="http://schemas.microsoft.com/office/drawing/2014/main" id="{1C6129E5-6F2F-48CE-A020-F6F0FC7FD136}"/>
              </a:ext>
            </a:extLst>
          </p:cNvPr>
          <p:cNvSpPr txBox="1"/>
          <p:nvPr/>
        </p:nvSpPr>
        <p:spPr>
          <a:xfrm>
            <a:off x="11490357" y="3759650"/>
            <a:ext cx="881075"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8272"/>
                </a:solidFill>
              </a:rPr>
              <a:t>…..</a:t>
            </a:r>
          </a:p>
        </p:txBody>
      </p:sp>
      <p:sp>
        <p:nvSpPr>
          <p:cNvPr id="112" name="Flowchart: Manual Operation 111">
            <a:extLst>
              <a:ext uri="{FF2B5EF4-FFF2-40B4-BE49-F238E27FC236}">
                <a16:creationId xmlns:a16="http://schemas.microsoft.com/office/drawing/2014/main" id="{A971CC1F-59B4-4956-8B2A-C4F7DAD21630}"/>
              </a:ext>
            </a:extLst>
          </p:cNvPr>
          <p:cNvSpPr/>
          <p:nvPr/>
        </p:nvSpPr>
        <p:spPr>
          <a:xfrm>
            <a:off x="856529"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3</a:t>
            </a:r>
          </a:p>
        </p:txBody>
      </p:sp>
      <p:sp>
        <p:nvSpPr>
          <p:cNvPr id="113" name="Flowchart: Manual Operation 112">
            <a:extLst>
              <a:ext uri="{FF2B5EF4-FFF2-40B4-BE49-F238E27FC236}">
                <a16:creationId xmlns:a16="http://schemas.microsoft.com/office/drawing/2014/main" id="{B8A248FA-1745-470B-99EA-79DAD6360B38}"/>
              </a:ext>
            </a:extLst>
          </p:cNvPr>
          <p:cNvSpPr/>
          <p:nvPr/>
        </p:nvSpPr>
        <p:spPr>
          <a:xfrm>
            <a:off x="1737605"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4</a:t>
            </a:r>
          </a:p>
        </p:txBody>
      </p:sp>
      <p:sp>
        <p:nvSpPr>
          <p:cNvPr id="114" name="Flowchart: Manual Operation 113">
            <a:extLst>
              <a:ext uri="{FF2B5EF4-FFF2-40B4-BE49-F238E27FC236}">
                <a16:creationId xmlns:a16="http://schemas.microsoft.com/office/drawing/2014/main" id="{DEAA308A-7E8D-4AFD-BD0E-14BADEF2CB33}"/>
              </a:ext>
            </a:extLst>
          </p:cNvPr>
          <p:cNvSpPr/>
          <p:nvPr/>
        </p:nvSpPr>
        <p:spPr>
          <a:xfrm>
            <a:off x="3499754"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6</a:t>
            </a:r>
          </a:p>
        </p:txBody>
      </p:sp>
      <p:sp>
        <p:nvSpPr>
          <p:cNvPr id="115" name="Flowchart: Manual Operation 114">
            <a:extLst>
              <a:ext uri="{FF2B5EF4-FFF2-40B4-BE49-F238E27FC236}">
                <a16:creationId xmlns:a16="http://schemas.microsoft.com/office/drawing/2014/main" id="{7BDE6D63-337A-4AB6-A72C-6164B2A79A2E}"/>
              </a:ext>
            </a:extLst>
          </p:cNvPr>
          <p:cNvSpPr/>
          <p:nvPr/>
        </p:nvSpPr>
        <p:spPr>
          <a:xfrm>
            <a:off x="2618679"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5</a:t>
            </a:r>
          </a:p>
        </p:txBody>
      </p:sp>
      <p:sp>
        <p:nvSpPr>
          <p:cNvPr id="116" name="Flowchart: Manual Operation 115">
            <a:extLst>
              <a:ext uri="{FF2B5EF4-FFF2-40B4-BE49-F238E27FC236}">
                <a16:creationId xmlns:a16="http://schemas.microsoft.com/office/drawing/2014/main" id="{0615D6D6-B7CF-482B-AEBE-DD18E83F419F}"/>
              </a:ext>
            </a:extLst>
          </p:cNvPr>
          <p:cNvSpPr/>
          <p:nvPr/>
        </p:nvSpPr>
        <p:spPr>
          <a:xfrm>
            <a:off x="4376607"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7</a:t>
            </a:r>
          </a:p>
        </p:txBody>
      </p:sp>
      <p:sp>
        <p:nvSpPr>
          <p:cNvPr id="117" name="Flowchart: Manual Operation 116">
            <a:extLst>
              <a:ext uri="{FF2B5EF4-FFF2-40B4-BE49-F238E27FC236}">
                <a16:creationId xmlns:a16="http://schemas.microsoft.com/office/drawing/2014/main" id="{1E567B31-6FFF-4D02-B856-9F0C2DC4E952}"/>
              </a:ext>
            </a:extLst>
          </p:cNvPr>
          <p:cNvSpPr/>
          <p:nvPr/>
        </p:nvSpPr>
        <p:spPr>
          <a:xfrm>
            <a:off x="5257681"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8</a:t>
            </a:r>
          </a:p>
        </p:txBody>
      </p:sp>
      <p:sp>
        <p:nvSpPr>
          <p:cNvPr id="118" name="Flowchart: Manual Operation 117">
            <a:extLst>
              <a:ext uri="{FF2B5EF4-FFF2-40B4-BE49-F238E27FC236}">
                <a16:creationId xmlns:a16="http://schemas.microsoft.com/office/drawing/2014/main" id="{FC5AA174-E892-4E9B-A762-010DF23CDF70}"/>
              </a:ext>
            </a:extLst>
          </p:cNvPr>
          <p:cNvSpPr/>
          <p:nvPr/>
        </p:nvSpPr>
        <p:spPr>
          <a:xfrm>
            <a:off x="7019831"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0</a:t>
            </a:r>
          </a:p>
        </p:txBody>
      </p:sp>
      <p:sp>
        <p:nvSpPr>
          <p:cNvPr id="119" name="Flowchart: Manual Operation 118">
            <a:extLst>
              <a:ext uri="{FF2B5EF4-FFF2-40B4-BE49-F238E27FC236}">
                <a16:creationId xmlns:a16="http://schemas.microsoft.com/office/drawing/2014/main" id="{D02302DB-3C60-4B26-9E51-961E53352847}"/>
              </a:ext>
            </a:extLst>
          </p:cNvPr>
          <p:cNvSpPr/>
          <p:nvPr/>
        </p:nvSpPr>
        <p:spPr>
          <a:xfrm>
            <a:off x="6138757"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9</a:t>
            </a:r>
          </a:p>
        </p:txBody>
      </p:sp>
      <p:sp>
        <p:nvSpPr>
          <p:cNvPr id="120" name="Flowchart: Manual Operation 119">
            <a:extLst>
              <a:ext uri="{FF2B5EF4-FFF2-40B4-BE49-F238E27FC236}">
                <a16:creationId xmlns:a16="http://schemas.microsoft.com/office/drawing/2014/main" id="{3E1BBB7C-0709-40CE-B3E7-532B00337BBE}"/>
              </a:ext>
            </a:extLst>
          </p:cNvPr>
          <p:cNvSpPr/>
          <p:nvPr/>
        </p:nvSpPr>
        <p:spPr>
          <a:xfrm>
            <a:off x="7900907"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1</a:t>
            </a:r>
          </a:p>
        </p:txBody>
      </p:sp>
      <p:sp>
        <p:nvSpPr>
          <p:cNvPr id="121" name="Flowchart: Manual Operation 120">
            <a:extLst>
              <a:ext uri="{FF2B5EF4-FFF2-40B4-BE49-F238E27FC236}">
                <a16:creationId xmlns:a16="http://schemas.microsoft.com/office/drawing/2014/main" id="{EAD8AA44-749E-4738-B084-5A98B3B1D8FE}"/>
              </a:ext>
            </a:extLst>
          </p:cNvPr>
          <p:cNvSpPr/>
          <p:nvPr/>
        </p:nvSpPr>
        <p:spPr>
          <a:xfrm>
            <a:off x="8781982"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2</a:t>
            </a:r>
          </a:p>
        </p:txBody>
      </p:sp>
      <p:sp>
        <p:nvSpPr>
          <p:cNvPr id="122" name="Flowchart: Manual Operation 121">
            <a:extLst>
              <a:ext uri="{FF2B5EF4-FFF2-40B4-BE49-F238E27FC236}">
                <a16:creationId xmlns:a16="http://schemas.microsoft.com/office/drawing/2014/main" id="{C26FF6F7-8131-47E2-99B7-35B80006AE31}"/>
              </a:ext>
            </a:extLst>
          </p:cNvPr>
          <p:cNvSpPr/>
          <p:nvPr/>
        </p:nvSpPr>
        <p:spPr>
          <a:xfrm>
            <a:off x="10544132"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4</a:t>
            </a:r>
          </a:p>
        </p:txBody>
      </p:sp>
      <p:sp>
        <p:nvSpPr>
          <p:cNvPr id="123" name="Flowchart: Manual Operation 122">
            <a:extLst>
              <a:ext uri="{FF2B5EF4-FFF2-40B4-BE49-F238E27FC236}">
                <a16:creationId xmlns:a16="http://schemas.microsoft.com/office/drawing/2014/main" id="{07BD2B8B-3196-4DB7-80C9-685D68523AB0}"/>
              </a:ext>
            </a:extLst>
          </p:cNvPr>
          <p:cNvSpPr/>
          <p:nvPr/>
        </p:nvSpPr>
        <p:spPr>
          <a:xfrm>
            <a:off x="9663057" y="2920505"/>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3</a:t>
            </a:r>
          </a:p>
        </p:txBody>
      </p:sp>
      <p:sp>
        <p:nvSpPr>
          <p:cNvPr id="124" name="Flowchart: Manual Operation 123">
            <a:extLst>
              <a:ext uri="{FF2B5EF4-FFF2-40B4-BE49-F238E27FC236}">
                <a16:creationId xmlns:a16="http://schemas.microsoft.com/office/drawing/2014/main" id="{0CA9965A-1F41-4175-972A-D142D97B105B}"/>
              </a:ext>
            </a:extLst>
          </p:cNvPr>
          <p:cNvSpPr/>
          <p:nvPr/>
        </p:nvSpPr>
        <p:spPr>
          <a:xfrm>
            <a:off x="856529"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5</a:t>
            </a:r>
          </a:p>
        </p:txBody>
      </p:sp>
      <p:sp>
        <p:nvSpPr>
          <p:cNvPr id="125" name="Flowchart: Manual Operation 124">
            <a:extLst>
              <a:ext uri="{FF2B5EF4-FFF2-40B4-BE49-F238E27FC236}">
                <a16:creationId xmlns:a16="http://schemas.microsoft.com/office/drawing/2014/main" id="{98F8C6AD-CD05-4526-AA55-22CA21AAE331}"/>
              </a:ext>
            </a:extLst>
          </p:cNvPr>
          <p:cNvSpPr/>
          <p:nvPr/>
        </p:nvSpPr>
        <p:spPr>
          <a:xfrm>
            <a:off x="1737605"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6</a:t>
            </a:r>
          </a:p>
        </p:txBody>
      </p:sp>
      <p:sp>
        <p:nvSpPr>
          <p:cNvPr id="126" name="Flowchart: Manual Operation 125">
            <a:extLst>
              <a:ext uri="{FF2B5EF4-FFF2-40B4-BE49-F238E27FC236}">
                <a16:creationId xmlns:a16="http://schemas.microsoft.com/office/drawing/2014/main" id="{87F17B38-1000-4583-8F1C-338F9EE39FEB}"/>
              </a:ext>
            </a:extLst>
          </p:cNvPr>
          <p:cNvSpPr/>
          <p:nvPr/>
        </p:nvSpPr>
        <p:spPr>
          <a:xfrm>
            <a:off x="3499754"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8</a:t>
            </a:r>
          </a:p>
        </p:txBody>
      </p:sp>
      <p:sp>
        <p:nvSpPr>
          <p:cNvPr id="127" name="Flowchart: Manual Operation 126">
            <a:extLst>
              <a:ext uri="{FF2B5EF4-FFF2-40B4-BE49-F238E27FC236}">
                <a16:creationId xmlns:a16="http://schemas.microsoft.com/office/drawing/2014/main" id="{CAC91DE2-5C2F-4C7F-A9B5-BACA3FA244DF}"/>
              </a:ext>
            </a:extLst>
          </p:cNvPr>
          <p:cNvSpPr/>
          <p:nvPr/>
        </p:nvSpPr>
        <p:spPr>
          <a:xfrm>
            <a:off x="2618679"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7</a:t>
            </a:r>
          </a:p>
        </p:txBody>
      </p:sp>
      <p:sp>
        <p:nvSpPr>
          <p:cNvPr id="128" name="Flowchart: Manual Operation 127">
            <a:extLst>
              <a:ext uri="{FF2B5EF4-FFF2-40B4-BE49-F238E27FC236}">
                <a16:creationId xmlns:a16="http://schemas.microsoft.com/office/drawing/2014/main" id="{B592305A-92D7-494B-B620-5058E4E12569}"/>
              </a:ext>
            </a:extLst>
          </p:cNvPr>
          <p:cNvSpPr/>
          <p:nvPr/>
        </p:nvSpPr>
        <p:spPr>
          <a:xfrm>
            <a:off x="4376607"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29</a:t>
            </a:r>
          </a:p>
        </p:txBody>
      </p:sp>
      <p:sp>
        <p:nvSpPr>
          <p:cNvPr id="129" name="Flowchart: Manual Operation 128">
            <a:extLst>
              <a:ext uri="{FF2B5EF4-FFF2-40B4-BE49-F238E27FC236}">
                <a16:creationId xmlns:a16="http://schemas.microsoft.com/office/drawing/2014/main" id="{72272E1A-B72F-42EF-8F4F-77C99690D002}"/>
              </a:ext>
            </a:extLst>
          </p:cNvPr>
          <p:cNvSpPr/>
          <p:nvPr/>
        </p:nvSpPr>
        <p:spPr>
          <a:xfrm>
            <a:off x="5257681"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0</a:t>
            </a:r>
          </a:p>
        </p:txBody>
      </p:sp>
      <p:sp>
        <p:nvSpPr>
          <p:cNvPr id="130" name="Flowchart: Manual Operation 129">
            <a:extLst>
              <a:ext uri="{FF2B5EF4-FFF2-40B4-BE49-F238E27FC236}">
                <a16:creationId xmlns:a16="http://schemas.microsoft.com/office/drawing/2014/main" id="{8573E898-23EE-41D9-9B01-BC2AC20B6037}"/>
              </a:ext>
            </a:extLst>
          </p:cNvPr>
          <p:cNvSpPr/>
          <p:nvPr/>
        </p:nvSpPr>
        <p:spPr>
          <a:xfrm>
            <a:off x="7019831"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2</a:t>
            </a:r>
          </a:p>
        </p:txBody>
      </p:sp>
      <p:sp>
        <p:nvSpPr>
          <p:cNvPr id="131" name="Flowchart: Manual Operation 130">
            <a:extLst>
              <a:ext uri="{FF2B5EF4-FFF2-40B4-BE49-F238E27FC236}">
                <a16:creationId xmlns:a16="http://schemas.microsoft.com/office/drawing/2014/main" id="{03A35CC2-6565-4E09-91C3-2A1E3F5FDA82}"/>
              </a:ext>
            </a:extLst>
          </p:cNvPr>
          <p:cNvSpPr/>
          <p:nvPr/>
        </p:nvSpPr>
        <p:spPr>
          <a:xfrm>
            <a:off x="6138757"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1</a:t>
            </a:r>
          </a:p>
        </p:txBody>
      </p:sp>
      <p:sp>
        <p:nvSpPr>
          <p:cNvPr id="132" name="Flowchart: Manual Operation 131">
            <a:extLst>
              <a:ext uri="{FF2B5EF4-FFF2-40B4-BE49-F238E27FC236}">
                <a16:creationId xmlns:a16="http://schemas.microsoft.com/office/drawing/2014/main" id="{AFEF1A2E-25C0-4B6A-9F78-CEC820B51FE1}"/>
              </a:ext>
            </a:extLst>
          </p:cNvPr>
          <p:cNvSpPr/>
          <p:nvPr/>
        </p:nvSpPr>
        <p:spPr>
          <a:xfrm>
            <a:off x="7900907"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3</a:t>
            </a:r>
          </a:p>
        </p:txBody>
      </p:sp>
      <p:sp>
        <p:nvSpPr>
          <p:cNvPr id="133" name="Flowchart: Manual Operation 132">
            <a:extLst>
              <a:ext uri="{FF2B5EF4-FFF2-40B4-BE49-F238E27FC236}">
                <a16:creationId xmlns:a16="http://schemas.microsoft.com/office/drawing/2014/main" id="{90A2F7CF-0B18-487A-A0E4-AD6F270AA293}"/>
              </a:ext>
            </a:extLst>
          </p:cNvPr>
          <p:cNvSpPr/>
          <p:nvPr/>
        </p:nvSpPr>
        <p:spPr>
          <a:xfrm>
            <a:off x="8781982"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4</a:t>
            </a:r>
          </a:p>
        </p:txBody>
      </p:sp>
      <p:sp>
        <p:nvSpPr>
          <p:cNvPr id="134" name="Flowchart: Manual Operation 133">
            <a:extLst>
              <a:ext uri="{FF2B5EF4-FFF2-40B4-BE49-F238E27FC236}">
                <a16:creationId xmlns:a16="http://schemas.microsoft.com/office/drawing/2014/main" id="{6CC5390A-28E0-4AE9-92F0-73B84EACB369}"/>
              </a:ext>
            </a:extLst>
          </p:cNvPr>
          <p:cNvSpPr/>
          <p:nvPr/>
        </p:nvSpPr>
        <p:spPr>
          <a:xfrm>
            <a:off x="10544132"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6</a:t>
            </a:r>
          </a:p>
        </p:txBody>
      </p:sp>
      <p:sp>
        <p:nvSpPr>
          <p:cNvPr id="135" name="Flowchart: Manual Operation 134">
            <a:extLst>
              <a:ext uri="{FF2B5EF4-FFF2-40B4-BE49-F238E27FC236}">
                <a16:creationId xmlns:a16="http://schemas.microsoft.com/office/drawing/2014/main" id="{7F36DEBC-1BD6-4208-9B5A-732ECFFD5FA4}"/>
              </a:ext>
            </a:extLst>
          </p:cNvPr>
          <p:cNvSpPr/>
          <p:nvPr/>
        </p:nvSpPr>
        <p:spPr>
          <a:xfrm>
            <a:off x="9663057" y="373641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5</a:t>
            </a:r>
          </a:p>
        </p:txBody>
      </p:sp>
      <p:sp>
        <p:nvSpPr>
          <p:cNvPr id="136" name="Flowchart: Manual Operation 135">
            <a:extLst>
              <a:ext uri="{FF2B5EF4-FFF2-40B4-BE49-F238E27FC236}">
                <a16:creationId xmlns:a16="http://schemas.microsoft.com/office/drawing/2014/main" id="{9295052F-90BA-4172-A4E7-5E190D1BD7B0}"/>
              </a:ext>
            </a:extLst>
          </p:cNvPr>
          <p:cNvSpPr/>
          <p:nvPr/>
        </p:nvSpPr>
        <p:spPr>
          <a:xfrm>
            <a:off x="856529"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7</a:t>
            </a:r>
          </a:p>
        </p:txBody>
      </p:sp>
      <p:sp>
        <p:nvSpPr>
          <p:cNvPr id="137" name="Flowchart: Manual Operation 136">
            <a:extLst>
              <a:ext uri="{FF2B5EF4-FFF2-40B4-BE49-F238E27FC236}">
                <a16:creationId xmlns:a16="http://schemas.microsoft.com/office/drawing/2014/main" id="{8EAD6D5B-EDF1-420F-B901-F2AD301E8CC5}"/>
              </a:ext>
            </a:extLst>
          </p:cNvPr>
          <p:cNvSpPr/>
          <p:nvPr/>
        </p:nvSpPr>
        <p:spPr>
          <a:xfrm>
            <a:off x="1737605"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8</a:t>
            </a:r>
          </a:p>
        </p:txBody>
      </p:sp>
      <p:sp>
        <p:nvSpPr>
          <p:cNvPr id="138" name="Flowchart: Manual Operation 137">
            <a:extLst>
              <a:ext uri="{FF2B5EF4-FFF2-40B4-BE49-F238E27FC236}">
                <a16:creationId xmlns:a16="http://schemas.microsoft.com/office/drawing/2014/main" id="{4A3A3C77-A8A9-4FD1-923B-E11CD0D1D2F7}"/>
              </a:ext>
            </a:extLst>
          </p:cNvPr>
          <p:cNvSpPr/>
          <p:nvPr/>
        </p:nvSpPr>
        <p:spPr>
          <a:xfrm>
            <a:off x="3499754"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0</a:t>
            </a:r>
          </a:p>
        </p:txBody>
      </p:sp>
      <p:sp>
        <p:nvSpPr>
          <p:cNvPr id="139" name="Flowchart: Manual Operation 138">
            <a:extLst>
              <a:ext uri="{FF2B5EF4-FFF2-40B4-BE49-F238E27FC236}">
                <a16:creationId xmlns:a16="http://schemas.microsoft.com/office/drawing/2014/main" id="{D5286B27-E5BE-4630-BDD8-ACFB3B8E00E4}"/>
              </a:ext>
            </a:extLst>
          </p:cNvPr>
          <p:cNvSpPr/>
          <p:nvPr/>
        </p:nvSpPr>
        <p:spPr>
          <a:xfrm>
            <a:off x="2618679"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39</a:t>
            </a:r>
          </a:p>
        </p:txBody>
      </p:sp>
      <p:sp>
        <p:nvSpPr>
          <p:cNvPr id="140" name="Flowchart: Manual Operation 139">
            <a:extLst>
              <a:ext uri="{FF2B5EF4-FFF2-40B4-BE49-F238E27FC236}">
                <a16:creationId xmlns:a16="http://schemas.microsoft.com/office/drawing/2014/main" id="{4284EE34-43C6-40F6-9CDA-6C559AC349BA}"/>
              </a:ext>
            </a:extLst>
          </p:cNvPr>
          <p:cNvSpPr/>
          <p:nvPr/>
        </p:nvSpPr>
        <p:spPr>
          <a:xfrm>
            <a:off x="4376607"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1</a:t>
            </a:r>
          </a:p>
        </p:txBody>
      </p:sp>
      <p:sp>
        <p:nvSpPr>
          <p:cNvPr id="141" name="Flowchart: Manual Operation 140">
            <a:extLst>
              <a:ext uri="{FF2B5EF4-FFF2-40B4-BE49-F238E27FC236}">
                <a16:creationId xmlns:a16="http://schemas.microsoft.com/office/drawing/2014/main" id="{29084DFF-0BBB-473D-995D-4E9BD7049C0C}"/>
              </a:ext>
            </a:extLst>
          </p:cNvPr>
          <p:cNvSpPr/>
          <p:nvPr/>
        </p:nvSpPr>
        <p:spPr>
          <a:xfrm>
            <a:off x="5257681"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2</a:t>
            </a:r>
          </a:p>
        </p:txBody>
      </p:sp>
      <p:sp>
        <p:nvSpPr>
          <p:cNvPr id="142" name="Flowchart: Manual Operation 141">
            <a:extLst>
              <a:ext uri="{FF2B5EF4-FFF2-40B4-BE49-F238E27FC236}">
                <a16:creationId xmlns:a16="http://schemas.microsoft.com/office/drawing/2014/main" id="{D833C2A4-54C1-4AEF-B92B-233DCEB5063E}"/>
              </a:ext>
            </a:extLst>
          </p:cNvPr>
          <p:cNvSpPr/>
          <p:nvPr/>
        </p:nvSpPr>
        <p:spPr>
          <a:xfrm>
            <a:off x="7019831"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4</a:t>
            </a:r>
          </a:p>
        </p:txBody>
      </p:sp>
      <p:sp>
        <p:nvSpPr>
          <p:cNvPr id="143" name="Flowchart: Manual Operation 142">
            <a:extLst>
              <a:ext uri="{FF2B5EF4-FFF2-40B4-BE49-F238E27FC236}">
                <a16:creationId xmlns:a16="http://schemas.microsoft.com/office/drawing/2014/main" id="{538A9C5A-796F-40A2-BF0E-F6A8F67CE277}"/>
              </a:ext>
            </a:extLst>
          </p:cNvPr>
          <p:cNvSpPr/>
          <p:nvPr/>
        </p:nvSpPr>
        <p:spPr>
          <a:xfrm>
            <a:off x="6138757"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3</a:t>
            </a:r>
          </a:p>
        </p:txBody>
      </p:sp>
      <p:sp>
        <p:nvSpPr>
          <p:cNvPr id="144" name="Flowchart: Manual Operation 143">
            <a:extLst>
              <a:ext uri="{FF2B5EF4-FFF2-40B4-BE49-F238E27FC236}">
                <a16:creationId xmlns:a16="http://schemas.microsoft.com/office/drawing/2014/main" id="{CE33F752-B653-4E16-BBF6-F63C88550051}"/>
              </a:ext>
            </a:extLst>
          </p:cNvPr>
          <p:cNvSpPr/>
          <p:nvPr/>
        </p:nvSpPr>
        <p:spPr>
          <a:xfrm>
            <a:off x="7900907"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5</a:t>
            </a:r>
          </a:p>
        </p:txBody>
      </p:sp>
      <p:sp>
        <p:nvSpPr>
          <p:cNvPr id="145" name="Flowchart: Manual Operation 144">
            <a:extLst>
              <a:ext uri="{FF2B5EF4-FFF2-40B4-BE49-F238E27FC236}">
                <a16:creationId xmlns:a16="http://schemas.microsoft.com/office/drawing/2014/main" id="{8DB30212-986A-4F89-867B-4113A2075252}"/>
              </a:ext>
            </a:extLst>
          </p:cNvPr>
          <p:cNvSpPr/>
          <p:nvPr/>
        </p:nvSpPr>
        <p:spPr>
          <a:xfrm>
            <a:off x="8781982"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6</a:t>
            </a:r>
          </a:p>
        </p:txBody>
      </p:sp>
      <p:sp>
        <p:nvSpPr>
          <p:cNvPr id="146" name="Flowchart: Manual Operation 145">
            <a:extLst>
              <a:ext uri="{FF2B5EF4-FFF2-40B4-BE49-F238E27FC236}">
                <a16:creationId xmlns:a16="http://schemas.microsoft.com/office/drawing/2014/main" id="{BC375E95-6463-4904-8DE8-C282B1A88703}"/>
              </a:ext>
            </a:extLst>
          </p:cNvPr>
          <p:cNvSpPr/>
          <p:nvPr/>
        </p:nvSpPr>
        <p:spPr>
          <a:xfrm>
            <a:off x="10544132"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8</a:t>
            </a:r>
          </a:p>
        </p:txBody>
      </p:sp>
      <p:sp>
        <p:nvSpPr>
          <p:cNvPr id="147" name="Flowchart: Manual Operation 146">
            <a:extLst>
              <a:ext uri="{FF2B5EF4-FFF2-40B4-BE49-F238E27FC236}">
                <a16:creationId xmlns:a16="http://schemas.microsoft.com/office/drawing/2014/main" id="{72022603-DF4F-46C7-9C6B-4AF38774CFCF}"/>
              </a:ext>
            </a:extLst>
          </p:cNvPr>
          <p:cNvSpPr/>
          <p:nvPr/>
        </p:nvSpPr>
        <p:spPr>
          <a:xfrm>
            <a:off x="9663057" y="4552329"/>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7</a:t>
            </a:r>
          </a:p>
        </p:txBody>
      </p:sp>
      <p:sp>
        <p:nvSpPr>
          <p:cNvPr id="148" name="Flowchart: Manual Operation 147">
            <a:extLst>
              <a:ext uri="{FF2B5EF4-FFF2-40B4-BE49-F238E27FC236}">
                <a16:creationId xmlns:a16="http://schemas.microsoft.com/office/drawing/2014/main" id="{E574172B-446D-40D0-BCFC-E1A36BF68725}"/>
              </a:ext>
            </a:extLst>
          </p:cNvPr>
          <p:cNvSpPr/>
          <p:nvPr/>
        </p:nvSpPr>
        <p:spPr>
          <a:xfrm>
            <a:off x="856529"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49</a:t>
            </a:r>
          </a:p>
        </p:txBody>
      </p:sp>
      <p:sp>
        <p:nvSpPr>
          <p:cNvPr id="149" name="Flowchart: Manual Operation 148">
            <a:extLst>
              <a:ext uri="{FF2B5EF4-FFF2-40B4-BE49-F238E27FC236}">
                <a16:creationId xmlns:a16="http://schemas.microsoft.com/office/drawing/2014/main" id="{78AEC57E-F58C-4F8A-9663-108E40D8E918}"/>
              </a:ext>
            </a:extLst>
          </p:cNvPr>
          <p:cNvSpPr/>
          <p:nvPr/>
        </p:nvSpPr>
        <p:spPr>
          <a:xfrm>
            <a:off x="1737605"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0</a:t>
            </a:r>
          </a:p>
        </p:txBody>
      </p:sp>
      <p:sp>
        <p:nvSpPr>
          <p:cNvPr id="150" name="Flowchart: Manual Operation 149">
            <a:extLst>
              <a:ext uri="{FF2B5EF4-FFF2-40B4-BE49-F238E27FC236}">
                <a16:creationId xmlns:a16="http://schemas.microsoft.com/office/drawing/2014/main" id="{7627ABDB-CB52-4AA9-A32B-4E6D6AF7CFE9}"/>
              </a:ext>
            </a:extLst>
          </p:cNvPr>
          <p:cNvSpPr/>
          <p:nvPr/>
        </p:nvSpPr>
        <p:spPr>
          <a:xfrm>
            <a:off x="3499754"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2</a:t>
            </a:r>
          </a:p>
        </p:txBody>
      </p:sp>
      <p:sp>
        <p:nvSpPr>
          <p:cNvPr id="151" name="Flowchart: Manual Operation 150">
            <a:extLst>
              <a:ext uri="{FF2B5EF4-FFF2-40B4-BE49-F238E27FC236}">
                <a16:creationId xmlns:a16="http://schemas.microsoft.com/office/drawing/2014/main" id="{A9F9ABB2-C11F-4B80-A0B3-168379AD99F5}"/>
              </a:ext>
            </a:extLst>
          </p:cNvPr>
          <p:cNvSpPr/>
          <p:nvPr/>
        </p:nvSpPr>
        <p:spPr>
          <a:xfrm>
            <a:off x="2618679"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1</a:t>
            </a:r>
          </a:p>
        </p:txBody>
      </p:sp>
      <p:sp>
        <p:nvSpPr>
          <p:cNvPr id="152" name="Flowchart: Manual Operation 151">
            <a:extLst>
              <a:ext uri="{FF2B5EF4-FFF2-40B4-BE49-F238E27FC236}">
                <a16:creationId xmlns:a16="http://schemas.microsoft.com/office/drawing/2014/main" id="{C2CDAD4E-9A4B-4322-9A37-2834B8630284}"/>
              </a:ext>
            </a:extLst>
          </p:cNvPr>
          <p:cNvSpPr/>
          <p:nvPr/>
        </p:nvSpPr>
        <p:spPr>
          <a:xfrm>
            <a:off x="4376607"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3</a:t>
            </a:r>
          </a:p>
        </p:txBody>
      </p:sp>
      <p:sp>
        <p:nvSpPr>
          <p:cNvPr id="153" name="Flowchart: Manual Operation 152">
            <a:extLst>
              <a:ext uri="{FF2B5EF4-FFF2-40B4-BE49-F238E27FC236}">
                <a16:creationId xmlns:a16="http://schemas.microsoft.com/office/drawing/2014/main" id="{D94C2DC2-A3F5-4F8C-8F9F-2D1F0177F086}"/>
              </a:ext>
            </a:extLst>
          </p:cNvPr>
          <p:cNvSpPr/>
          <p:nvPr/>
        </p:nvSpPr>
        <p:spPr>
          <a:xfrm>
            <a:off x="5257681"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4</a:t>
            </a:r>
          </a:p>
        </p:txBody>
      </p:sp>
      <p:sp>
        <p:nvSpPr>
          <p:cNvPr id="154" name="Flowchart: Manual Operation 153">
            <a:extLst>
              <a:ext uri="{FF2B5EF4-FFF2-40B4-BE49-F238E27FC236}">
                <a16:creationId xmlns:a16="http://schemas.microsoft.com/office/drawing/2014/main" id="{1918D6EE-FBDB-47C4-8CB9-9EACC98B7FBA}"/>
              </a:ext>
            </a:extLst>
          </p:cNvPr>
          <p:cNvSpPr/>
          <p:nvPr/>
        </p:nvSpPr>
        <p:spPr>
          <a:xfrm>
            <a:off x="7019831"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6</a:t>
            </a:r>
          </a:p>
        </p:txBody>
      </p:sp>
      <p:sp>
        <p:nvSpPr>
          <p:cNvPr id="155" name="Flowchart: Manual Operation 154">
            <a:extLst>
              <a:ext uri="{FF2B5EF4-FFF2-40B4-BE49-F238E27FC236}">
                <a16:creationId xmlns:a16="http://schemas.microsoft.com/office/drawing/2014/main" id="{D4DCADEC-EE66-4D7D-83C6-4CCA8E0132C5}"/>
              </a:ext>
            </a:extLst>
          </p:cNvPr>
          <p:cNvSpPr/>
          <p:nvPr/>
        </p:nvSpPr>
        <p:spPr>
          <a:xfrm>
            <a:off x="6138757"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5</a:t>
            </a:r>
          </a:p>
        </p:txBody>
      </p:sp>
      <p:sp>
        <p:nvSpPr>
          <p:cNvPr id="156" name="Flowchart: Manual Operation 155">
            <a:extLst>
              <a:ext uri="{FF2B5EF4-FFF2-40B4-BE49-F238E27FC236}">
                <a16:creationId xmlns:a16="http://schemas.microsoft.com/office/drawing/2014/main" id="{A90A6BAF-DBC6-4FF3-9774-56D40A18FF30}"/>
              </a:ext>
            </a:extLst>
          </p:cNvPr>
          <p:cNvSpPr/>
          <p:nvPr/>
        </p:nvSpPr>
        <p:spPr>
          <a:xfrm>
            <a:off x="7900907"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7</a:t>
            </a:r>
          </a:p>
        </p:txBody>
      </p:sp>
      <p:sp>
        <p:nvSpPr>
          <p:cNvPr id="157" name="Flowchart: Manual Operation 156">
            <a:extLst>
              <a:ext uri="{FF2B5EF4-FFF2-40B4-BE49-F238E27FC236}">
                <a16:creationId xmlns:a16="http://schemas.microsoft.com/office/drawing/2014/main" id="{AA3D39A2-2A9A-4164-804D-FD1853CBF66A}"/>
              </a:ext>
            </a:extLst>
          </p:cNvPr>
          <p:cNvSpPr/>
          <p:nvPr/>
        </p:nvSpPr>
        <p:spPr>
          <a:xfrm>
            <a:off x="8781982"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8</a:t>
            </a:r>
          </a:p>
        </p:txBody>
      </p:sp>
      <p:sp>
        <p:nvSpPr>
          <p:cNvPr id="158" name="Flowchart: Manual Operation 157">
            <a:extLst>
              <a:ext uri="{FF2B5EF4-FFF2-40B4-BE49-F238E27FC236}">
                <a16:creationId xmlns:a16="http://schemas.microsoft.com/office/drawing/2014/main" id="{52FB6896-03E5-463D-8DCB-DC3F12430CC7}"/>
              </a:ext>
            </a:extLst>
          </p:cNvPr>
          <p:cNvSpPr/>
          <p:nvPr/>
        </p:nvSpPr>
        <p:spPr>
          <a:xfrm>
            <a:off x="10544132"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60</a:t>
            </a:r>
          </a:p>
        </p:txBody>
      </p:sp>
      <p:sp>
        <p:nvSpPr>
          <p:cNvPr id="159" name="Flowchart: Manual Operation 158">
            <a:extLst>
              <a:ext uri="{FF2B5EF4-FFF2-40B4-BE49-F238E27FC236}">
                <a16:creationId xmlns:a16="http://schemas.microsoft.com/office/drawing/2014/main" id="{DFE58305-E09D-45FE-87C6-8C2D39645905}"/>
              </a:ext>
            </a:extLst>
          </p:cNvPr>
          <p:cNvSpPr/>
          <p:nvPr/>
        </p:nvSpPr>
        <p:spPr>
          <a:xfrm>
            <a:off x="9663057" y="536824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59</a:t>
            </a:r>
          </a:p>
        </p:txBody>
      </p:sp>
      <p:sp>
        <p:nvSpPr>
          <p:cNvPr id="160" name="Flowchart: Manual Operation 159">
            <a:extLst>
              <a:ext uri="{FF2B5EF4-FFF2-40B4-BE49-F238E27FC236}">
                <a16:creationId xmlns:a16="http://schemas.microsoft.com/office/drawing/2014/main" id="{AFADBC76-87F2-42F3-8410-70849FA8EEE9}"/>
              </a:ext>
            </a:extLst>
          </p:cNvPr>
          <p:cNvSpPr/>
          <p:nvPr/>
        </p:nvSpPr>
        <p:spPr>
          <a:xfrm>
            <a:off x="856529"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1</a:t>
            </a:r>
          </a:p>
        </p:txBody>
      </p:sp>
      <p:sp>
        <p:nvSpPr>
          <p:cNvPr id="161" name="Flowchart: Manual Operation 160">
            <a:extLst>
              <a:ext uri="{FF2B5EF4-FFF2-40B4-BE49-F238E27FC236}">
                <a16:creationId xmlns:a16="http://schemas.microsoft.com/office/drawing/2014/main" id="{EA0030C9-E9CF-4B65-A196-8E595C380FAF}"/>
              </a:ext>
            </a:extLst>
          </p:cNvPr>
          <p:cNvSpPr/>
          <p:nvPr/>
        </p:nvSpPr>
        <p:spPr>
          <a:xfrm>
            <a:off x="1737605"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2</a:t>
            </a:r>
          </a:p>
        </p:txBody>
      </p:sp>
      <p:sp>
        <p:nvSpPr>
          <p:cNvPr id="162" name="Flowchart: Manual Operation 161">
            <a:extLst>
              <a:ext uri="{FF2B5EF4-FFF2-40B4-BE49-F238E27FC236}">
                <a16:creationId xmlns:a16="http://schemas.microsoft.com/office/drawing/2014/main" id="{ACB7157A-81D7-400A-A9D4-8035C21FBF7F}"/>
              </a:ext>
            </a:extLst>
          </p:cNvPr>
          <p:cNvSpPr/>
          <p:nvPr/>
        </p:nvSpPr>
        <p:spPr>
          <a:xfrm>
            <a:off x="3499754"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4</a:t>
            </a:r>
          </a:p>
        </p:txBody>
      </p:sp>
      <p:sp>
        <p:nvSpPr>
          <p:cNvPr id="163" name="Flowchart: Manual Operation 162">
            <a:extLst>
              <a:ext uri="{FF2B5EF4-FFF2-40B4-BE49-F238E27FC236}">
                <a16:creationId xmlns:a16="http://schemas.microsoft.com/office/drawing/2014/main" id="{EEA23F0F-E106-49FF-BFA2-A24ECF95AD0F}"/>
              </a:ext>
            </a:extLst>
          </p:cNvPr>
          <p:cNvSpPr/>
          <p:nvPr/>
        </p:nvSpPr>
        <p:spPr>
          <a:xfrm>
            <a:off x="2618679"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3</a:t>
            </a:r>
          </a:p>
        </p:txBody>
      </p:sp>
      <p:sp>
        <p:nvSpPr>
          <p:cNvPr id="164" name="Flowchart: Manual Operation 163">
            <a:extLst>
              <a:ext uri="{FF2B5EF4-FFF2-40B4-BE49-F238E27FC236}">
                <a16:creationId xmlns:a16="http://schemas.microsoft.com/office/drawing/2014/main" id="{1E1DDD98-7BB4-4140-B3BE-59FB84D9CA16}"/>
              </a:ext>
            </a:extLst>
          </p:cNvPr>
          <p:cNvSpPr/>
          <p:nvPr/>
        </p:nvSpPr>
        <p:spPr>
          <a:xfrm>
            <a:off x="4376607"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5</a:t>
            </a:r>
          </a:p>
        </p:txBody>
      </p:sp>
      <p:sp>
        <p:nvSpPr>
          <p:cNvPr id="165" name="Flowchart: Manual Operation 164">
            <a:extLst>
              <a:ext uri="{FF2B5EF4-FFF2-40B4-BE49-F238E27FC236}">
                <a16:creationId xmlns:a16="http://schemas.microsoft.com/office/drawing/2014/main" id="{FFC0E1E7-6380-4539-8A3A-F884F2CD041C}"/>
              </a:ext>
            </a:extLst>
          </p:cNvPr>
          <p:cNvSpPr/>
          <p:nvPr/>
        </p:nvSpPr>
        <p:spPr>
          <a:xfrm>
            <a:off x="5257681"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166" name="Flowchart: Manual Operation 165">
            <a:extLst>
              <a:ext uri="{FF2B5EF4-FFF2-40B4-BE49-F238E27FC236}">
                <a16:creationId xmlns:a16="http://schemas.microsoft.com/office/drawing/2014/main" id="{57BB9CB5-895F-4721-974D-1BFFBD1BB243}"/>
              </a:ext>
            </a:extLst>
          </p:cNvPr>
          <p:cNvSpPr/>
          <p:nvPr/>
        </p:nvSpPr>
        <p:spPr>
          <a:xfrm>
            <a:off x="7019831"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8</a:t>
            </a:r>
          </a:p>
        </p:txBody>
      </p:sp>
      <p:sp>
        <p:nvSpPr>
          <p:cNvPr id="167" name="Flowchart: Manual Operation 166">
            <a:extLst>
              <a:ext uri="{FF2B5EF4-FFF2-40B4-BE49-F238E27FC236}">
                <a16:creationId xmlns:a16="http://schemas.microsoft.com/office/drawing/2014/main" id="{8505CA24-9216-4EE6-8248-6C261833BE51}"/>
              </a:ext>
            </a:extLst>
          </p:cNvPr>
          <p:cNvSpPr/>
          <p:nvPr/>
        </p:nvSpPr>
        <p:spPr>
          <a:xfrm>
            <a:off x="6138757"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7</a:t>
            </a:r>
          </a:p>
        </p:txBody>
      </p:sp>
      <p:sp>
        <p:nvSpPr>
          <p:cNvPr id="168" name="Flowchart: Manual Operation 167">
            <a:extLst>
              <a:ext uri="{FF2B5EF4-FFF2-40B4-BE49-F238E27FC236}">
                <a16:creationId xmlns:a16="http://schemas.microsoft.com/office/drawing/2014/main" id="{7178B1B4-6041-49B1-B103-0709247112BA}"/>
              </a:ext>
            </a:extLst>
          </p:cNvPr>
          <p:cNvSpPr/>
          <p:nvPr/>
        </p:nvSpPr>
        <p:spPr>
          <a:xfrm>
            <a:off x="7900907"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9</a:t>
            </a:r>
          </a:p>
        </p:txBody>
      </p:sp>
      <p:sp>
        <p:nvSpPr>
          <p:cNvPr id="169" name="Flowchart: Manual Operation 168">
            <a:extLst>
              <a:ext uri="{FF2B5EF4-FFF2-40B4-BE49-F238E27FC236}">
                <a16:creationId xmlns:a16="http://schemas.microsoft.com/office/drawing/2014/main" id="{5A931556-E085-4D99-B5A0-EA3246BB504B}"/>
              </a:ext>
            </a:extLst>
          </p:cNvPr>
          <p:cNvSpPr/>
          <p:nvPr/>
        </p:nvSpPr>
        <p:spPr>
          <a:xfrm>
            <a:off x="8781982"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0</a:t>
            </a:r>
          </a:p>
        </p:txBody>
      </p:sp>
      <p:sp>
        <p:nvSpPr>
          <p:cNvPr id="170" name="Flowchart: Manual Operation 169">
            <a:extLst>
              <a:ext uri="{FF2B5EF4-FFF2-40B4-BE49-F238E27FC236}">
                <a16:creationId xmlns:a16="http://schemas.microsoft.com/office/drawing/2014/main" id="{86E00F7E-D742-484C-BC8D-B402023E3272}"/>
              </a:ext>
            </a:extLst>
          </p:cNvPr>
          <p:cNvSpPr/>
          <p:nvPr/>
        </p:nvSpPr>
        <p:spPr>
          <a:xfrm>
            <a:off x="10544132"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2</a:t>
            </a:r>
          </a:p>
        </p:txBody>
      </p:sp>
      <p:sp>
        <p:nvSpPr>
          <p:cNvPr id="171" name="Flowchart: Manual Operation 170">
            <a:extLst>
              <a:ext uri="{FF2B5EF4-FFF2-40B4-BE49-F238E27FC236}">
                <a16:creationId xmlns:a16="http://schemas.microsoft.com/office/drawing/2014/main" id="{7CB10292-78CF-409A-B234-6BE5D7E42B09}"/>
              </a:ext>
            </a:extLst>
          </p:cNvPr>
          <p:cNvSpPr/>
          <p:nvPr/>
        </p:nvSpPr>
        <p:spPr>
          <a:xfrm>
            <a:off x="9663057" y="2104592"/>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1</a:t>
            </a:r>
          </a:p>
        </p:txBody>
      </p:sp>
      <p:sp>
        <p:nvSpPr>
          <p:cNvPr id="172" name="Flowchart: Manual Operation 171">
            <a:extLst>
              <a:ext uri="{FF2B5EF4-FFF2-40B4-BE49-F238E27FC236}">
                <a16:creationId xmlns:a16="http://schemas.microsoft.com/office/drawing/2014/main" id="{28CBDB3F-C7BF-44AE-915F-55A92A2C2E5E}"/>
              </a:ext>
            </a:extLst>
          </p:cNvPr>
          <p:cNvSpPr/>
          <p:nvPr/>
        </p:nvSpPr>
        <p:spPr>
          <a:xfrm>
            <a:off x="858264"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173" name="Flowchart: Manual Operation 172">
            <a:extLst>
              <a:ext uri="{FF2B5EF4-FFF2-40B4-BE49-F238E27FC236}">
                <a16:creationId xmlns:a16="http://schemas.microsoft.com/office/drawing/2014/main" id="{38AE8562-FC6B-449D-900B-787C9DF5E3BF}"/>
              </a:ext>
            </a:extLst>
          </p:cNvPr>
          <p:cNvSpPr/>
          <p:nvPr/>
        </p:nvSpPr>
        <p:spPr>
          <a:xfrm>
            <a:off x="1739340"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174" name="Flowchart: Manual Operation 173">
            <a:extLst>
              <a:ext uri="{FF2B5EF4-FFF2-40B4-BE49-F238E27FC236}">
                <a16:creationId xmlns:a16="http://schemas.microsoft.com/office/drawing/2014/main" id="{0207CF82-A90E-49F0-9AB7-A6366F9776D1}"/>
              </a:ext>
            </a:extLst>
          </p:cNvPr>
          <p:cNvSpPr/>
          <p:nvPr/>
        </p:nvSpPr>
        <p:spPr>
          <a:xfrm>
            <a:off x="3501489"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175" name="Flowchart: Manual Operation 174">
            <a:extLst>
              <a:ext uri="{FF2B5EF4-FFF2-40B4-BE49-F238E27FC236}">
                <a16:creationId xmlns:a16="http://schemas.microsoft.com/office/drawing/2014/main" id="{72976883-2CAB-4EB4-8AE2-3DA62042C01B}"/>
              </a:ext>
            </a:extLst>
          </p:cNvPr>
          <p:cNvSpPr/>
          <p:nvPr/>
        </p:nvSpPr>
        <p:spPr>
          <a:xfrm>
            <a:off x="2620414"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176" name="Flowchart: Manual Operation 175">
            <a:extLst>
              <a:ext uri="{FF2B5EF4-FFF2-40B4-BE49-F238E27FC236}">
                <a16:creationId xmlns:a16="http://schemas.microsoft.com/office/drawing/2014/main" id="{886C1B67-6964-48BF-B82F-71AB062E0892}"/>
              </a:ext>
            </a:extLst>
          </p:cNvPr>
          <p:cNvSpPr/>
          <p:nvPr/>
        </p:nvSpPr>
        <p:spPr>
          <a:xfrm>
            <a:off x="4378342"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sp>
        <p:nvSpPr>
          <p:cNvPr id="177" name="Flowchart: Manual Operation 176">
            <a:extLst>
              <a:ext uri="{FF2B5EF4-FFF2-40B4-BE49-F238E27FC236}">
                <a16:creationId xmlns:a16="http://schemas.microsoft.com/office/drawing/2014/main" id="{26D85955-2A98-49E5-AAD3-8861514182D9}"/>
              </a:ext>
            </a:extLst>
          </p:cNvPr>
          <p:cNvSpPr/>
          <p:nvPr/>
        </p:nvSpPr>
        <p:spPr>
          <a:xfrm>
            <a:off x="5259416"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6</a:t>
            </a:r>
          </a:p>
        </p:txBody>
      </p:sp>
      <p:sp>
        <p:nvSpPr>
          <p:cNvPr id="178" name="Flowchart: Manual Operation 177">
            <a:extLst>
              <a:ext uri="{FF2B5EF4-FFF2-40B4-BE49-F238E27FC236}">
                <a16:creationId xmlns:a16="http://schemas.microsoft.com/office/drawing/2014/main" id="{DE588944-6856-4B03-8440-FCD17FB4393D}"/>
              </a:ext>
            </a:extLst>
          </p:cNvPr>
          <p:cNvSpPr/>
          <p:nvPr/>
        </p:nvSpPr>
        <p:spPr>
          <a:xfrm>
            <a:off x="7021566"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8</a:t>
            </a:r>
          </a:p>
        </p:txBody>
      </p:sp>
      <p:sp>
        <p:nvSpPr>
          <p:cNvPr id="179" name="Flowchart: Manual Operation 178">
            <a:extLst>
              <a:ext uri="{FF2B5EF4-FFF2-40B4-BE49-F238E27FC236}">
                <a16:creationId xmlns:a16="http://schemas.microsoft.com/office/drawing/2014/main" id="{866AB02D-117B-4D7B-AC8E-E73273961AD4}"/>
              </a:ext>
            </a:extLst>
          </p:cNvPr>
          <p:cNvSpPr/>
          <p:nvPr/>
        </p:nvSpPr>
        <p:spPr>
          <a:xfrm>
            <a:off x="6140492"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7</a:t>
            </a:r>
          </a:p>
        </p:txBody>
      </p:sp>
      <p:sp>
        <p:nvSpPr>
          <p:cNvPr id="180" name="Flowchart: Manual Operation 179">
            <a:extLst>
              <a:ext uri="{FF2B5EF4-FFF2-40B4-BE49-F238E27FC236}">
                <a16:creationId xmlns:a16="http://schemas.microsoft.com/office/drawing/2014/main" id="{942C9E1F-FF7F-449E-87C2-D62C60BADAF1}"/>
              </a:ext>
            </a:extLst>
          </p:cNvPr>
          <p:cNvSpPr/>
          <p:nvPr/>
        </p:nvSpPr>
        <p:spPr>
          <a:xfrm>
            <a:off x="7902642"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9</a:t>
            </a:r>
          </a:p>
        </p:txBody>
      </p:sp>
      <p:sp>
        <p:nvSpPr>
          <p:cNvPr id="181" name="Flowchart: Manual Operation 180">
            <a:extLst>
              <a:ext uri="{FF2B5EF4-FFF2-40B4-BE49-F238E27FC236}">
                <a16:creationId xmlns:a16="http://schemas.microsoft.com/office/drawing/2014/main" id="{2B18C83C-06D8-4C85-A52F-6D9F56C8F4F2}"/>
              </a:ext>
            </a:extLst>
          </p:cNvPr>
          <p:cNvSpPr/>
          <p:nvPr/>
        </p:nvSpPr>
        <p:spPr>
          <a:xfrm>
            <a:off x="8783717"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0</a:t>
            </a:r>
          </a:p>
        </p:txBody>
      </p:sp>
      <p:sp>
        <p:nvSpPr>
          <p:cNvPr id="182" name="Flowchart: Manual Operation 181">
            <a:extLst>
              <a:ext uri="{FF2B5EF4-FFF2-40B4-BE49-F238E27FC236}">
                <a16:creationId xmlns:a16="http://schemas.microsoft.com/office/drawing/2014/main" id="{25EF10AE-1FFE-4486-B178-7023E57EB5B9}"/>
              </a:ext>
            </a:extLst>
          </p:cNvPr>
          <p:cNvSpPr/>
          <p:nvPr/>
        </p:nvSpPr>
        <p:spPr>
          <a:xfrm>
            <a:off x="10545867"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2</a:t>
            </a:r>
          </a:p>
        </p:txBody>
      </p:sp>
      <p:sp>
        <p:nvSpPr>
          <p:cNvPr id="183" name="Flowchart: Manual Operation 182">
            <a:extLst>
              <a:ext uri="{FF2B5EF4-FFF2-40B4-BE49-F238E27FC236}">
                <a16:creationId xmlns:a16="http://schemas.microsoft.com/office/drawing/2014/main" id="{69435124-69C8-4717-BF6F-9474F78E7EE2}"/>
              </a:ext>
            </a:extLst>
          </p:cNvPr>
          <p:cNvSpPr/>
          <p:nvPr/>
        </p:nvSpPr>
        <p:spPr>
          <a:xfrm>
            <a:off x="9664792" y="37439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1</a:t>
            </a:r>
          </a:p>
        </p:txBody>
      </p:sp>
      <p:sp>
        <p:nvSpPr>
          <p:cNvPr id="184" name="TextBox 183">
            <a:extLst>
              <a:ext uri="{FF2B5EF4-FFF2-40B4-BE49-F238E27FC236}">
                <a16:creationId xmlns:a16="http://schemas.microsoft.com/office/drawing/2014/main" id="{87FD8992-AB9C-4540-8074-D4D9CAF0867E}"/>
              </a:ext>
            </a:extLst>
          </p:cNvPr>
          <p:cNvSpPr txBox="1"/>
          <p:nvPr/>
        </p:nvSpPr>
        <p:spPr>
          <a:xfrm>
            <a:off x="11444968" y="2155862"/>
            <a:ext cx="971854"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a:t>
            </a:r>
          </a:p>
        </p:txBody>
      </p:sp>
      <p:sp>
        <p:nvSpPr>
          <p:cNvPr id="185" name="TextBox 184">
            <a:extLst>
              <a:ext uri="{FF2B5EF4-FFF2-40B4-BE49-F238E27FC236}">
                <a16:creationId xmlns:a16="http://schemas.microsoft.com/office/drawing/2014/main" id="{DE698D58-BFC2-4B07-862E-FFBBA975C0FD}"/>
              </a:ext>
            </a:extLst>
          </p:cNvPr>
          <p:cNvSpPr txBox="1"/>
          <p:nvPr/>
        </p:nvSpPr>
        <p:spPr>
          <a:xfrm>
            <a:off x="11490357" y="3759650"/>
            <a:ext cx="881075"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008272"/>
                </a:solidFill>
              </a:rPr>
              <a:t>…..</a:t>
            </a:r>
          </a:p>
        </p:txBody>
      </p:sp>
      <p:cxnSp>
        <p:nvCxnSpPr>
          <p:cNvPr id="186" name="Straight Arrow Connector 185">
            <a:extLst>
              <a:ext uri="{FF2B5EF4-FFF2-40B4-BE49-F238E27FC236}">
                <a16:creationId xmlns:a16="http://schemas.microsoft.com/office/drawing/2014/main" id="{83449B0D-B4F1-42AD-BDA1-DE1DAE6DE1AE}"/>
              </a:ext>
            </a:extLst>
          </p:cNvPr>
          <p:cNvCxnSpPr>
            <a:cxnSpLocks/>
          </p:cNvCxnSpPr>
          <p:nvPr/>
        </p:nvCxnSpPr>
        <p:spPr>
          <a:xfrm flipV="1">
            <a:off x="1297066" y="2754219"/>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3760F8F1-3702-4454-9C18-D9134852E49B}"/>
              </a:ext>
            </a:extLst>
          </p:cNvPr>
          <p:cNvCxnSpPr>
            <a:cxnSpLocks/>
          </p:cNvCxnSpPr>
          <p:nvPr/>
        </p:nvCxnSpPr>
        <p:spPr>
          <a:xfrm flipV="1">
            <a:off x="2168678" y="2754219"/>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FAEFAAF1-DF35-4E15-9C73-E0C984D611DC}"/>
              </a:ext>
            </a:extLst>
          </p:cNvPr>
          <p:cNvCxnSpPr>
            <a:cxnSpLocks/>
          </p:cNvCxnSpPr>
          <p:nvPr/>
        </p:nvCxnSpPr>
        <p:spPr>
          <a:xfrm flipV="1">
            <a:off x="3028315" y="2783726"/>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B61A11EC-D29C-450D-ACDE-8EBD1EF48A1A}"/>
              </a:ext>
            </a:extLst>
          </p:cNvPr>
          <p:cNvCxnSpPr>
            <a:cxnSpLocks/>
          </p:cNvCxnSpPr>
          <p:nvPr/>
        </p:nvCxnSpPr>
        <p:spPr>
          <a:xfrm flipV="1">
            <a:off x="3933245" y="2770201"/>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C72100A0-D4CB-4AB8-A2AC-8C5628579875}"/>
              </a:ext>
            </a:extLst>
          </p:cNvPr>
          <p:cNvCxnSpPr>
            <a:cxnSpLocks/>
          </p:cNvCxnSpPr>
          <p:nvPr/>
        </p:nvCxnSpPr>
        <p:spPr>
          <a:xfrm flipV="1">
            <a:off x="4770437" y="2770201"/>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7C13CC32-2427-4DA0-B137-7E8CE70AA933}"/>
              </a:ext>
            </a:extLst>
          </p:cNvPr>
          <p:cNvCxnSpPr>
            <a:cxnSpLocks/>
          </p:cNvCxnSpPr>
          <p:nvPr/>
        </p:nvCxnSpPr>
        <p:spPr>
          <a:xfrm flipV="1">
            <a:off x="5698218" y="2770201"/>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5DDE140E-F7C1-410C-BFC5-77910D5F0E73}"/>
              </a:ext>
            </a:extLst>
          </p:cNvPr>
          <p:cNvCxnSpPr>
            <a:cxnSpLocks/>
          </p:cNvCxnSpPr>
          <p:nvPr/>
        </p:nvCxnSpPr>
        <p:spPr>
          <a:xfrm flipV="1">
            <a:off x="6579294" y="276837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08827EA-1F1D-4512-8D96-C95C79D0525E}"/>
              </a:ext>
            </a:extLst>
          </p:cNvPr>
          <p:cNvCxnSpPr>
            <a:cxnSpLocks/>
          </p:cNvCxnSpPr>
          <p:nvPr/>
        </p:nvCxnSpPr>
        <p:spPr>
          <a:xfrm flipV="1">
            <a:off x="7460368" y="2783726"/>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1D5E4925-EBDB-4615-BDA6-FAC49E49D629}"/>
              </a:ext>
            </a:extLst>
          </p:cNvPr>
          <p:cNvCxnSpPr>
            <a:cxnSpLocks/>
          </p:cNvCxnSpPr>
          <p:nvPr/>
        </p:nvCxnSpPr>
        <p:spPr>
          <a:xfrm flipV="1">
            <a:off x="8341444" y="2754219"/>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B92DEABB-E2F1-4E3B-A721-8F98C4B7138B}"/>
              </a:ext>
            </a:extLst>
          </p:cNvPr>
          <p:cNvCxnSpPr>
            <a:cxnSpLocks/>
          </p:cNvCxnSpPr>
          <p:nvPr/>
        </p:nvCxnSpPr>
        <p:spPr>
          <a:xfrm flipV="1">
            <a:off x="9222519" y="2754219"/>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64880E38-ED2B-4E46-B7D4-C5F20FDF431E}"/>
              </a:ext>
            </a:extLst>
          </p:cNvPr>
          <p:cNvCxnSpPr>
            <a:cxnSpLocks/>
          </p:cNvCxnSpPr>
          <p:nvPr/>
        </p:nvCxnSpPr>
        <p:spPr>
          <a:xfrm flipV="1">
            <a:off x="10103594" y="2754219"/>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91D8A766-2AF2-4317-9529-43C791AF5B7D}"/>
              </a:ext>
            </a:extLst>
          </p:cNvPr>
          <p:cNvCxnSpPr>
            <a:cxnSpLocks/>
          </p:cNvCxnSpPr>
          <p:nvPr/>
        </p:nvCxnSpPr>
        <p:spPr>
          <a:xfrm flipV="1">
            <a:off x="10984669" y="276837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A8D764D0-04D2-4B94-8F3A-8AD40D469565}"/>
              </a:ext>
            </a:extLst>
          </p:cNvPr>
          <p:cNvCxnSpPr>
            <a:cxnSpLocks/>
            <a:stCxn id="172" idx="0"/>
            <a:endCxn id="161" idx="2"/>
          </p:cNvCxnSpPr>
          <p:nvPr/>
        </p:nvCxnSpPr>
        <p:spPr>
          <a:xfrm flipV="1">
            <a:off x="1298802" y="2838821"/>
            <a:ext cx="879341"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A45E2250-F8D7-411E-887F-9BBF85FA42EE}"/>
              </a:ext>
            </a:extLst>
          </p:cNvPr>
          <p:cNvCxnSpPr>
            <a:cxnSpLocks/>
            <a:stCxn id="172" idx="0"/>
            <a:endCxn id="162" idx="2"/>
          </p:cNvCxnSpPr>
          <p:nvPr/>
        </p:nvCxnSpPr>
        <p:spPr>
          <a:xfrm flipV="1">
            <a:off x="1298802" y="2838821"/>
            <a:ext cx="2641490"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0" name="Multiplication Sign 199">
            <a:extLst>
              <a:ext uri="{FF2B5EF4-FFF2-40B4-BE49-F238E27FC236}">
                <a16:creationId xmlns:a16="http://schemas.microsoft.com/office/drawing/2014/main" id="{2FA35743-2DE0-4693-B843-9A3A97D74A2C}"/>
              </a:ext>
            </a:extLst>
          </p:cNvPr>
          <p:cNvSpPr/>
          <p:nvPr/>
        </p:nvSpPr>
        <p:spPr bwMode="auto">
          <a:xfrm>
            <a:off x="1519812" y="3003636"/>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1" name="Multiplication Sign 200">
            <a:extLst>
              <a:ext uri="{FF2B5EF4-FFF2-40B4-BE49-F238E27FC236}">
                <a16:creationId xmlns:a16="http://schemas.microsoft.com/office/drawing/2014/main" id="{9738FDB1-8E53-4F0E-8C2D-101FAE283EDE}"/>
              </a:ext>
            </a:extLst>
          </p:cNvPr>
          <p:cNvSpPr/>
          <p:nvPr/>
        </p:nvSpPr>
        <p:spPr bwMode="auto">
          <a:xfrm>
            <a:off x="2328277" y="3041599"/>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2" name="TextBox 201">
            <a:extLst>
              <a:ext uri="{FF2B5EF4-FFF2-40B4-BE49-F238E27FC236}">
                <a16:creationId xmlns:a16="http://schemas.microsoft.com/office/drawing/2014/main" id="{FC2D401B-D846-42D7-9E99-ABB307F1A05A}"/>
              </a:ext>
            </a:extLst>
          </p:cNvPr>
          <p:cNvSpPr txBox="1"/>
          <p:nvPr/>
        </p:nvSpPr>
        <p:spPr>
          <a:xfrm>
            <a:off x="294578" y="1556993"/>
            <a:ext cx="839765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C00000"/>
                </a:solidFill>
              </a:rPr>
              <a:t>Distributed table: </a:t>
            </a:r>
            <a:r>
              <a:rPr lang="en-US" sz="2400" dirty="0" err="1">
                <a:solidFill>
                  <a:srgbClr val="C00000"/>
                </a:solidFill>
              </a:rPr>
              <a:t>fct_OrderHeader</a:t>
            </a:r>
            <a:endParaRPr lang="en-US" sz="2400" dirty="0">
              <a:solidFill>
                <a:srgbClr val="C00000"/>
              </a:solidFill>
            </a:endParaRPr>
          </a:p>
        </p:txBody>
      </p:sp>
      <p:sp>
        <p:nvSpPr>
          <p:cNvPr id="203" name="TextBox 202">
            <a:extLst>
              <a:ext uri="{FF2B5EF4-FFF2-40B4-BE49-F238E27FC236}">
                <a16:creationId xmlns:a16="http://schemas.microsoft.com/office/drawing/2014/main" id="{C14F6747-EDD5-46A3-BB16-E4714433C92C}"/>
              </a:ext>
            </a:extLst>
          </p:cNvPr>
          <p:cNvSpPr txBox="1"/>
          <p:nvPr/>
        </p:nvSpPr>
        <p:spPr>
          <a:xfrm>
            <a:off x="294578" y="4387514"/>
            <a:ext cx="1024781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Details</a:t>
            </a:r>
            <a:endParaRPr lang="en-US" sz="2400" dirty="0">
              <a:solidFill>
                <a:srgbClr val="008272"/>
              </a:solidFill>
            </a:endParaRPr>
          </a:p>
        </p:txBody>
      </p:sp>
    </p:spTree>
    <p:extLst>
      <p:ext uri="{BB962C8B-B14F-4D97-AF65-F5344CB8AC3E}">
        <p14:creationId xmlns:p14="http://schemas.microsoft.com/office/powerpoint/2010/main" val="149268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1"/>
                                        </p:tgtEl>
                                        <p:attrNameLst>
                                          <p:attrName>style.visibility</p:attrName>
                                        </p:attrNameLst>
                                      </p:cBhvr>
                                      <p:to>
                                        <p:strVal val="visible"/>
                                      </p:to>
                                    </p:set>
                                    <p:animEffect transition="in" filter="fade">
                                      <p:cBhvr>
                                        <p:cTn id="10" dur="500"/>
                                        <p:tgtEl>
                                          <p:spTgt spid="111"/>
                                        </p:tgtEl>
                                      </p:cBhvr>
                                    </p:animEffect>
                                  </p:childTnLst>
                                </p:cTn>
                              </p:par>
                              <p:par>
                                <p:cTn id="11" presetID="10" presetClass="exit" presetSubtype="0" fill="hold" grpId="0" nodeType="withEffect">
                                  <p:stCondLst>
                                    <p:cond delay="0"/>
                                  </p:stCondLst>
                                  <p:childTnLst>
                                    <p:animEffect transition="out" filter="fade">
                                      <p:cBhvr>
                                        <p:cTn id="12" dur="500"/>
                                        <p:tgtEl>
                                          <p:spTgt spid="112"/>
                                        </p:tgtEl>
                                      </p:cBhvr>
                                    </p:animEffect>
                                    <p:set>
                                      <p:cBhvr>
                                        <p:cTn id="13" dur="1" fill="hold">
                                          <p:stCondLst>
                                            <p:cond delay="499"/>
                                          </p:stCondLst>
                                        </p:cTn>
                                        <p:tgtEl>
                                          <p:spTgt spid="112"/>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113"/>
                                        </p:tgtEl>
                                      </p:cBhvr>
                                    </p:animEffect>
                                    <p:set>
                                      <p:cBhvr>
                                        <p:cTn id="16" dur="1" fill="hold">
                                          <p:stCondLst>
                                            <p:cond delay="499"/>
                                          </p:stCondLst>
                                        </p:cTn>
                                        <p:tgtEl>
                                          <p:spTgt spid="113"/>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114"/>
                                        </p:tgtEl>
                                      </p:cBhvr>
                                    </p:animEffect>
                                    <p:set>
                                      <p:cBhvr>
                                        <p:cTn id="19" dur="1" fill="hold">
                                          <p:stCondLst>
                                            <p:cond delay="499"/>
                                          </p:stCondLst>
                                        </p:cTn>
                                        <p:tgtEl>
                                          <p:spTgt spid="114"/>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115"/>
                                        </p:tgtEl>
                                      </p:cBhvr>
                                    </p:animEffect>
                                    <p:set>
                                      <p:cBhvr>
                                        <p:cTn id="22" dur="1" fill="hold">
                                          <p:stCondLst>
                                            <p:cond delay="499"/>
                                          </p:stCondLst>
                                        </p:cTn>
                                        <p:tgtEl>
                                          <p:spTgt spid="115"/>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16"/>
                                        </p:tgtEl>
                                      </p:cBhvr>
                                    </p:animEffect>
                                    <p:set>
                                      <p:cBhvr>
                                        <p:cTn id="25" dur="1" fill="hold">
                                          <p:stCondLst>
                                            <p:cond delay="499"/>
                                          </p:stCondLst>
                                        </p:cTn>
                                        <p:tgtEl>
                                          <p:spTgt spid="1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17"/>
                                        </p:tgtEl>
                                      </p:cBhvr>
                                    </p:animEffect>
                                    <p:set>
                                      <p:cBhvr>
                                        <p:cTn id="28" dur="1" fill="hold">
                                          <p:stCondLst>
                                            <p:cond delay="499"/>
                                          </p:stCondLst>
                                        </p:cTn>
                                        <p:tgtEl>
                                          <p:spTgt spid="117"/>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118"/>
                                        </p:tgtEl>
                                      </p:cBhvr>
                                    </p:animEffect>
                                    <p:set>
                                      <p:cBhvr>
                                        <p:cTn id="31" dur="1" fill="hold">
                                          <p:stCondLst>
                                            <p:cond delay="499"/>
                                          </p:stCondLst>
                                        </p:cTn>
                                        <p:tgtEl>
                                          <p:spTgt spid="118"/>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119"/>
                                        </p:tgtEl>
                                      </p:cBhvr>
                                    </p:animEffect>
                                    <p:set>
                                      <p:cBhvr>
                                        <p:cTn id="34" dur="1" fill="hold">
                                          <p:stCondLst>
                                            <p:cond delay="499"/>
                                          </p:stCondLst>
                                        </p:cTn>
                                        <p:tgtEl>
                                          <p:spTgt spid="119"/>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120"/>
                                        </p:tgtEl>
                                      </p:cBhvr>
                                    </p:animEffect>
                                    <p:set>
                                      <p:cBhvr>
                                        <p:cTn id="37" dur="1" fill="hold">
                                          <p:stCondLst>
                                            <p:cond delay="499"/>
                                          </p:stCondLst>
                                        </p:cTn>
                                        <p:tgtEl>
                                          <p:spTgt spid="120"/>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121"/>
                                        </p:tgtEl>
                                      </p:cBhvr>
                                    </p:animEffect>
                                    <p:set>
                                      <p:cBhvr>
                                        <p:cTn id="40" dur="1" fill="hold">
                                          <p:stCondLst>
                                            <p:cond delay="499"/>
                                          </p:stCondLst>
                                        </p:cTn>
                                        <p:tgtEl>
                                          <p:spTgt spid="121"/>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122"/>
                                        </p:tgtEl>
                                      </p:cBhvr>
                                    </p:animEffect>
                                    <p:set>
                                      <p:cBhvr>
                                        <p:cTn id="43" dur="1" fill="hold">
                                          <p:stCondLst>
                                            <p:cond delay="499"/>
                                          </p:stCondLst>
                                        </p:cTn>
                                        <p:tgtEl>
                                          <p:spTgt spid="122"/>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123"/>
                                        </p:tgtEl>
                                      </p:cBhvr>
                                    </p:animEffect>
                                    <p:set>
                                      <p:cBhvr>
                                        <p:cTn id="46" dur="1" fill="hold">
                                          <p:stCondLst>
                                            <p:cond delay="499"/>
                                          </p:stCondLst>
                                        </p:cTn>
                                        <p:tgtEl>
                                          <p:spTgt spid="123"/>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24"/>
                                        </p:tgtEl>
                                      </p:cBhvr>
                                    </p:animEffect>
                                    <p:set>
                                      <p:cBhvr>
                                        <p:cTn id="49" dur="1" fill="hold">
                                          <p:stCondLst>
                                            <p:cond delay="499"/>
                                          </p:stCondLst>
                                        </p:cTn>
                                        <p:tgtEl>
                                          <p:spTgt spid="124"/>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125"/>
                                        </p:tgtEl>
                                      </p:cBhvr>
                                    </p:animEffect>
                                    <p:set>
                                      <p:cBhvr>
                                        <p:cTn id="52" dur="1" fill="hold">
                                          <p:stCondLst>
                                            <p:cond delay="499"/>
                                          </p:stCondLst>
                                        </p:cTn>
                                        <p:tgtEl>
                                          <p:spTgt spid="125"/>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126"/>
                                        </p:tgtEl>
                                      </p:cBhvr>
                                    </p:animEffect>
                                    <p:set>
                                      <p:cBhvr>
                                        <p:cTn id="55" dur="1" fill="hold">
                                          <p:stCondLst>
                                            <p:cond delay="499"/>
                                          </p:stCondLst>
                                        </p:cTn>
                                        <p:tgtEl>
                                          <p:spTgt spid="126"/>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127"/>
                                        </p:tgtEl>
                                      </p:cBhvr>
                                    </p:animEffect>
                                    <p:set>
                                      <p:cBhvr>
                                        <p:cTn id="58" dur="1" fill="hold">
                                          <p:stCondLst>
                                            <p:cond delay="499"/>
                                          </p:stCondLst>
                                        </p:cTn>
                                        <p:tgtEl>
                                          <p:spTgt spid="127"/>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128"/>
                                        </p:tgtEl>
                                      </p:cBhvr>
                                    </p:animEffect>
                                    <p:set>
                                      <p:cBhvr>
                                        <p:cTn id="61" dur="1" fill="hold">
                                          <p:stCondLst>
                                            <p:cond delay="499"/>
                                          </p:stCondLst>
                                        </p:cTn>
                                        <p:tgtEl>
                                          <p:spTgt spid="128"/>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129"/>
                                        </p:tgtEl>
                                      </p:cBhvr>
                                    </p:animEffect>
                                    <p:set>
                                      <p:cBhvr>
                                        <p:cTn id="64" dur="1" fill="hold">
                                          <p:stCondLst>
                                            <p:cond delay="499"/>
                                          </p:stCondLst>
                                        </p:cTn>
                                        <p:tgtEl>
                                          <p:spTgt spid="129"/>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130"/>
                                        </p:tgtEl>
                                      </p:cBhvr>
                                    </p:animEffect>
                                    <p:set>
                                      <p:cBhvr>
                                        <p:cTn id="67" dur="1" fill="hold">
                                          <p:stCondLst>
                                            <p:cond delay="499"/>
                                          </p:stCondLst>
                                        </p:cTn>
                                        <p:tgtEl>
                                          <p:spTgt spid="130"/>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131"/>
                                        </p:tgtEl>
                                      </p:cBhvr>
                                    </p:animEffect>
                                    <p:set>
                                      <p:cBhvr>
                                        <p:cTn id="70" dur="1" fill="hold">
                                          <p:stCondLst>
                                            <p:cond delay="499"/>
                                          </p:stCondLst>
                                        </p:cTn>
                                        <p:tgtEl>
                                          <p:spTgt spid="131"/>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132"/>
                                        </p:tgtEl>
                                      </p:cBhvr>
                                    </p:animEffect>
                                    <p:set>
                                      <p:cBhvr>
                                        <p:cTn id="73" dur="1" fill="hold">
                                          <p:stCondLst>
                                            <p:cond delay="499"/>
                                          </p:stCondLst>
                                        </p:cTn>
                                        <p:tgtEl>
                                          <p:spTgt spid="132"/>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133"/>
                                        </p:tgtEl>
                                      </p:cBhvr>
                                    </p:animEffect>
                                    <p:set>
                                      <p:cBhvr>
                                        <p:cTn id="76" dur="1" fill="hold">
                                          <p:stCondLst>
                                            <p:cond delay="499"/>
                                          </p:stCondLst>
                                        </p:cTn>
                                        <p:tgtEl>
                                          <p:spTgt spid="133"/>
                                        </p:tgtEl>
                                        <p:attrNameLst>
                                          <p:attrName>style.visibility</p:attrName>
                                        </p:attrNameLst>
                                      </p:cBhvr>
                                      <p:to>
                                        <p:strVal val="hidden"/>
                                      </p:to>
                                    </p:set>
                                  </p:childTnLst>
                                </p:cTn>
                              </p:par>
                              <p:par>
                                <p:cTn id="77" presetID="10" presetClass="exit" presetSubtype="0" fill="hold" grpId="0" nodeType="withEffect">
                                  <p:stCondLst>
                                    <p:cond delay="0"/>
                                  </p:stCondLst>
                                  <p:childTnLst>
                                    <p:animEffect transition="out" filter="fade">
                                      <p:cBhvr>
                                        <p:cTn id="78" dur="500"/>
                                        <p:tgtEl>
                                          <p:spTgt spid="134"/>
                                        </p:tgtEl>
                                      </p:cBhvr>
                                    </p:animEffect>
                                    <p:set>
                                      <p:cBhvr>
                                        <p:cTn id="79" dur="1" fill="hold">
                                          <p:stCondLst>
                                            <p:cond delay="499"/>
                                          </p:stCondLst>
                                        </p:cTn>
                                        <p:tgtEl>
                                          <p:spTgt spid="134"/>
                                        </p:tgtEl>
                                        <p:attrNameLst>
                                          <p:attrName>style.visibility</p:attrName>
                                        </p:attrNameLst>
                                      </p:cBhvr>
                                      <p:to>
                                        <p:strVal val="hidden"/>
                                      </p:to>
                                    </p:set>
                                  </p:childTnLst>
                                </p:cTn>
                              </p:par>
                              <p:par>
                                <p:cTn id="80" presetID="10" presetClass="exit" presetSubtype="0" fill="hold" grpId="0" nodeType="withEffect">
                                  <p:stCondLst>
                                    <p:cond delay="0"/>
                                  </p:stCondLst>
                                  <p:childTnLst>
                                    <p:animEffect transition="out" filter="fade">
                                      <p:cBhvr>
                                        <p:cTn id="81" dur="500"/>
                                        <p:tgtEl>
                                          <p:spTgt spid="135"/>
                                        </p:tgtEl>
                                      </p:cBhvr>
                                    </p:animEffect>
                                    <p:set>
                                      <p:cBhvr>
                                        <p:cTn id="82" dur="1" fill="hold">
                                          <p:stCondLst>
                                            <p:cond delay="499"/>
                                          </p:stCondLst>
                                        </p:cTn>
                                        <p:tgtEl>
                                          <p:spTgt spid="135"/>
                                        </p:tgtEl>
                                        <p:attrNameLst>
                                          <p:attrName>style.visibility</p:attrName>
                                        </p:attrNameLst>
                                      </p:cBhvr>
                                      <p:to>
                                        <p:strVal val="hidden"/>
                                      </p:to>
                                    </p:set>
                                  </p:childTnLst>
                                </p:cTn>
                              </p:par>
                              <p:par>
                                <p:cTn id="83" presetID="10" presetClass="exit" presetSubtype="0" fill="hold" grpId="0" nodeType="withEffect">
                                  <p:stCondLst>
                                    <p:cond delay="0"/>
                                  </p:stCondLst>
                                  <p:childTnLst>
                                    <p:animEffect transition="out" filter="fade">
                                      <p:cBhvr>
                                        <p:cTn id="84" dur="500"/>
                                        <p:tgtEl>
                                          <p:spTgt spid="136"/>
                                        </p:tgtEl>
                                      </p:cBhvr>
                                    </p:animEffect>
                                    <p:set>
                                      <p:cBhvr>
                                        <p:cTn id="85" dur="1" fill="hold">
                                          <p:stCondLst>
                                            <p:cond delay="499"/>
                                          </p:stCondLst>
                                        </p:cTn>
                                        <p:tgtEl>
                                          <p:spTgt spid="136"/>
                                        </p:tgtEl>
                                        <p:attrNameLst>
                                          <p:attrName>style.visibility</p:attrName>
                                        </p:attrNameLst>
                                      </p:cBhvr>
                                      <p:to>
                                        <p:strVal val="hidden"/>
                                      </p:to>
                                    </p:set>
                                  </p:childTnLst>
                                </p:cTn>
                              </p:par>
                              <p:par>
                                <p:cTn id="86" presetID="10" presetClass="exit" presetSubtype="0" fill="hold" grpId="0" nodeType="withEffect">
                                  <p:stCondLst>
                                    <p:cond delay="0"/>
                                  </p:stCondLst>
                                  <p:childTnLst>
                                    <p:animEffect transition="out" filter="fade">
                                      <p:cBhvr>
                                        <p:cTn id="87" dur="500"/>
                                        <p:tgtEl>
                                          <p:spTgt spid="137"/>
                                        </p:tgtEl>
                                      </p:cBhvr>
                                    </p:animEffect>
                                    <p:set>
                                      <p:cBhvr>
                                        <p:cTn id="88" dur="1" fill="hold">
                                          <p:stCondLst>
                                            <p:cond delay="499"/>
                                          </p:stCondLst>
                                        </p:cTn>
                                        <p:tgtEl>
                                          <p:spTgt spid="137"/>
                                        </p:tgtEl>
                                        <p:attrNameLst>
                                          <p:attrName>style.visibility</p:attrName>
                                        </p:attrNameLst>
                                      </p:cBhvr>
                                      <p:to>
                                        <p:strVal val="hidden"/>
                                      </p:to>
                                    </p:set>
                                  </p:childTnLst>
                                </p:cTn>
                              </p:par>
                              <p:par>
                                <p:cTn id="89" presetID="10" presetClass="exit" presetSubtype="0" fill="hold" grpId="0" nodeType="withEffect">
                                  <p:stCondLst>
                                    <p:cond delay="0"/>
                                  </p:stCondLst>
                                  <p:childTnLst>
                                    <p:animEffect transition="out" filter="fade">
                                      <p:cBhvr>
                                        <p:cTn id="90" dur="500"/>
                                        <p:tgtEl>
                                          <p:spTgt spid="138"/>
                                        </p:tgtEl>
                                      </p:cBhvr>
                                    </p:animEffect>
                                    <p:set>
                                      <p:cBhvr>
                                        <p:cTn id="91" dur="1" fill="hold">
                                          <p:stCondLst>
                                            <p:cond delay="499"/>
                                          </p:stCondLst>
                                        </p:cTn>
                                        <p:tgtEl>
                                          <p:spTgt spid="138"/>
                                        </p:tgtEl>
                                        <p:attrNameLst>
                                          <p:attrName>style.visibility</p:attrName>
                                        </p:attrNameLst>
                                      </p:cBhvr>
                                      <p:to>
                                        <p:strVal val="hidden"/>
                                      </p:to>
                                    </p:set>
                                  </p:childTnLst>
                                </p:cTn>
                              </p:par>
                              <p:par>
                                <p:cTn id="92" presetID="10" presetClass="exit" presetSubtype="0" fill="hold" grpId="0" nodeType="withEffect">
                                  <p:stCondLst>
                                    <p:cond delay="0"/>
                                  </p:stCondLst>
                                  <p:childTnLst>
                                    <p:animEffect transition="out" filter="fade">
                                      <p:cBhvr>
                                        <p:cTn id="93" dur="500"/>
                                        <p:tgtEl>
                                          <p:spTgt spid="139"/>
                                        </p:tgtEl>
                                      </p:cBhvr>
                                    </p:animEffect>
                                    <p:set>
                                      <p:cBhvr>
                                        <p:cTn id="94" dur="1" fill="hold">
                                          <p:stCondLst>
                                            <p:cond delay="499"/>
                                          </p:stCondLst>
                                        </p:cTn>
                                        <p:tgtEl>
                                          <p:spTgt spid="139"/>
                                        </p:tgtEl>
                                        <p:attrNameLst>
                                          <p:attrName>style.visibility</p:attrName>
                                        </p:attrNameLst>
                                      </p:cBhvr>
                                      <p:to>
                                        <p:strVal val="hidden"/>
                                      </p:to>
                                    </p:set>
                                  </p:childTnLst>
                                </p:cTn>
                              </p:par>
                              <p:par>
                                <p:cTn id="95" presetID="10" presetClass="exit" presetSubtype="0" fill="hold" grpId="0" nodeType="withEffect">
                                  <p:stCondLst>
                                    <p:cond delay="0"/>
                                  </p:stCondLst>
                                  <p:childTnLst>
                                    <p:animEffect transition="out" filter="fade">
                                      <p:cBhvr>
                                        <p:cTn id="96" dur="500"/>
                                        <p:tgtEl>
                                          <p:spTgt spid="140"/>
                                        </p:tgtEl>
                                      </p:cBhvr>
                                    </p:animEffect>
                                    <p:set>
                                      <p:cBhvr>
                                        <p:cTn id="97" dur="1" fill="hold">
                                          <p:stCondLst>
                                            <p:cond delay="499"/>
                                          </p:stCondLst>
                                        </p:cTn>
                                        <p:tgtEl>
                                          <p:spTgt spid="140"/>
                                        </p:tgtEl>
                                        <p:attrNameLst>
                                          <p:attrName>style.visibility</p:attrName>
                                        </p:attrNameLst>
                                      </p:cBhvr>
                                      <p:to>
                                        <p:strVal val="hidden"/>
                                      </p:to>
                                    </p:set>
                                  </p:childTnLst>
                                </p:cTn>
                              </p:par>
                              <p:par>
                                <p:cTn id="98" presetID="10" presetClass="exit" presetSubtype="0" fill="hold" grpId="0" nodeType="withEffect">
                                  <p:stCondLst>
                                    <p:cond delay="0"/>
                                  </p:stCondLst>
                                  <p:childTnLst>
                                    <p:animEffect transition="out" filter="fade">
                                      <p:cBhvr>
                                        <p:cTn id="99" dur="500"/>
                                        <p:tgtEl>
                                          <p:spTgt spid="141"/>
                                        </p:tgtEl>
                                      </p:cBhvr>
                                    </p:animEffect>
                                    <p:set>
                                      <p:cBhvr>
                                        <p:cTn id="100" dur="1" fill="hold">
                                          <p:stCondLst>
                                            <p:cond delay="499"/>
                                          </p:stCondLst>
                                        </p:cTn>
                                        <p:tgtEl>
                                          <p:spTgt spid="141"/>
                                        </p:tgtEl>
                                        <p:attrNameLst>
                                          <p:attrName>style.visibility</p:attrName>
                                        </p:attrNameLst>
                                      </p:cBhvr>
                                      <p:to>
                                        <p:strVal val="hidden"/>
                                      </p:to>
                                    </p:set>
                                  </p:childTnLst>
                                </p:cTn>
                              </p:par>
                              <p:par>
                                <p:cTn id="101" presetID="10" presetClass="exit" presetSubtype="0" fill="hold" grpId="0" nodeType="withEffect">
                                  <p:stCondLst>
                                    <p:cond delay="0"/>
                                  </p:stCondLst>
                                  <p:childTnLst>
                                    <p:animEffect transition="out" filter="fade">
                                      <p:cBhvr>
                                        <p:cTn id="102" dur="500"/>
                                        <p:tgtEl>
                                          <p:spTgt spid="142"/>
                                        </p:tgtEl>
                                      </p:cBhvr>
                                    </p:animEffect>
                                    <p:set>
                                      <p:cBhvr>
                                        <p:cTn id="103" dur="1" fill="hold">
                                          <p:stCondLst>
                                            <p:cond delay="499"/>
                                          </p:stCondLst>
                                        </p:cTn>
                                        <p:tgtEl>
                                          <p:spTgt spid="142"/>
                                        </p:tgtEl>
                                        <p:attrNameLst>
                                          <p:attrName>style.visibility</p:attrName>
                                        </p:attrNameLst>
                                      </p:cBhvr>
                                      <p:to>
                                        <p:strVal val="hidden"/>
                                      </p:to>
                                    </p:set>
                                  </p:childTnLst>
                                </p:cTn>
                              </p:par>
                              <p:par>
                                <p:cTn id="104" presetID="10" presetClass="exit" presetSubtype="0" fill="hold" grpId="0" nodeType="withEffect">
                                  <p:stCondLst>
                                    <p:cond delay="0"/>
                                  </p:stCondLst>
                                  <p:childTnLst>
                                    <p:animEffect transition="out" filter="fade">
                                      <p:cBhvr>
                                        <p:cTn id="105" dur="500"/>
                                        <p:tgtEl>
                                          <p:spTgt spid="143"/>
                                        </p:tgtEl>
                                      </p:cBhvr>
                                    </p:animEffect>
                                    <p:set>
                                      <p:cBhvr>
                                        <p:cTn id="106" dur="1" fill="hold">
                                          <p:stCondLst>
                                            <p:cond delay="499"/>
                                          </p:stCondLst>
                                        </p:cTn>
                                        <p:tgtEl>
                                          <p:spTgt spid="143"/>
                                        </p:tgtEl>
                                        <p:attrNameLst>
                                          <p:attrName>style.visibility</p:attrName>
                                        </p:attrNameLst>
                                      </p:cBhvr>
                                      <p:to>
                                        <p:strVal val="hidden"/>
                                      </p:to>
                                    </p:set>
                                  </p:childTnLst>
                                </p:cTn>
                              </p:par>
                              <p:par>
                                <p:cTn id="107" presetID="10" presetClass="exit" presetSubtype="0" fill="hold" grpId="0" nodeType="withEffect">
                                  <p:stCondLst>
                                    <p:cond delay="0"/>
                                  </p:stCondLst>
                                  <p:childTnLst>
                                    <p:animEffect transition="out" filter="fade">
                                      <p:cBhvr>
                                        <p:cTn id="108" dur="500"/>
                                        <p:tgtEl>
                                          <p:spTgt spid="144"/>
                                        </p:tgtEl>
                                      </p:cBhvr>
                                    </p:animEffect>
                                    <p:set>
                                      <p:cBhvr>
                                        <p:cTn id="109" dur="1" fill="hold">
                                          <p:stCondLst>
                                            <p:cond delay="499"/>
                                          </p:stCondLst>
                                        </p:cTn>
                                        <p:tgtEl>
                                          <p:spTgt spid="144"/>
                                        </p:tgtEl>
                                        <p:attrNameLst>
                                          <p:attrName>style.visibility</p:attrName>
                                        </p:attrNameLst>
                                      </p:cBhvr>
                                      <p:to>
                                        <p:strVal val="hidden"/>
                                      </p:to>
                                    </p:set>
                                  </p:childTnLst>
                                </p:cTn>
                              </p:par>
                              <p:par>
                                <p:cTn id="110" presetID="10" presetClass="exit" presetSubtype="0" fill="hold" grpId="0" nodeType="withEffect">
                                  <p:stCondLst>
                                    <p:cond delay="0"/>
                                  </p:stCondLst>
                                  <p:childTnLst>
                                    <p:animEffect transition="out" filter="fade">
                                      <p:cBhvr>
                                        <p:cTn id="111" dur="500"/>
                                        <p:tgtEl>
                                          <p:spTgt spid="145"/>
                                        </p:tgtEl>
                                      </p:cBhvr>
                                    </p:animEffect>
                                    <p:set>
                                      <p:cBhvr>
                                        <p:cTn id="112" dur="1" fill="hold">
                                          <p:stCondLst>
                                            <p:cond delay="499"/>
                                          </p:stCondLst>
                                        </p:cTn>
                                        <p:tgtEl>
                                          <p:spTgt spid="145"/>
                                        </p:tgtEl>
                                        <p:attrNameLst>
                                          <p:attrName>style.visibility</p:attrName>
                                        </p:attrNameLst>
                                      </p:cBhvr>
                                      <p:to>
                                        <p:strVal val="hidden"/>
                                      </p:to>
                                    </p:set>
                                  </p:childTnLst>
                                </p:cTn>
                              </p:par>
                              <p:par>
                                <p:cTn id="113" presetID="10" presetClass="exit" presetSubtype="0" fill="hold" grpId="0" nodeType="withEffect">
                                  <p:stCondLst>
                                    <p:cond delay="0"/>
                                  </p:stCondLst>
                                  <p:childTnLst>
                                    <p:animEffect transition="out" filter="fade">
                                      <p:cBhvr>
                                        <p:cTn id="114" dur="500"/>
                                        <p:tgtEl>
                                          <p:spTgt spid="146"/>
                                        </p:tgtEl>
                                      </p:cBhvr>
                                    </p:animEffect>
                                    <p:set>
                                      <p:cBhvr>
                                        <p:cTn id="115" dur="1" fill="hold">
                                          <p:stCondLst>
                                            <p:cond delay="499"/>
                                          </p:stCondLst>
                                        </p:cTn>
                                        <p:tgtEl>
                                          <p:spTgt spid="146"/>
                                        </p:tgtEl>
                                        <p:attrNameLst>
                                          <p:attrName>style.visibility</p:attrName>
                                        </p:attrNameLst>
                                      </p:cBhvr>
                                      <p:to>
                                        <p:strVal val="hidden"/>
                                      </p:to>
                                    </p:set>
                                  </p:childTnLst>
                                </p:cTn>
                              </p:par>
                              <p:par>
                                <p:cTn id="116" presetID="10" presetClass="exit" presetSubtype="0" fill="hold" grpId="0" nodeType="withEffect">
                                  <p:stCondLst>
                                    <p:cond delay="0"/>
                                  </p:stCondLst>
                                  <p:childTnLst>
                                    <p:animEffect transition="out" filter="fade">
                                      <p:cBhvr>
                                        <p:cTn id="117" dur="500"/>
                                        <p:tgtEl>
                                          <p:spTgt spid="147"/>
                                        </p:tgtEl>
                                      </p:cBhvr>
                                    </p:animEffect>
                                    <p:set>
                                      <p:cBhvr>
                                        <p:cTn id="118" dur="1" fill="hold">
                                          <p:stCondLst>
                                            <p:cond delay="499"/>
                                          </p:stCondLst>
                                        </p:cTn>
                                        <p:tgtEl>
                                          <p:spTgt spid="147"/>
                                        </p:tgtEl>
                                        <p:attrNameLst>
                                          <p:attrName>style.visibility</p:attrName>
                                        </p:attrNameLst>
                                      </p:cBhvr>
                                      <p:to>
                                        <p:strVal val="hidden"/>
                                      </p:to>
                                    </p:set>
                                  </p:childTnLst>
                                </p:cTn>
                              </p:par>
                              <p:par>
                                <p:cTn id="119" presetID="10" presetClass="exit" presetSubtype="0" fill="hold" grpId="0" nodeType="withEffect">
                                  <p:stCondLst>
                                    <p:cond delay="0"/>
                                  </p:stCondLst>
                                  <p:childTnLst>
                                    <p:animEffect transition="out" filter="fade">
                                      <p:cBhvr>
                                        <p:cTn id="120" dur="500"/>
                                        <p:tgtEl>
                                          <p:spTgt spid="148"/>
                                        </p:tgtEl>
                                      </p:cBhvr>
                                    </p:animEffect>
                                    <p:set>
                                      <p:cBhvr>
                                        <p:cTn id="121" dur="1" fill="hold">
                                          <p:stCondLst>
                                            <p:cond delay="499"/>
                                          </p:stCondLst>
                                        </p:cTn>
                                        <p:tgtEl>
                                          <p:spTgt spid="148"/>
                                        </p:tgtEl>
                                        <p:attrNameLst>
                                          <p:attrName>style.visibility</p:attrName>
                                        </p:attrNameLst>
                                      </p:cBhvr>
                                      <p:to>
                                        <p:strVal val="hidden"/>
                                      </p:to>
                                    </p:set>
                                  </p:childTnLst>
                                </p:cTn>
                              </p:par>
                              <p:par>
                                <p:cTn id="122" presetID="10" presetClass="exit" presetSubtype="0" fill="hold" grpId="0" nodeType="withEffect">
                                  <p:stCondLst>
                                    <p:cond delay="0"/>
                                  </p:stCondLst>
                                  <p:childTnLst>
                                    <p:animEffect transition="out" filter="fade">
                                      <p:cBhvr>
                                        <p:cTn id="123" dur="500"/>
                                        <p:tgtEl>
                                          <p:spTgt spid="149"/>
                                        </p:tgtEl>
                                      </p:cBhvr>
                                    </p:animEffect>
                                    <p:set>
                                      <p:cBhvr>
                                        <p:cTn id="124" dur="1" fill="hold">
                                          <p:stCondLst>
                                            <p:cond delay="499"/>
                                          </p:stCondLst>
                                        </p:cTn>
                                        <p:tgtEl>
                                          <p:spTgt spid="149"/>
                                        </p:tgtEl>
                                        <p:attrNameLst>
                                          <p:attrName>style.visibility</p:attrName>
                                        </p:attrNameLst>
                                      </p:cBhvr>
                                      <p:to>
                                        <p:strVal val="hidden"/>
                                      </p:to>
                                    </p:set>
                                  </p:childTnLst>
                                </p:cTn>
                              </p:par>
                              <p:par>
                                <p:cTn id="125" presetID="10" presetClass="exit" presetSubtype="0" fill="hold" grpId="0" nodeType="withEffect">
                                  <p:stCondLst>
                                    <p:cond delay="0"/>
                                  </p:stCondLst>
                                  <p:childTnLst>
                                    <p:animEffect transition="out" filter="fade">
                                      <p:cBhvr>
                                        <p:cTn id="126" dur="500"/>
                                        <p:tgtEl>
                                          <p:spTgt spid="150"/>
                                        </p:tgtEl>
                                      </p:cBhvr>
                                    </p:animEffect>
                                    <p:set>
                                      <p:cBhvr>
                                        <p:cTn id="127" dur="1" fill="hold">
                                          <p:stCondLst>
                                            <p:cond delay="499"/>
                                          </p:stCondLst>
                                        </p:cTn>
                                        <p:tgtEl>
                                          <p:spTgt spid="150"/>
                                        </p:tgtEl>
                                        <p:attrNameLst>
                                          <p:attrName>style.visibility</p:attrName>
                                        </p:attrNameLst>
                                      </p:cBhvr>
                                      <p:to>
                                        <p:strVal val="hidden"/>
                                      </p:to>
                                    </p:set>
                                  </p:childTnLst>
                                </p:cTn>
                              </p:par>
                              <p:par>
                                <p:cTn id="128" presetID="10" presetClass="exit" presetSubtype="0" fill="hold" grpId="0" nodeType="withEffect">
                                  <p:stCondLst>
                                    <p:cond delay="0"/>
                                  </p:stCondLst>
                                  <p:childTnLst>
                                    <p:animEffect transition="out" filter="fade">
                                      <p:cBhvr>
                                        <p:cTn id="129" dur="500"/>
                                        <p:tgtEl>
                                          <p:spTgt spid="151"/>
                                        </p:tgtEl>
                                      </p:cBhvr>
                                    </p:animEffect>
                                    <p:set>
                                      <p:cBhvr>
                                        <p:cTn id="130" dur="1" fill="hold">
                                          <p:stCondLst>
                                            <p:cond delay="499"/>
                                          </p:stCondLst>
                                        </p:cTn>
                                        <p:tgtEl>
                                          <p:spTgt spid="151"/>
                                        </p:tgtEl>
                                        <p:attrNameLst>
                                          <p:attrName>style.visibility</p:attrName>
                                        </p:attrNameLst>
                                      </p:cBhvr>
                                      <p:to>
                                        <p:strVal val="hidden"/>
                                      </p:to>
                                    </p:set>
                                  </p:childTnLst>
                                </p:cTn>
                              </p:par>
                              <p:par>
                                <p:cTn id="131" presetID="10" presetClass="exit" presetSubtype="0" fill="hold" grpId="0" nodeType="withEffect">
                                  <p:stCondLst>
                                    <p:cond delay="0"/>
                                  </p:stCondLst>
                                  <p:childTnLst>
                                    <p:animEffect transition="out" filter="fade">
                                      <p:cBhvr>
                                        <p:cTn id="132" dur="500"/>
                                        <p:tgtEl>
                                          <p:spTgt spid="152"/>
                                        </p:tgtEl>
                                      </p:cBhvr>
                                    </p:animEffect>
                                    <p:set>
                                      <p:cBhvr>
                                        <p:cTn id="133" dur="1" fill="hold">
                                          <p:stCondLst>
                                            <p:cond delay="499"/>
                                          </p:stCondLst>
                                        </p:cTn>
                                        <p:tgtEl>
                                          <p:spTgt spid="152"/>
                                        </p:tgtEl>
                                        <p:attrNameLst>
                                          <p:attrName>style.visibility</p:attrName>
                                        </p:attrNameLst>
                                      </p:cBhvr>
                                      <p:to>
                                        <p:strVal val="hidden"/>
                                      </p:to>
                                    </p:set>
                                  </p:childTnLst>
                                </p:cTn>
                              </p:par>
                              <p:par>
                                <p:cTn id="134" presetID="10" presetClass="exit" presetSubtype="0" fill="hold" grpId="0" nodeType="withEffect">
                                  <p:stCondLst>
                                    <p:cond delay="0"/>
                                  </p:stCondLst>
                                  <p:childTnLst>
                                    <p:animEffect transition="out" filter="fade">
                                      <p:cBhvr>
                                        <p:cTn id="135" dur="500"/>
                                        <p:tgtEl>
                                          <p:spTgt spid="153"/>
                                        </p:tgtEl>
                                      </p:cBhvr>
                                    </p:animEffect>
                                    <p:set>
                                      <p:cBhvr>
                                        <p:cTn id="136" dur="1" fill="hold">
                                          <p:stCondLst>
                                            <p:cond delay="499"/>
                                          </p:stCondLst>
                                        </p:cTn>
                                        <p:tgtEl>
                                          <p:spTgt spid="153"/>
                                        </p:tgtEl>
                                        <p:attrNameLst>
                                          <p:attrName>style.visibility</p:attrName>
                                        </p:attrNameLst>
                                      </p:cBhvr>
                                      <p:to>
                                        <p:strVal val="hidden"/>
                                      </p:to>
                                    </p:set>
                                  </p:childTnLst>
                                </p:cTn>
                              </p:par>
                              <p:par>
                                <p:cTn id="137" presetID="10" presetClass="exit" presetSubtype="0" fill="hold" grpId="0" nodeType="withEffect">
                                  <p:stCondLst>
                                    <p:cond delay="0"/>
                                  </p:stCondLst>
                                  <p:childTnLst>
                                    <p:animEffect transition="out" filter="fade">
                                      <p:cBhvr>
                                        <p:cTn id="138" dur="500"/>
                                        <p:tgtEl>
                                          <p:spTgt spid="154"/>
                                        </p:tgtEl>
                                      </p:cBhvr>
                                    </p:animEffect>
                                    <p:set>
                                      <p:cBhvr>
                                        <p:cTn id="139" dur="1" fill="hold">
                                          <p:stCondLst>
                                            <p:cond delay="499"/>
                                          </p:stCondLst>
                                        </p:cTn>
                                        <p:tgtEl>
                                          <p:spTgt spid="154"/>
                                        </p:tgtEl>
                                        <p:attrNameLst>
                                          <p:attrName>style.visibility</p:attrName>
                                        </p:attrNameLst>
                                      </p:cBhvr>
                                      <p:to>
                                        <p:strVal val="hidden"/>
                                      </p:to>
                                    </p:set>
                                  </p:childTnLst>
                                </p:cTn>
                              </p:par>
                              <p:par>
                                <p:cTn id="140" presetID="10" presetClass="exit" presetSubtype="0" fill="hold" grpId="0" nodeType="withEffect">
                                  <p:stCondLst>
                                    <p:cond delay="0"/>
                                  </p:stCondLst>
                                  <p:childTnLst>
                                    <p:animEffect transition="out" filter="fade">
                                      <p:cBhvr>
                                        <p:cTn id="141" dur="500"/>
                                        <p:tgtEl>
                                          <p:spTgt spid="155"/>
                                        </p:tgtEl>
                                      </p:cBhvr>
                                    </p:animEffect>
                                    <p:set>
                                      <p:cBhvr>
                                        <p:cTn id="142" dur="1" fill="hold">
                                          <p:stCondLst>
                                            <p:cond delay="499"/>
                                          </p:stCondLst>
                                        </p:cTn>
                                        <p:tgtEl>
                                          <p:spTgt spid="155"/>
                                        </p:tgtEl>
                                        <p:attrNameLst>
                                          <p:attrName>style.visibility</p:attrName>
                                        </p:attrNameLst>
                                      </p:cBhvr>
                                      <p:to>
                                        <p:strVal val="hidden"/>
                                      </p:to>
                                    </p:set>
                                  </p:childTnLst>
                                </p:cTn>
                              </p:par>
                              <p:par>
                                <p:cTn id="143" presetID="10" presetClass="exit" presetSubtype="0" fill="hold" grpId="0" nodeType="withEffect">
                                  <p:stCondLst>
                                    <p:cond delay="0"/>
                                  </p:stCondLst>
                                  <p:childTnLst>
                                    <p:animEffect transition="out" filter="fade">
                                      <p:cBhvr>
                                        <p:cTn id="144" dur="500"/>
                                        <p:tgtEl>
                                          <p:spTgt spid="156"/>
                                        </p:tgtEl>
                                      </p:cBhvr>
                                    </p:animEffect>
                                    <p:set>
                                      <p:cBhvr>
                                        <p:cTn id="145" dur="1" fill="hold">
                                          <p:stCondLst>
                                            <p:cond delay="499"/>
                                          </p:stCondLst>
                                        </p:cTn>
                                        <p:tgtEl>
                                          <p:spTgt spid="156"/>
                                        </p:tgtEl>
                                        <p:attrNameLst>
                                          <p:attrName>style.visibility</p:attrName>
                                        </p:attrNameLst>
                                      </p:cBhvr>
                                      <p:to>
                                        <p:strVal val="hidden"/>
                                      </p:to>
                                    </p:set>
                                  </p:childTnLst>
                                </p:cTn>
                              </p:par>
                              <p:par>
                                <p:cTn id="146" presetID="10" presetClass="exit" presetSubtype="0" fill="hold" grpId="0" nodeType="withEffect">
                                  <p:stCondLst>
                                    <p:cond delay="0"/>
                                  </p:stCondLst>
                                  <p:childTnLst>
                                    <p:animEffect transition="out" filter="fade">
                                      <p:cBhvr>
                                        <p:cTn id="147" dur="500"/>
                                        <p:tgtEl>
                                          <p:spTgt spid="157"/>
                                        </p:tgtEl>
                                      </p:cBhvr>
                                    </p:animEffect>
                                    <p:set>
                                      <p:cBhvr>
                                        <p:cTn id="148" dur="1" fill="hold">
                                          <p:stCondLst>
                                            <p:cond delay="499"/>
                                          </p:stCondLst>
                                        </p:cTn>
                                        <p:tgtEl>
                                          <p:spTgt spid="157"/>
                                        </p:tgtEl>
                                        <p:attrNameLst>
                                          <p:attrName>style.visibility</p:attrName>
                                        </p:attrNameLst>
                                      </p:cBhvr>
                                      <p:to>
                                        <p:strVal val="hidden"/>
                                      </p:to>
                                    </p:set>
                                  </p:childTnLst>
                                </p:cTn>
                              </p:par>
                              <p:par>
                                <p:cTn id="149" presetID="10" presetClass="exit" presetSubtype="0" fill="hold" grpId="0" nodeType="withEffect">
                                  <p:stCondLst>
                                    <p:cond delay="0"/>
                                  </p:stCondLst>
                                  <p:childTnLst>
                                    <p:animEffect transition="out" filter="fade">
                                      <p:cBhvr>
                                        <p:cTn id="150" dur="500"/>
                                        <p:tgtEl>
                                          <p:spTgt spid="158"/>
                                        </p:tgtEl>
                                      </p:cBhvr>
                                    </p:animEffect>
                                    <p:set>
                                      <p:cBhvr>
                                        <p:cTn id="151" dur="1" fill="hold">
                                          <p:stCondLst>
                                            <p:cond delay="499"/>
                                          </p:stCondLst>
                                        </p:cTn>
                                        <p:tgtEl>
                                          <p:spTgt spid="158"/>
                                        </p:tgtEl>
                                        <p:attrNameLst>
                                          <p:attrName>style.visibility</p:attrName>
                                        </p:attrNameLst>
                                      </p:cBhvr>
                                      <p:to>
                                        <p:strVal val="hidden"/>
                                      </p:to>
                                    </p:set>
                                  </p:childTnLst>
                                </p:cTn>
                              </p:par>
                              <p:par>
                                <p:cTn id="152" presetID="10" presetClass="exit" presetSubtype="0" fill="hold" grpId="0" nodeType="withEffect">
                                  <p:stCondLst>
                                    <p:cond delay="0"/>
                                  </p:stCondLst>
                                  <p:childTnLst>
                                    <p:animEffect transition="out" filter="fade">
                                      <p:cBhvr>
                                        <p:cTn id="153" dur="500"/>
                                        <p:tgtEl>
                                          <p:spTgt spid="159"/>
                                        </p:tgtEl>
                                      </p:cBhvr>
                                    </p:animEffect>
                                    <p:set>
                                      <p:cBhvr>
                                        <p:cTn id="154" dur="1" fill="hold">
                                          <p:stCondLst>
                                            <p:cond delay="499"/>
                                          </p:stCondLst>
                                        </p:cTn>
                                        <p:tgtEl>
                                          <p:spTgt spid="159"/>
                                        </p:tgtEl>
                                        <p:attrNameLst>
                                          <p:attrName>style.visibility</p:attrName>
                                        </p:attrNameLst>
                                      </p:cBhvr>
                                      <p:to>
                                        <p:strVal val="hidden"/>
                                      </p:to>
                                    </p:set>
                                  </p:childTnLst>
                                </p:cTn>
                              </p:par>
                              <p:par>
                                <p:cTn id="155" presetID="10" presetClass="entr" presetSubtype="0" fill="hold" grpId="0" nodeType="withEffect">
                                  <p:stCondLst>
                                    <p:cond delay="0"/>
                                  </p:stCondLst>
                                  <p:childTnLst>
                                    <p:set>
                                      <p:cBhvr>
                                        <p:cTn id="156" dur="1" fill="hold">
                                          <p:stCondLst>
                                            <p:cond delay="0"/>
                                          </p:stCondLst>
                                        </p:cTn>
                                        <p:tgtEl>
                                          <p:spTgt spid="184"/>
                                        </p:tgtEl>
                                        <p:attrNameLst>
                                          <p:attrName>style.visibility</p:attrName>
                                        </p:attrNameLst>
                                      </p:cBhvr>
                                      <p:to>
                                        <p:strVal val="visible"/>
                                      </p:to>
                                    </p:set>
                                    <p:animEffect transition="in" filter="fade">
                                      <p:cBhvr>
                                        <p:cTn id="157" dur="500"/>
                                        <p:tgtEl>
                                          <p:spTgt spid="184"/>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172"/>
                                        </p:tgtEl>
                                        <p:attrNameLst>
                                          <p:attrName>style.visibility</p:attrName>
                                        </p:attrNameLst>
                                      </p:cBhvr>
                                      <p:to>
                                        <p:strVal val="visible"/>
                                      </p:to>
                                    </p:set>
                                    <p:animEffect transition="in" filter="fade">
                                      <p:cBhvr>
                                        <p:cTn id="160" dur="500"/>
                                        <p:tgtEl>
                                          <p:spTgt spid="172"/>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173"/>
                                        </p:tgtEl>
                                        <p:attrNameLst>
                                          <p:attrName>style.visibility</p:attrName>
                                        </p:attrNameLst>
                                      </p:cBhvr>
                                      <p:to>
                                        <p:strVal val="visible"/>
                                      </p:to>
                                    </p:set>
                                    <p:animEffect transition="in" filter="fade">
                                      <p:cBhvr>
                                        <p:cTn id="163" dur="500"/>
                                        <p:tgtEl>
                                          <p:spTgt spid="173"/>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174"/>
                                        </p:tgtEl>
                                        <p:attrNameLst>
                                          <p:attrName>style.visibility</p:attrName>
                                        </p:attrNameLst>
                                      </p:cBhvr>
                                      <p:to>
                                        <p:strVal val="visible"/>
                                      </p:to>
                                    </p:set>
                                    <p:animEffect transition="in" filter="fade">
                                      <p:cBhvr>
                                        <p:cTn id="166" dur="500"/>
                                        <p:tgtEl>
                                          <p:spTgt spid="174"/>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175"/>
                                        </p:tgtEl>
                                        <p:attrNameLst>
                                          <p:attrName>style.visibility</p:attrName>
                                        </p:attrNameLst>
                                      </p:cBhvr>
                                      <p:to>
                                        <p:strVal val="visible"/>
                                      </p:to>
                                    </p:set>
                                    <p:animEffect transition="in" filter="fade">
                                      <p:cBhvr>
                                        <p:cTn id="169" dur="500"/>
                                        <p:tgtEl>
                                          <p:spTgt spid="175"/>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176"/>
                                        </p:tgtEl>
                                        <p:attrNameLst>
                                          <p:attrName>style.visibility</p:attrName>
                                        </p:attrNameLst>
                                      </p:cBhvr>
                                      <p:to>
                                        <p:strVal val="visible"/>
                                      </p:to>
                                    </p:set>
                                    <p:animEffect transition="in" filter="fade">
                                      <p:cBhvr>
                                        <p:cTn id="172" dur="500"/>
                                        <p:tgtEl>
                                          <p:spTgt spid="176"/>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77"/>
                                        </p:tgtEl>
                                        <p:attrNameLst>
                                          <p:attrName>style.visibility</p:attrName>
                                        </p:attrNameLst>
                                      </p:cBhvr>
                                      <p:to>
                                        <p:strVal val="visible"/>
                                      </p:to>
                                    </p:set>
                                    <p:animEffect transition="in" filter="fade">
                                      <p:cBhvr>
                                        <p:cTn id="175" dur="500"/>
                                        <p:tgtEl>
                                          <p:spTgt spid="177"/>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78"/>
                                        </p:tgtEl>
                                        <p:attrNameLst>
                                          <p:attrName>style.visibility</p:attrName>
                                        </p:attrNameLst>
                                      </p:cBhvr>
                                      <p:to>
                                        <p:strVal val="visible"/>
                                      </p:to>
                                    </p:set>
                                    <p:animEffect transition="in" filter="fade">
                                      <p:cBhvr>
                                        <p:cTn id="178" dur="500"/>
                                        <p:tgtEl>
                                          <p:spTgt spid="178"/>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79"/>
                                        </p:tgtEl>
                                        <p:attrNameLst>
                                          <p:attrName>style.visibility</p:attrName>
                                        </p:attrNameLst>
                                      </p:cBhvr>
                                      <p:to>
                                        <p:strVal val="visible"/>
                                      </p:to>
                                    </p:set>
                                    <p:animEffect transition="in" filter="fade">
                                      <p:cBhvr>
                                        <p:cTn id="181" dur="500"/>
                                        <p:tgtEl>
                                          <p:spTgt spid="179"/>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80"/>
                                        </p:tgtEl>
                                        <p:attrNameLst>
                                          <p:attrName>style.visibility</p:attrName>
                                        </p:attrNameLst>
                                      </p:cBhvr>
                                      <p:to>
                                        <p:strVal val="visible"/>
                                      </p:to>
                                    </p:set>
                                    <p:animEffect transition="in" filter="fade">
                                      <p:cBhvr>
                                        <p:cTn id="184" dur="500"/>
                                        <p:tgtEl>
                                          <p:spTgt spid="180"/>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81"/>
                                        </p:tgtEl>
                                        <p:attrNameLst>
                                          <p:attrName>style.visibility</p:attrName>
                                        </p:attrNameLst>
                                      </p:cBhvr>
                                      <p:to>
                                        <p:strVal val="visible"/>
                                      </p:to>
                                    </p:set>
                                    <p:animEffect transition="in" filter="fade">
                                      <p:cBhvr>
                                        <p:cTn id="187" dur="500"/>
                                        <p:tgtEl>
                                          <p:spTgt spid="181"/>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182"/>
                                        </p:tgtEl>
                                        <p:attrNameLst>
                                          <p:attrName>style.visibility</p:attrName>
                                        </p:attrNameLst>
                                      </p:cBhvr>
                                      <p:to>
                                        <p:strVal val="visible"/>
                                      </p:to>
                                    </p:set>
                                    <p:animEffect transition="in" filter="fade">
                                      <p:cBhvr>
                                        <p:cTn id="190" dur="500"/>
                                        <p:tgtEl>
                                          <p:spTgt spid="182"/>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83"/>
                                        </p:tgtEl>
                                        <p:attrNameLst>
                                          <p:attrName>style.visibility</p:attrName>
                                        </p:attrNameLst>
                                      </p:cBhvr>
                                      <p:to>
                                        <p:strVal val="visible"/>
                                      </p:to>
                                    </p:set>
                                    <p:animEffect transition="in" filter="fade">
                                      <p:cBhvr>
                                        <p:cTn id="193" dur="500"/>
                                        <p:tgtEl>
                                          <p:spTgt spid="183"/>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85"/>
                                        </p:tgtEl>
                                        <p:attrNameLst>
                                          <p:attrName>style.visibility</p:attrName>
                                        </p:attrNameLst>
                                      </p:cBhvr>
                                      <p:to>
                                        <p:strVal val="visible"/>
                                      </p:to>
                                    </p:set>
                                    <p:animEffect transition="in" filter="fade">
                                      <p:cBhvr>
                                        <p:cTn id="196" dur="500"/>
                                        <p:tgtEl>
                                          <p:spTgt spid="185"/>
                                        </p:tgtEl>
                                      </p:cBhvr>
                                    </p:animEffect>
                                  </p:childTnLst>
                                </p:cTn>
                              </p:par>
                            </p:childTnLst>
                          </p:cTn>
                        </p:par>
                        <p:par>
                          <p:cTn id="197" fill="hold">
                            <p:stCondLst>
                              <p:cond delay="500"/>
                            </p:stCondLst>
                            <p:childTnLst>
                              <p:par>
                                <p:cTn id="198" presetID="10" presetClass="entr" presetSubtype="0" fill="hold" grpId="0" nodeType="afterEffect">
                                  <p:stCondLst>
                                    <p:cond delay="0"/>
                                  </p:stCondLst>
                                  <p:childTnLst>
                                    <p:set>
                                      <p:cBhvr>
                                        <p:cTn id="199" dur="1" fill="hold">
                                          <p:stCondLst>
                                            <p:cond delay="0"/>
                                          </p:stCondLst>
                                        </p:cTn>
                                        <p:tgtEl>
                                          <p:spTgt spid="202"/>
                                        </p:tgtEl>
                                        <p:attrNameLst>
                                          <p:attrName>style.visibility</p:attrName>
                                        </p:attrNameLst>
                                      </p:cBhvr>
                                      <p:to>
                                        <p:strVal val="visible"/>
                                      </p:to>
                                    </p:set>
                                    <p:animEffect transition="in" filter="fade">
                                      <p:cBhvr>
                                        <p:cTn id="200" dur="500"/>
                                        <p:tgtEl>
                                          <p:spTgt spid="202"/>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203"/>
                                        </p:tgtEl>
                                        <p:attrNameLst>
                                          <p:attrName>style.visibility</p:attrName>
                                        </p:attrNameLst>
                                      </p:cBhvr>
                                      <p:to>
                                        <p:strVal val="visible"/>
                                      </p:to>
                                    </p:set>
                                    <p:animEffect transition="in" filter="fade">
                                      <p:cBhvr>
                                        <p:cTn id="203" dur="500"/>
                                        <p:tgtEl>
                                          <p:spTgt spid="203"/>
                                        </p:tgtEl>
                                      </p:cBhvr>
                                    </p:animEffect>
                                  </p:childTnLst>
                                </p:cTn>
                              </p:par>
                            </p:childTnLst>
                          </p:cTn>
                        </p:par>
                      </p:childTnLst>
                    </p:cTn>
                  </p:par>
                  <p:par>
                    <p:cTn id="204" fill="hold">
                      <p:stCondLst>
                        <p:cond delay="indefinite"/>
                      </p:stCondLst>
                      <p:childTnLst>
                        <p:par>
                          <p:cTn id="205" fill="hold">
                            <p:stCondLst>
                              <p:cond delay="0"/>
                            </p:stCondLst>
                            <p:childTnLst>
                              <p:par>
                                <p:cTn id="206" presetID="16" presetClass="entr" presetSubtype="42" fill="hold" nodeType="clickEffect">
                                  <p:stCondLst>
                                    <p:cond delay="0"/>
                                  </p:stCondLst>
                                  <p:childTnLst>
                                    <p:set>
                                      <p:cBhvr>
                                        <p:cTn id="207" dur="1" fill="hold">
                                          <p:stCondLst>
                                            <p:cond delay="0"/>
                                          </p:stCondLst>
                                        </p:cTn>
                                        <p:tgtEl>
                                          <p:spTgt spid="197"/>
                                        </p:tgtEl>
                                        <p:attrNameLst>
                                          <p:attrName>style.visibility</p:attrName>
                                        </p:attrNameLst>
                                      </p:cBhvr>
                                      <p:to>
                                        <p:strVal val="visible"/>
                                      </p:to>
                                    </p:set>
                                    <p:animEffect transition="in" filter="barn(outHorizontal)">
                                      <p:cBhvr>
                                        <p:cTn id="208" dur="500"/>
                                        <p:tgtEl>
                                          <p:spTgt spid="197"/>
                                        </p:tgtEl>
                                      </p:cBhvr>
                                    </p:animEffect>
                                  </p:childTnLst>
                                </p:cTn>
                              </p:par>
                              <p:par>
                                <p:cTn id="209" presetID="16" presetClass="entr" presetSubtype="42" fill="hold" nodeType="withEffect">
                                  <p:stCondLst>
                                    <p:cond delay="0"/>
                                  </p:stCondLst>
                                  <p:childTnLst>
                                    <p:set>
                                      <p:cBhvr>
                                        <p:cTn id="210" dur="1" fill="hold">
                                          <p:stCondLst>
                                            <p:cond delay="0"/>
                                          </p:stCondLst>
                                        </p:cTn>
                                        <p:tgtEl>
                                          <p:spTgt spid="196"/>
                                        </p:tgtEl>
                                        <p:attrNameLst>
                                          <p:attrName>style.visibility</p:attrName>
                                        </p:attrNameLst>
                                      </p:cBhvr>
                                      <p:to>
                                        <p:strVal val="visible"/>
                                      </p:to>
                                    </p:set>
                                    <p:animEffect transition="in" filter="barn(outHorizontal)">
                                      <p:cBhvr>
                                        <p:cTn id="211" dur="500"/>
                                        <p:tgtEl>
                                          <p:spTgt spid="196"/>
                                        </p:tgtEl>
                                      </p:cBhvr>
                                    </p:animEffect>
                                  </p:childTnLst>
                                </p:cTn>
                              </p:par>
                              <p:par>
                                <p:cTn id="212" presetID="16" presetClass="entr" presetSubtype="42" fill="hold" nodeType="withEffect">
                                  <p:stCondLst>
                                    <p:cond delay="0"/>
                                  </p:stCondLst>
                                  <p:childTnLst>
                                    <p:set>
                                      <p:cBhvr>
                                        <p:cTn id="213" dur="1" fill="hold">
                                          <p:stCondLst>
                                            <p:cond delay="0"/>
                                          </p:stCondLst>
                                        </p:cTn>
                                        <p:tgtEl>
                                          <p:spTgt spid="195"/>
                                        </p:tgtEl>
                                        <p:attrNameLst>
                                          <p:attrName>style.visibility</p:attrName>
                                        </p:attrNameLst>
                                      </p:cBhvr>
                                      <p:to>
                                        <p:strVal val="visible"/>
                                      </p:to>
                                    </p:set>
                                    <p:animEffect transition="in" filter="barn(outHorizontal)">
                                      <p:cBhvr>
                                        <p:cTn id="214" dur="500"/>
                                        <p:tgtEl>
                                          <p:spTgt spid="195"/>
                                        </p:tgtEl>
                                      </p:cBhvr>
                                    </p:animEffect>
                                  </p:childTnLst>
                                </p:cTn>
                              </p:par>
                              <p:par>
                                <p:cTn id="215" presetID="16" presetClass="entr" presetSubtype="42" fill="hold" nodeType="withEffect">
                                  <p:stCondLst>
                                    <p:cond delay="0"/>
                                  </p:stCondLst>
                                  <p:childTnLst>
                                    <p:set>
                                      <p:cBhvr>
                                        <p:cTn id="216" dur="1" fill="hold">
                                          <p:stCondLst>
                                            <p:cond delay="0"/>
                                          </p:stCondLst>
                                        </p:cTn>
                                        <p:tgtEl>
                                          <p:spTgt spid="194"/>
                                        </p:tgtEl>
                                        <p:attrNameLst>
                                          <p:attrName>style.visibility</p:attrName>
                                        </p:attrNameLst>
                                      </p:cBhvr>
                                      <p:to>
                                        <p:strVal val="visible"/>
                                      </p:to>
                                    </p:set>
                                    <p:animEffect transition="in" filter="barn(outHorizontal)">
                                      <p:cBhvr>
                                        <p:cTn id="217" dur="500"/>
                                        <p:tgtEl>
                                          <p:spTgt spid="194"/>
                                        </p:tgtEl>
                                      </p:cBhvr>
                                    </p:animEffect>
                                  </p:childTnLst>
                                </p:cTn>
                              </p:par>
                              <p:par>
                                <p:cTn id="218" presetID="16" presetClass="entr" presetSubtype="42" fill="hold" nodeType="withEffect">
                                  <p:stCondLst>
                                    <p:cond delay="0"/>
                                  </p:stCondLst>
                                  <p:childTnLst>
                                    <p:set>
                                      <p:cBhvr>
                                        <p:cTn id="219" dur="1" fill="hold">
                                          <p:stCondLst>
                                            <p:cond delay="0"/>
                                          </p:stCondLst>
                                        </p:cTn>
                                        <p:tgtEl>
                                          <p:spTgt spid="193"/>
                                        </p:tgtEl>
                                        <p:attrNameLst>
                                          <p:attrName>style.visibility</p:attrName>
                                        </p:attrNameLst>
                                      </p:cBhvr>
                                      <p:to>
                                        <p:strVal val="visible"/>
                                      </p:to>
                                    </p:set>
                                    <p:animEffect transition="in" filter="barn(outHorizontal)">
                                      <p:cBhvr>
                                        <p:cTn id="220" dur="500"/>
                                        <p:tgtEl>
                                          <p:spTgt spid="193"/>
                                        </p:tgtEl>
                                      </p:cBhvr>
                                    </p:animEffect>
                                  </p:childTnLst>
                                </p:cTn>
                              </p:par>
                              <p:par>
                                <p:cTn id="221" presetID="16" presetClass="entr" presetSubtype="42" fill="hold" nodeType="withEffect">
                                  <p:stCondLst>
                                    <p:cond delay="0"/>
                                  </p:stCondLst>
                                  <p:childTnLst>
                                    <p:set>
                                      <p:cBhvr>
                                        <p:cTn id="222" dur="1" fill="hold">
                                          <p:stCondLst>
                                            <p:cond delay="0"/>
                                          </p:stCondLst>
                                        </p:cTn>
                                        <p:tgtEl>
                                          <p:spTgt spid="192"/>
                                        </p:tgtEl>
                                        <p:attrNameLst>
                                          <p:attrName>style.visibility</p:attrName>
                                        </p:attrNameLst>
                                      </p:cBhvr>
                                      <p:to>
                                        <p:strVal val="visible"/>
                                      </p:to>
                                    </p:set>
                                    <p:animEffect transition="in" filter="barn(outHorizontal)">
                                      <p:cBhvr>
                                        <p:cTn id="223" dur="500"/>
                                        <p:tgtEl>
                                          <p:spTgt spid="192"/>
                                        </p:tgtEl>
                                      </p:cBhvr>
                                    </p:animEffect>
                                  </p:childTnLst>
                                </p:cTn>
                              </p:par>
                              <p:par>
                                <p:cTn id="224" presetID="16" presetClass="entr" presetSubtype="42" fill="hold" nodeType="withEffect">
                                  <p:stCondLst>
                                    <p:cond delay="0"/>
                                  </p:stCondLst>
                                  <p:childTnLst>
                                    <p:set>
                                      <p:cBhvr>
                                        <p:cTn id="225" dur="1" fill="hold">
                                          <p:stCondLst>
                                            <p:cond delay="0"/>
                                          </p:stCondLst>
                                        </p:cTn>
                                        <p:tgtEl>
                                          <p:spTgt spid="191"/>
                                        </p:tgtEl>
                                        <p:attrNameLst>
                                          <p:attrName>style.visibility</p:attrName>
                                        </p:attrNameLst>
                                      </p:cBhvr>
                                      <p:to>
                                        <p:strVal val="visible"/>
                                      </p:to>
                                    </p:set>
                                    <p:animEffect transition="in" filter="barn(outHorizontal)">
                                      <p:cBhvr>
                                        <p:cTn id="226" dur="500"/>
                                        <p:tgtEl>
                                          <p:spTgt spid="191"/>
                                        </p:tgtEl>
                                      </p:cBhvr>
                                    </p:animEffect>
                                  </p:childTnLst>
                                </p:cTn>
                              </p:par>
                              <p:par>
                                <p:cTn id="227" presetID="16" presetClass="entr" presetSubtype="42" fill="hold" nodeType="withEffect">
                                  <p:stCondLst>
                                    <p:cond delay="0"/>
                                  </p:stCondLst>
                                  <p:childTnLst>
                                    <p:set>
                                      <p:cBhvr>
                                        <p:cTn id="228" dur="1" fill="hold">
                                          <p:stCondLst>
                                            <p:cond delay="0"/>
                                          </p:stCondLst>
                                        </p:cTn>
                                        <p:tgtEl>
                                          <p:spTgt spid="190"/>
                                        </p:tgtEl>
                                        <p:attrNameLst>
                                          <p:attrName>style.visibility</p:attrName>
                                        </p:attrNameLst>
                                      </p:cBhvr>
                                      <p:to>
                                        <p:strVal val="visible"/>
                                      </p:to>
                                    </p:set>
                                    <p:animEffect transition="in" filter="barn(outHorizontal)">
                                      <p:cBhvr>
                                        <p:cTn id="229" dur="500"/>
                                        <p:tgtEl>
                                          <p:spTgt spid="190"/>
                                        </p:tgtEl>
                                      </p:cBhvr>
                                    </p:animEffect>
                                  </p:childTnLst>
                                </p:cTn>
                              </p:par>
                              <p:par>
                                <p:cTn id="230" presetID="16" presetClass="entr" presetSubtype="42" fill="hold" nodeType="withEffect">
                                  <p:stCondLst>
                                    <p:cond delay="0"/>
                                  </p:stCondLst>
                                  <p:childTnLst>
                                    <p:set>
                                      <p:cBhvr>
                                        <p:cTn id="231" dur="1" fill="hold">
                                          <p:stCondLst>
                                            <p:cond delay="0"/>
                                          </p:stCondLst>
                                        </p:cTn>
                                        <p:tgtEl>
                                          <p:spTgt spid="189"/>
                                        </p:tgtEl>
                                        <p:attrNameLst>
                                          <p:attrName>style.visibility</p:attrName>
                                        </p:attrNameLst>
                                      </p:cBhvr>
                                      <p:to>
                                        <p:strVal val="visible"/>
                                      </p:to>
                                    </p:set>
                                    <p:animEffect transition="in" filter="barn(outHorizontal)">
                                      <p:cBhvr>
                                        <p:cTn id="232" dur="500"/>
                                        <p:tgtEl>
                                          <p:spTgt spid="189"/>
                                        </p:tgtEl>
                                      </p:cBhvr>
                                    </p:animEffect>
                                  </p:childTnLst>
                                </p:cTn>
                              </p:par>
                              <p:par>
                                <p:cTn id="233" presetID="16" presetClass="entr" presetSubtype="42" fill="hold" nodeType="withEffect">
                                  <p:stCondLst>
                                    <p:cond delay="0"/>
                                  </p:stCondLst>
                                  <p:childTnLst>
                                    <p:set>
                                      <p:cBhvr>
                                        <p:cTn id="234" dur="1" fill="hold">
                                          <p:stCondLst>
                                            <p:cond delay="0"/>
                                          </p:stCondLst>
                                        </p:cTn>
                                        <p:tgtEl>
                                          <p:spTgt spid="188"/>
                                        </p:tgtEl>
                                        <p:attrNameLst>
                                          <p:attrName>style.visibility</p:attrName>
                                        </p:attrNameLst>
                                      </p:cBhvr>
                                      <p:to>
                                        <p:strVal val="visible"/>
                                      </p:to>
                                    </p:set>
                                    <p:animEffect transition="in" filter="barn(outHorizontal)">
                                      <p:cBhvr>
                                        <p:cTn id="235" dur="500"/>
                                        <p:tgtEl>
                                          <p:spTgt spid="188"/>
                                        </p:tgtEl>
                                      </p:cBhvr>
                                    </p:animEffect>
                                  </p:childTnLst>
                                </p:cTn>
                              </p:par>
                              <p:par>
                                <p:cTn id="236" presetID="16" presetClass="entr" presetSubtype="42" fill="hold" nodeType="withEffect">
                                  <p:stCondLst>
                                    <p:cond delay="0"/>
                                  </p:stCondLst>
                                  <p:childTnLst>
                                    <p:set>
                                      <p:cBhvr>
                                        <p:cTn id="237" dur="1" fill="hold">
                                          <p:stCondLst>
                                            <p:cond delay="0"/>
                                          </p:stCondLst>
                                        </p:cTn>
                                        <p:tgtEl>
                                          <p:spTgt spid="187"/>
                                        </p:tgtEl>
                                        <p:attrNameLst>
                                          <p:attrName>style.visibility</p:attrName>
                                        </p:attrNameLst>
                                      </p:cBhvr>
                                      <p:to>
                                        <p:strVal val="visible"/>
                                      </p:to>
                                    </p:set>
                                    <p:animEffect transition="in" filter="barn(outHorizontal)">
                                      <p:cBhvr>
                                        <p:cTn id="238" dur="500"/>
                                        <p:tgtEl>
                                          <p:spTgt spid="187"/>
                                        </p:tgtEl>
                                      </p:cBhvr>
                                    </p:animEffect>
                                  </p:childTnLst>
                                </p:cTn>
                              </p:par>
                              <p:par>
                                <p:cTn id="239" presetID="16" presetClass="entr" presetSubtype="42" fill="hold" nodeType="withEffect">
                                  <p:stCondLst>
                                    <p:cond delay="0"/>
                                  </p:stCondLst>
                                  <p:childTnLst>
                                    <p:set>
                                      <p:cBhvr>
                                        <p:cTn id="240" dur="1" fill="hold">
                                          <p:stCondLst>
                                            <p:cond delay="0"/>
                                          </p:stCondLst>
                                        </p:cTn>
                                        <p:tgtEl>
                                          <p:spTgt spid="186"/>
                                        </p:tgtEl>
                                        <p:attrNameLst>
                                          <p:attrName>style.visibility</p:attrName>
                                        </p:attrNameLst>
                                      </p:cBhvr>
                                      <p:to>
                                        <p:strVal val="visible"/>
                                      </p:to>
                                    </p:set>
                                    <p:animEffect transition="in" filter="barn(outHorizontal)">
                                      <p:cBhvr>
                                        <p:cTn id="241" dur="500"/>
                                        <p:tgtEl>
                                          <p:spTgt spid="186"/>
                                        </p:tgtEl>
                                      </p:cBhvr>
                                    </p:animEffect>
                                  </p:childTnLst>
                                </p:cTn>
                              </p:par>
                            </p:childTnLst>
                          </p:cTn>
                        </p:par>
                      </p:childTnLst>
                    </p:cTn>
                  </p:par>
                  <p:par>
                    <p:cTn id="242" fill="hold">
                      <p:stCondLst>
                        <p:cond delay="indefinite"/>
                      </p:stCondLst>
                      <p:childTnLst>
                        <p:par>
                          <p:cTn id="243" fill="hold">
                            <p:stCondLst>
                              <p:cond delay="0"/>
                            </p:stCondLst>
                            <p:childTnLst>
                              <p:par>
                                <p:cTn id="244" presetID="16" presetClass="entr" presetSubtype="42" fill="hold" nodeType="clickEffect">
                                  <p:stCondLst>
                                    <p:cond delay="0"/>
                                  </p:stCondLst>
                                  <p:childTnLst>
                                    <p:set>
                                      <p:cBhvr>
                                        <p:cTn id="245" dur="1" fill="hold">
                                          <p:stCondLst>
                                            <p:cond delay="0"/>
                                          </p:stCondLst>
                                        </p:cTn>
                                        <p:tgtEl>
                                          <p:spTgt spid="198"/>
                                        </p:tgtEl>
                                        <p:attrNameLst>
                                          <p:attrName>style.visibility</p:attrName>
                                        </p:attrNameLst>
                                      </p:cBhvr>
                                      <p:to>
                                        <p:strVal val="visible"/>
                                      </p:to>
                                    </p:set>
                                    <p:animEffect transition="in" filter="barn(outHorizontal)">
                                      <p:cBhvr>
                                        <p:cTn id="246" dur="500"/>
                                        <p:tgtEl>
                                          <p:spTgt spid="198"/>
                                        </p:tgtEl>
                                      </p:cBhvr>
                                    </p:animEffect>
                                  </p:childTnLst>
                                </p:cTn>
                              </p:par>
                              <p:par>
                                <p:cTn id="247" presetID="16" presetClass="entr" presetSubtype="42" fill="hold" nodeType="withEffect">
                                  <p:stCondLst>
                                    <p:cond delay="0"/>
                                  </p:stCondLst>
                                  <p:childTnLst>
                                    <p:set>
                                      <p:cBhvr>
                                        <p:cTn id="248" dur="1" fill="hold">
                                          <p:stCondLst>
                                            <p:cond delay="0"/>
                                          </p:stCondLst>
                                        </p:cTn>
                                        <p:tgtEl>
                                          <p:spTgt spid="199"/>
                                        </p:tgtEl>
                                        <p:attrNameLst>
                                          <p:attrName>style.visibility</p:attrName>
                                        </p:attrNameLst>
                                      </p:cBhvr>
                                      <p:to>
                                        <p:strVal val="visible"/>
                                      </p:to>
                                    </p:set>
                                    <p:animEffect transition="in" filter="barn(outHorizontal)">
                                      <p:cBhvr>
                                        <p:cTn id="249" dur="500"/>
                                        <p:tgtEl>
                                          <p:spTgt spid="199"/>
                                        </p:tgtEl>
                                      </p:cBhvr>
                                    </p:animEffect>
                                  </p:childTnLst>
                                </p:cTn>
                              </p:par>
                            </p:childTnLst>
                          </p:cTn>
                        </p:par>
                        <p:par>
                          <p:cTn id="250" fill="hold">
                            <p:stCondLst>
                              <p:cond delay="500"/>
                            </p:stCondLst>
                            <p:childTnLst>
                              <p:par>
                                <p:cTn id="251" presetID="8" presetClass="entr" presetSubtype="16" fill="hold" grpId="0" nodeType="afterEffect">
                                  <p:stCondLst>
                                    <p:cond delay="500"/>
                                  </p:stCondLst>
                                  <p:childTnLst>
                                    <p:set>
                                      <p:cBhvr>
                                        <p:cTn id="252" dur="1" fill="hold">
                                          <p:stCondLst>
                                            <p:cond delay="0"/>
                                          </p:stCondLst>
                                        </p:cTn>
                                        <p:tgtEl>
                                          <p:spTgt spid="200"/>
                                        </p:tgtEl>
                                        <p:attrNameLst>
                                          <p:attrName>style.visibility</p:attrName>
                                        </p:attrNameLst>
                                      </p:cBhvr>
                                      <p:to>
                                        <p:strVal val="visible"/>
                                      </p:to>
                                    </p:set>
                                    <p:animEffect transition="in" filter="diamond(in)">
                                      <p:cBhvr>
                                        <p:cTn id="253" dur="500"/>
                                        <p:tgtEl>
                                          <p:spTgt spid="200"/>
                                        </p:tgtEl>
                                      </p:cBhvr>
                                    </p:animEffect>
                                  </p:childTnLst>
                                </p:cTn>
                              </p:par>
                              <p:par>
                                <p:cTn id="254" presetID="8" presetClass="entr" presetSubtype="16" fill="hold" grpId="0" nodeType="withEffect">
                                  <p:stCondLst>
                                    <p:cond delay="500"/>
                                  </p:stCondLst>
                                  <p:childTnLst>
                                    <p:set>
                                      <p:cBhvr>
                                        <p:cTn id="255" dur="1" fill="hold">
                                          <p:stCondLst>
                                            <p:cond delay="0"/>
                                          </p:stCondLst>
                                        </p:cTn>
                                        <p:tgtEl>
                                          <p:spTgt spid="201"/>
                                        </p:tgtEl>
                                        <p:attrNameLst>
                                          <p:attrName>style.visibility</p:attrName>
                                        </p:attrNameLst>
                                      </p:cBhvr>
                                      <p:to>
                                        <p:strVal val="visible"/>
                                      </p:to>
                                    </p:set>
                                    <p:animEffect transition="in" filter="diamond(in)">
                                      <p:cBhvr>
                                        <p:cTn id="256" dur="500"/>
                                        <p:tgtEl>
                                          <p:spTgt spid="2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p:bldP spid="185" grpId="0"/>
      <p:bldP spid="200" grpId="0" animBg="1"/>
      <p:bldP spid="201" grpId="0" animBg="1"/>
      <p:bldP spid="202" grpId="0"/>
      <p:bldP spid="203" grpId="0"/>
    </p:bldLst>
  </p:timing>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7" y="326411"/>
            <a:ext cx="11098906" cy="470856"/>
          </a:xfrm>
        </p:spPr>
        <p:txBody>
          <a:bodyPr/>
          <a:lstStyle/>
          <a:p>
            <a:r>
              <a:rPr lang="en-US" dirty="0"/>
              <a:t>Hash-distributed</a:t>
            </a:r>
            <a:r>
              <a:rPr lang="es-ES" dirty="0"/>
              <a:t> Tables:</a:t>
            </a:r>
            <a:r>
              <a:rPr lang="en-GB" dirty="0">
                <a:solidFill>
                  <a:srgbClr val="0078D7"/>
                </a:solidFill>
              </a:rPr>
              <a:t> </a:t>
            </a:r>
            <a:r>
              <a:rPr lang="en-GB" dirty="0"/>
              <a:t>Choosing a Distribution Key</a:t>
            </a:r>
          </a:p>
        </p:txBody>
      </p:sp>
      <p:graphicFrame>
        <p:nvGraphicFramePr>
          <p:cNvPr id="11" name="Content Placeholder 4">
            <a:extLst>
              <a:ext uri="{FF2B5EF4-FFF2-40B4-BE49-F238E27FC236}">
                <a16:creationId xmlns:a16="http://schemas.microsoft.com/office/drawing/2014/main" id="{22450A68-EA79-4389-A75E-16B90A9D7D76}"/>
              </a:ext>
            </a:extLst>
          </p:cNvPr>
          <p:cNvGraphicFramePr>
            <a:graphicFrameLocks/>
          </p:cNvGraphicFramePr>
          <p:nvPr>
            <p:extLst>
              <p:ext uri="{D42A27DB-BD31-4B8C-83A1-F6EECF244321}">
                <p14:modId xmlns:p14="http://schemas.microsoft.com/office/powerpoint/2010/main" val="620381812"/>
              </p:ext>
            </p:extLst>
          </p:nvPr>
        </p:nvGraphicFramePr>
        <p:xfrm>
          <a:off x="1112836" y="1439862"/>
          <a:ext cx="10439401" cy="4572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54975488"/>
      </p:ext>
    </p:extLst>
  </p:cSld>
  <p:clrMapOvr>
    <a:masterClrMapping/>
  </p:clrMapOvr>
  <p:transition>
    <p:fade/>
  </p:transition>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326411"/>
            <a:ext cx="11416855" cy="470856"/>
          </a:xfrm>
        </p:spPr>
        <p:txBody>
          <a:bodyPr/>
          <a:lstStyle/>
          <a:p>
            <a:r>
              <a:rPr lang="en-US" dirty="0"/>
              <a:t>Hash-distributed</a:t>
            </a:r>
            <a:r>
              <a:rPr lang="es-ES" dirty="0"/>
              <a:t> Tables:</a:t>
            </a:r>
            <a:r>
              <a:rPr lang="en-GB" dirty="0"/>
              <a:t> Minimize Data Movement</a:t>
            </a:r>
            <a:endParaRPr lang="en-GB" dirty="0">
              <a:solidFill>
                <a:srgbClr val="0078D7"/>
              </a:solidFill>
            </a:endParaRPr>
          </a:p>
        </p:txBody>
      </p:sp>
      <p:graphicFrame>
        <p:nvGraphicFramePr>
          <p:cNvPr id="8" name="Diagram 7">
            <a:extLst>
              <a:ext uri="{FF2B5EF4-FFF2-40B4-BE49-F238E27FC236}">
                <a16:creationId xmlns:a16="http://schemas.microsoft.com/office/drawing/2014/main" id="{68F8824B-B0F2-43CF-AC72-FE9FC1A6E14C}"/>
              </a:ext>
            </a:extLst>
          </p:cNvPr>
          <p:cNvGraphicFramePr/>
          <p:nvPr>
            <p:extLst>
              <p:ext uri="{D42A27DB-BD31-4B8C-83A1-F6EECF244321}">
                <p14:modId xmlns:p14="http://schemas.microsoft.com/office/powerpoint/2010/main" val="1336392506"/>
              </p:ext>
            </p:extLst>
          </p:nvPr>
        </p:nvGraphicFramePr>
        <p:xfrm>
          <a:off x="1112837" y="1135061"/>
          <a:ext cx="10363200" cy="56536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65416158"/>
      </p:ext>
    </p:extLst>
  </p:cSld>
  <p:clrMapOvr>
    <a:masterClrMapping/>
  </p:clrMapOvr>
  <p:transition>
    <p:fade/>
  </p:transition>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960438" y="1135063"/>
            <a:ext cx="10134600" cy="1066799"/>
          </a:xfrm>
        </p:spPr>
        <p:txBody>
          <a:bodyPr>
            <a:normAutofit/>
          </a:bodyPr>
          <a:lstStyle/>
          <a:p>
            <a:pPr marL="0" indent="0">
              <a:buNone/>
            </a:pPr>
            <a:r>
              <a:rPr lang="en-GB" sz="3200" dirty="0">
                <a:solidFill>
                  <a:srgbClr val="525252"/>
                </a:solidFill>
              </a:rPr>
              <a:t>Data Movement can re-introduce skew at query time. Pay close attention to:</a:t>
            </a:r>
          </a:p>
        </p:txBody>
      </p:sp>
      <p:sp>
        <p:nvSpPr>
          <p:cNvPr id="2" name="Title 1"/>
          <p:cNvSpPr>
            <a:spLocks noGrp="1"/>
          </p:cNvSpPr>
          <p:nvPr>
            <p:ph type="title"/>
          </p:nvPr>
        </p:nvSpPr>
        <p:spPr>
          <a:xfrm>
            <a:off x="275481" y="326411"/>
            <a:ext cx="11492211" cy="470856"/>
          </a:xfrm>
        </p:spPr>
        <p:txBody>
          <a:bodyPr/>
          <a:lstStyle/>
          <a:p>
            <a:r>
              <a:rPr lang="en-US" dirty="0"/>
              <a:t>Hash-distributed</a:t>
            </a:r>
            <a:r>
              <a:rPr lang="es-ES" dirty="0"/>
              <a:t> Tables:</a:t>
            </a:r>
            <a:r>
              <a:rPr lang="en-GB" dirty="0"/>
              <a:t> Minimize Data Movement</a:t>
            </a:r>
          </a:p>
        </p:txBody>
      </p:sp>
      <p:graphicFrame>
        <p:nvGraphicFramePr>
          <p:cNvPr id="4" name="Diagram 3">
            <a:extLst>
              <a:ext uri="{FF2B5EF4-FFF2-40B4-BE49-F238E27FC236}">
                <a16:creationId xmlns:a16="http://schemas.microsoft.com/office/drawing/2014/main" id="{03B49F45-DA0D-4CA9-83A1-33350A4C9B36}"/>
              </a:ext>
            </a:extLst>
          </p:cNvPr>
          <p:cNvGraphicFramePr/>
          <p:nvPr>
            <p:extLst>
              <p:ext uri="{D42A27DB-BD31-4B8C-83A1-F6EECF244321}">
                <p14:modId xmlns:p14="http://schemas.microsoft.com/office/powerpoint/2010/main" val="2334382513"/>
              </p:ext>
            </p:extLst>
          </p:nvPr>
        </p:nvGraphicFramePr>
        <p:xfrm>
          <a:off x="960437" y="2064169"/>
          <a:ext cx="10134600" cy="49605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818348422"/>
      </p:ext>
    </p:extLst>
  </p:cSld>
  <p:clrMapOvr>
    <a:masterClrMapping/>
  </p:clrMapOvr>
  <p:transition>
    <p:fade/>
  </p:transition>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731837" y="1236995"/>
            <a:ext cx="11430000" cy="1477328"/>
          </a:xfrm>
        </p:spPr>
        <p:txBody>
          <a:bodyPr/>
          <a:lstStyle/>
          <a:p>
            <a:pPr marL="0" indent="0">
              <a:spcBef>
                <a:spcPts val="1200"/>
              </a:spcBef>
              <a:buNone/>
            </a:pPr>
            <a:r>
              <a:rPr lang="en-US" sz="3200" dirty="0">
                <a:solidFill>
                  <a:srgbClr val="525252"/>
                </a:solidFill>
              </a:rPr>
              <a:t>Data skew means the data is not distributed evenly across the distributions. Each query is only as fast as the slowest distribution.</a:t>
            </a:r>
          </a:p>
        </p:txBody>
      </p:sp>
      <p:graphicFrame>
        <p:nvGraphicFramePr>
          <p:cNvPr id="4" name="Diagram 3">
            <a:extLst>
              <a:ext uri="{FF2B5EF4-FFF2-40B4-BE49-F238E27FC236}">
                <a16:creationId xmlns:a16="http://schemas.microsoft.com/office/drawing/2014/main" id="{6115D8A7-1774-47EA-8DA2-72EFC06BC97B}"/>
              </a:ext>
            </a:extLst>
          </p:cNvPr>
          <p:cNvGraphicFramePr/>
          <p:nvPr>
            <p:extLst>
              <p:ext uri="{D42A27DB-BD31-4B8C-83A1-F6EECF244321}">
                <p14:modId xmlns:p14="http://schemas.microsoft.com/office/powerpoint/2010/main" val="715782913"/>
              </p:ext>
            </p:extLst>
          </p:nvPr>
        </p:nvGraphicFramePr>
        <p:xfrm>
          <a:off x="821182" y="2887663"/>
          <a:ext cx="11340655" cy="3810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tle 1">
            <a:extLst>
              <a:ext uri="{FF2B5EF4-FFF2-40B4-BE49-F238E27FC236}">
                <a16:creationId xmlns:a16="http://schemas.microsoft.com/office/drawing/2014/main" id="{A9B42387-507F-4C6A-9F1E-B86472F16BF1}"/>
              </a:ext>
            </a:extLst>
          </p:cNvPr>
          <p:cNvSpPr txBox="1">
            <a:spLocks/>
          </p:cNvSpPr>
          <p:nvPr/>
        </p:nvSpPr>
        <p:spPr>
          <a:xfrm>
            <a:off x="427037" y="449262"/>
            <a:ext cx="11098906" cy="470856"/>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Hash-distributed tables: Minimize Data Skew</a:t>
            </a:r>
            <a:endParaRPr lang="en-US" dirty="0">
              <a:solidFill>
                <a:srgbClr val="0078D7"/>
              </a:solidFill>
            </a:endParaRPr>
          </a:p>
        </p:txBody>
      </p:sp>
    </p:spTree>
    <p:extLst>
      <p:ext uri="{BB962C8B-B14F-4D97-AF65-F5344CB8AC3E}">
        <p14:creationId xmlns:p14="http://schemas.microsoft.com/office/powerpoint/2010/main" val="2809197836"/>
      </p:ext>
    </p:extLst>
  </p:cSld>
  <p:clrMapOvr>
    <a:masterClrMapping/>
  </p:clrMapOvr>
  <p:transition>
    <p:fade/>
  </p:transition>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832" y="402672"/>
            <a:ext cx="11098906" cy="470856"/>
          </a:xfrm>
        </p:spPr>
        <p:txBody>
          <a:bodyPr/>
          <a:lstStyle/>
          <a:p>
            <a:r>
              <a:rPr lang="en-US" dirty="0"/>
              <a:t>Hash-distributed tables: Minimize Data Skew</a:t>
            </a:r>
            <a:endParaRPr lang="en-US" dirty="0">
              <a:solidFill>
                <a:srgbClr val="0078D7"/>
              </a:solidFill>
            </a:endParaRPr>
          </a:p>
        </p:txBody>
      </p:sp>
      <p:pic>
        <p:nvPicPr>
          <p:cNvPr id="6" name="Picture 5">
            <a:extLst>
              <a:ext uri="{FF2B5EF4-FFF2-40B4-BE49-F238E27FC236}">
                <a16:creationId xmlns:a16="http://schemas.microsoft.com/office/drawing/2014/main" id="{150E5439-516E-41C5-9AA1-C2DC0F48BF4D}"/>
              </a:ext>
            </a:extLst>
          </p:cNvPr>
          <p:cNvPicPr>
            <a:picLocks noChangeAspect="1"/>
          </p:cNvPicPr>
          <p:nvPr/>
        </p:nvPicPr>
        <p:blipFill>
          <a:blip r:embed="rId4"/>
          <a:stretch>
            <a:fillRect/>
          </a:stretch>
        </p:blipFill>
        <p:spPr>
          <a:xfrm>
            <a:off x="2511170" y="2696291"/>
            <a:ext cx="6732230" cy="3895562"/>
          </a:xfrm>
          <a:prstGeom prst="rect">
            <a:avLst/>
          </a:prstGeom>
        </p:spPr>
      </p:pic>
      <p:graphicFrame>
        <p:nvGraphicFramePr>
          <p:cNvPr id="7" name="Diagram 6">
            <a:extLst>
              <a:ext uri="{FF2B5EF4-FFF2-40B4-BE49-F238E27FC236}">
                <a16:creationId xmlns:a16="http://schemas.microsoft.com/office/drawing/2014/main" id="{632D32C6-59ED-4C39-B3BA-AE03370EFCB6}"/>
              </a:ext>
            </a:extLst>
          </p:cNvPr>
          <p:cNvGraphicFramePr/>
          <p:nvPr>
            <p:extLst>
              <p:ext uri="{D42A27DB-BD31-4B8C-83A1-F6EECF244321}">
                <p14:modId xmlns:p14="http://schemas.microsoft.com/office/powerpoint/2010/main" val="2192290237"/>
              </p:ext>
            </p:extLst>
          </p:nvPr>
        </p:nvGraphicFramePr>
        <p:xfrm>
          <a:off x="820016" y="1135062"/>
          <a:ext cx="10591799" cy="17136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Rectangle 8">
            <a:extLst>
              <a:ext uri="{FF2B5EF4-FFF2-40B4-BE49-F238E27FC236}">
                <a16:creationId xmlns:a16="http://schemas.microsoft.com/office/drawing/2014/main" id="{5D65218B-E906-424F-A2F1-F8B17BBC321E}"/>
              </a:ext>
            </a:extLst>
          </p:cNvPr>
          <p:cNvSpPr/>
          <p:nvPr/>
        </p:nvSpPr>
        <p:spPr bwMode="auto">
          <a:xfrm>
            <a:off x="2865437" y="2696291"/>
            <a:ext cx="457200" cy="3895562"/>
          </a:xfrm>
          <a:prstGeom prst="rect">
            <a:avLst/>
          </a:prstGeom>
          <a:no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s-E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35228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832" y="402672"/>
            <a:ext cx="11098906" cy="470856"/>
          </a:xfrm>
        </p:spPr>
        <p:txBody>
          <a:bodyPr/>
          <a:lstStyle/>
          <a:p>
            <a:r>
              <a:rPr lang="en-US" dirty="0"/>
              <a:t>Hash-distributed Tables: Minimize Data Skew</a:t>
            </a:r>
            <a:endParaRPr lang="en-US" dirty="0">
              <a:solidFill>
                <a:srgbClr val="0078D7"/>
              </a:solidFill>
            </a:endParaRPr>
          </a:p>
        </p:txBody>
      </p:sp>
      <p:graphicFrame>
        <p:nvGraphicFramePr>
          <p:cNvPr id="7" name="Diagram 6">
            <a:extLst>
              <a:ext uri="{FF2B5EF4-FFF2-40B4-BE49-F238E27FC236}">
                <a16:creationId xmlns:a16="http://schemas.microsoft.com/office/drawing/2014/main" id="{632D32C6-59ED-4C39-B3BA-AE03370EFCB6}"/>
              </a:ext>
            </a:extLst>
          </p:cNvPr>
          <p:cNvGraphicFramePr/>
          <p:nvPr>
            <p:extLst>
              <p:ext uri="{D42A27DB-BD31-4B8C-83A1-F6EECF244321}">
                <p14:modId xmlns:p14="http://schemas.microsoft.com/office/powerpoint/2010/main" val="761665075"/>
              </p:ext>
            </p:extLst>
          </p:nvPr>
        </p:nvGraphicFramePr>
        <p:xfrm>
          <a:off x="820016" y="1363662"/>
          <a:ext cx="10591799" cy="171362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7" name="Picture 16">
            <a:extLst>
              <a:ext uri="{FF2B5EF4-FFF2-40B4-BE49-F238E27FC236}">
                <a16:creationId xmlns:a16="http://schemas.microsoft.com/office/drawing/2014/main" id="{20934F4E-EA67-4D5A-918E-F3A104C0D518}"/>
              </a:ext>
            </a:extLst>
          </p:cNvPr>
          <p:cNvPicPr>
            <a:picLocks noChangeAspect="1"/>
          </p:cNvPicPr>
          <p:nvPr/>
        </p:nvPicPr>
        <p:blipFill>
          <a:blip r:embed="rId9"/>
          <a:stretch>
            <a:fillRect/>
          </a:stretch>
        </p:blipFill>
        <p:spPr>
          <a:xfrm>
            <a:off x="822011" y="3497262"/>
            <a:ext cx="10589804" cy="3100882"/>
          </a:xfrm>
          <a:prstGeom prst="rect">
            <a:avLst/>
          </a:prstGeom>
        </p:spPr>
      </p:pic>
    </p:spTree>
    <p:extLst>
      <p:ext uri="{BB962C8B-B14F-4D97-AF65-F5344CB8AC3E}">
        <p14:creationId xmlns:p14="http://schemas.microsoft.com/office/powerpoint/2010/main" val="4094655527"/>
      </p:ext>
    </p:extLst>
  </p:cSld>
  <p:clrMapOvr>
    <a:masterClrMapping/>
  </p:clrMapOvr>
  <p:transition>
    <p:fade/>
  </p:transition>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808037" y="5021262"/>
            <a:ext cx="11429158" cy="1316771"/>
          </a:xfrm>
        </p:spPr>
        <p:txBody>
          <a:bodyPr>
            <a:normAutofit/>
          </a:bodyPr>
          <a:lstStyle/>
          <a:p>
            <a:pPr marL="0" indent="0">
              <a:buNone/>
            </a:pPr>
            <a:endParaRPr lang="en-GB" dirty="0">
              <a:solidFill>
                <a:srgbClr val="525252"/>
              </a:solidFill>
            </a:endParaRPr>
          </a:p>
          <a:p>
            <a:pPr marL="0" indent="0">
              <a:buNone/>
            </a:pPr>
            <a:r>
              <a:rPr lang="en-GB" sz="2400" dirty="0">
                <a:solidFill>
                  <a:srgbClr val="525252"/>
                </a:solidFill>
              </a:rPr>
              <a:t>Note:  DWU has no impact on skew</a:t>
            </a:r>
          </a:p>
        </p:txBody>
      </p:sp>
      <p:sp>
        <p:nvSpPr>
          <p:cNvPr id="2" name="Title 1"/>
          <p:cNvSpPr>
            <a:spLocks noGrp="1"/>
          </p:cNvSpPr>
          <p:nvPr>
            <p:ph type="title"/>
          </p:nvPr>
        </p:nvSpPr>
        <p:spPr>
          <a:xfrm>
            <a:off x="427037" y="326411"/>
            <a:ext cx="11340655" cy="470856"/>
          </a:xfrm>
        </p:spPr>
        <p:txBody>
          <a:bodyPr/>
          <a:lstStyle/>
          <a:p>
            <a:r>
              <a:rPr lang="en-US" dirty="0"/>
              <a:t>Hash-distributed tables: Minimize Data Skew</a:t>
            </a:r>
            <a:endParaRPr lang="en-GB" dirty="0">
              <a:solidFill>
                <a:srgbClr val="0078D7"/>
              </a:solidFill>
            </a:endParaRPr>
          </a:p>
        </p:txBody>
      </p:sp>
      <p:graphicFrame>
        <p:nvGraphicFramePr>
          <p:cNvPr id="4" name="Diagram 3">
            <a:extLst>
              <a:ext uri="{FF2B5EF4-FFF2-40B4-BE49-F238E27FC236}">
                <a16:creationId xmlns:a16="http://schemas.microsoft.com/office/drawing/2014/main" id="{870A75F0-235C-4605-9C24-71182EABE610}"/>
              </a:ext>
            </a:extLst>
          </p:cNvPr>
          <p:cNvGraphicFramePr/>
          <p:nvPr>
            <p:extLst>
              <p:ext uri="{D42A27DB-BD31-4B8C-83A1-F6EECF244321}">
                <p14:modId xmlns:p14="http://schemas.microsoft.com/office/powerpoint/2010/main" val="2858318732"/>
              </p:ext>
            </p:extLst>
          </p:nvPr>
        </p:nvGraphicFramePr>
        <p:xfrm>
          <a:off x="808037" y="1211262"/>
          <a:ext cx="11201401" cy="4191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84443581"/>
      </p:ext>
    </p:extLst>
  </p:cSld>
  <p:clrMapOvr>
    <a:masterClrMapping/>
  </p:clrMapOvr>
  <p:transition>
    <p:fade/>
  </p:transition>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636855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037" y="326411"/>
            <a:ext cx="11340655" cy="474489"/>
          </a:xfrm>
        </p:spPr>
        <p:txBody>
          <a:bodyPr/>
          <a:lstStyle/>
          <a:p>
            <a:r>
              <a:rPr lang="en-US" dirty="0"/>
              <a:t>Hash-distributed Tables: Balanced Execution</a:t>
            </a:r>
            <a:endParaRPr lang="en-GB" dirty="0">
              <a:solidFill>
                <a:srgbClr val="0078D7"/>
              </a:solidFill>
            </a:endParaRPr>
          </a:p>
        </p:txBody>
      </p:sp>
      <p:graphicFrame>
        <p:nvGraphicFramePr>
          <p:cNvPr id="6" name="Diagram 5">
            <a:extLst>
              <a:ext uri="{FF2B5EF4-FFF2-40B4-BE49-F238E27FC236}">
                <a16:creationId xmlns:a16="http://schemas.microsoft.com/office/drawing/2014/main" id="{47BC77A0-79A2-43C7-8681-EB9CCB74626B}"/>
              </a:ext>
            </a:extLst>
          </p:cNvPr>
          <p:cNvGraphicFramePr/>
          <p:nvPr>
            <p:extLst>
              <p:ext uri="{D42A27DB-BD31-4B8C-83A1-F6EECF244321}">
                <p14:modId xmlns:p14="http://schemas.microsoft.com/office/powerpoint/2010/main" val="22713384"/>
              </p:ext>
            </p:extLst>
          </p:nvPr>
        </p:nvGraphicFramePr>
        <p:xfrm>
          <a:off x="427037" y="1201002"/>
          <a:ext cx="11528402" cy="529533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66697794"/>
      </p:ext>
    </p:extLst>
  </p:cSld>
  <p:clrMapOvr>
    <a:masterClrMapping/>
  </p:clrMapOvr>
  <p:transition>
    <p:fade/>
  </p:transition>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440743" y="0"/>
            <a:ext cx="6994525" cy="6998119"/>
          </a:xfrm>
          <a:prstGeom prst="rect">
            <a:avLst/>
          </a:prstGeom>
          <a:solidFill>
            <a:srgbClr val="243A5E"/>
          </a:solidFill>
        </p:spPr>
      </p:pic>
      <p:sp>
        <p:nvSpPr>
          <p:cNvPr id="13" name="Text Placeholder 12">
            <a:extLst>
              <a:ext uri="{FF2B5EF4-FFF2-40B4-BE49-F238E27FC236}">
                <a16:creationId xmlns:a16="http://schemas.microsoft.com/office/drawing/2014/main" id="{0AD179CE-F245-4119-A5A0-5BEBF4C2F370}"/>
              </a:ext>
            </a:extLst>
          </p:cNvPr>
          <p:cNvSpPr>
            <a:spLocks noGrp="1"/>
          </p:cNvSpPr>
          <p:nvPr>
            <p:ph type="body" sz="quarter" idx="10"/>
          </p:nvPr>
        </p:nvSpPr>
        <p:spPr/>
        <p:txBody>
          <a:bodyPr/>
          <a:lstStyle/>
          <a:p>
            <a:pPr algn="ctr"/>
            <a:r>
              <a:rPr lang="en-US" dirty="0"/>
              <a:t>Hash Distributed Tables</a:t>
            </a:r>
          </a:p>
        </p:txBody>
      </p:sp>
      <p:sp>
        <p:nvSpPr>
          <p:cNvPr id="15" name="Title 14">
            <a:extLst>
              <a:ext uri="{FF2B5EF4-FFF2-40B4-BE49-F238E27FC236}">
                <a16:creationId xmlns:a16="http://schemas.microsoft.com/office/drawing/2014/main" id="{6FA58E3B-B311-4EA9-86B1-227F8E2CA84E}"/>
              </a:ext>
            </a:extLst>
          </p:cNvPr>
          <p:cNvSpPr>
            <a:spLocks noGrp="1"/>
          </p:cNvSpPr>
          <p:nvPr>
            <p:ph type="title"/>
          </p:nvPr>
        </p:nvSpPr>
        <p:spPr/>
        <p:txBody>
          <a:bodyPr/>
          <a:lstStyle/>
          <a:p>
            <a:r>
              <a:rPr lang="en-US" dirty="0"/>
              <a:t>Demonstration</a:t>
            </a:r>
          </a:p>
        </p:txBody>
      </p:sp>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E3693D-3055-45FD-A725-A33525ED2398}"/>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ound Robin Tables</a:t>
            </a:r>
            <a:endParaRPr lang="en-US" dirty="0">
              <a:solidFill>
                <a:srgbClr val="0078D7"/>
              </a:solidFill>
            </a:endParaRPr>
          </a:p>
        </p:txBody>
      </p:sp>
      <p:graphicFrame>
        <p:nvGraphicFramePr>
          <p:cNvPr id="10" name="Diagram 9">
            <a:extLst>
              <a:ext uri="{FF2B5EF4-FFF2-40B4-BE49-F238E27FC236}">
                <a16:creationId xmlns:a16="http://schemas.microsoft.com/office/drawing/2014/main" id="{1366102A-C6AB-4E54-B3C6-498CDD6E819F}"/>
              </a:ext>
            </a:extLst>
          </p:cNvPr>
          <p:cNvGraphicFramePr/>
          <p:nvPr>
            <p:extLst>
              <p:ext uri="{D42A27DB-BD31-4B8C-83A1-F6EECF244321}">
                <p14:modId xmlns:p14="http://schemas.microsoft.com/office/powerpoint/2010/main" val="593355343"/>
              </p:ext>
            </p:extLst>
          </p:nvPr>
        </p:nvGraphicFramePr>
        <p:xfrm>
          <a:off x="668786" y="733600"/>
          <a:ext cx="11340655" cy="58116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Rectangle 4">
            <a:extLst>
              <a:ext uri="{FF2B5EF4-FFF2-40B4-BE49-F238E27FC236}">
                <a16:creationId xmlns:a16="http://schemas.microsoft.com/office/drawing/2014/main" id="{C00FE8B9-B5D0-4335-B730-CCFBEAFBD756}"/>
              </a:ext>
            </a:extLst>
          </p:cNvPr>
          <p:cNvSpPr/>
          <p:nvPr/>
        </p:nvSpPr>
        <p:spPr>
          <a:xfrm>
            <a:off x="8764808" y="3348739"/>
            <a:ext cx="3671667" cy="19069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Example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Loading table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No good dist key</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Static data tables</a:t>
            </a:r>
          </a:p>
        </p:txBody>
      </p:sp>
    </p:spTree>
    <p:extLst>
      <p:ext uri="{BB962C8B-B14F-4D97-AF65-F5344CB8AC3E}">
        <p14:creationId xmlns:p14="http://schemas.microsoft.com/office/powerpoint/2010/main" val="107647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2665ADF5-16CF-4034-B3FA-CB8312A824DB}"/>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ound Robin Tables: Distribution</a:t>
            </a:r>
            <a:endParaRPr lang="en-US" dirty="0">
              <a:solidFill>
                <a:srgbClr val="0078D7"/>
              </a:solidFill>
            </a:endParaRPr>
          </a:p>
        </p:txBody>
      </p:sp>
      <p:sp>
        <p:nvSpPr>
          <p:cNvPr id="156" name="Flowchart: Manual Operation 155">
            <a:extLst>
              <a:ext uri="{FF2B5EF4-FFF2-40B4-BE49-F238E27FC236}">
                <a16:creationId xmlns:a16="http://schemas.microsoft.com/office/drawing/2014/main" id="{2538EE92-0A1F-4DFF-A0F5-BE74B231A181}"/>
              </a:ext>
            </a:extLst>
          </p:cNvPr>
          <p:cNvSpPr/>
          <p:nvPr/>
        </p:nvSpPr>
        <p:spPr>
          <a:xfrm>
            <a:off x="9473101"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57" name="Flowchart: Manual Operation 156">
            <a:extLst>
              <a:ext uri="{FF2B5EF4-FFF2-40B4-BE49-F238E27FC236}">
                <a16:creationId xmlns:a16="http://schemas.microsoft.com/office/drawing/2014/main" id="{290FB42B-D383-4B68-B33E-B3148B4A36BA}"/>
              </a:ext>
            </a:extLst>
          </p:cNvPr>
          <p:cNvSpPr/>
          <p:nvPr/>
        </p:nvSpPr>
        <p:spPr>
          <a:xfrm>
            <a:off x="839692"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58" name="Flowchart: Manual Operation 157">
            <a:extLst>
              <a:ext uri="{FF2B5EF4-FFF2-40B4-BE49-F238E27FC236}">
                <a16:creationId xmlns:a16="http://schemas.microsoft.com/office/drawing/2014/main" id="{185FC7AD-4F71-4351-8CEE-06DCAD85A81C}"/>
              </a:ext>
            </a:extLst>
          </p:cNvPr>
          <p:cNvSpPr/>
          <p:nvPr/>
        </p:nvSpPr>
        <p:spPr>
          <a:xfrm>
            <a:off x="1703448"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59" name="Flowchart: Manual Operation 158">
            <a:extLst>
              <a:ext uri="{FF2B5EF4-FFF2-40B4-BE49-F238E27FC236}">
                <a16:creationId xmlns:a16="http://schemas.microsoft.com/office/drawing/2014/main" id="{E62E4309-AAA2-4D95-B7B3-494E1FE0E5BC}"/>
              </a:ext>
            </a:extLst>
          </p:cNvPr>
          <p:cNvSpPr/>
          <p:nvPr/>
        </p:nvSpPr>
        <p:spPr>
          <a:xfrm>
            <a:off x="343095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0" name="Flowchart: Manual Operation 159">
            <a:extLst>
              <a:ext uri="{FF2B5EF4-FFF2-40B4-BE49-F238E27FC236}">
                <a16:creationId xmlns:a16="http://schemas.microsoft.com/office/drawing/2014/main" id="{9A53BDD1-EA45-4A88-96B3-59D20F9B69AF}"/>
              </a:ext>
            </a:extLst>
          </p:cNvPr>
          <p:cNvSpPr/>
          <p:nvPr/>
        </p:nvSpPr>
        <p:spPr>
          <a:xfrm>
            <a:off x="2567202"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1" name="Flowchart: Manual Operation 160">
            <a:extLst>
              <a:ext uri="{FF2B5EF4-FFF2-40B4-BE49-F238E27FC236}">
                <a16:creationId xmlns:a16="http://schemas.microsoft.com/office/drawing/2014/main" id="{ABB7EA0B-D85B-450B-B479-B92580DE0AD6}"/>
              </a:ext>
            </a:extLst>
          </p:cNvPr>
          <p:cNvSpPr/>
          <p:nvPr/>
        </p:nvSpPr>
        <p:spPr>
          <a:xfrm>
            <a:off x="429057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2" name="Flowchart: Manual Operation 161">
            <a:extLst>
              <a:ext uri="{FF2B5EF4-FFF2-40B4-BE49-F238E27FC236}">
                <a16:creationId xmlns:a16="http://schemas.microsoft.com/office/drawing/2014/main" id="{C0B1FF40-FCD7-4804-B4CD-89467FB18387}"/>
              </a:ext>
            </a:extLst>
          </p:cNvPr>
          <p:cNvSpPr/>
          <p:nvPr/>
        </p:nvSpPr>
        <p:spPr>
          <a:xfrm>
            <a:off x="515432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3" name="Flowchart: Manual Operation 162">
            <a:extLst>
              <a:ext uri="{FF2B5EF4-FFF2-40B4-BE49-F238E27FC236}">
                <a16:creationId xmlns:a16="http://schemas.microsoft.com/office/drawing/2014/main" id="{414B1D0C-E92F-49F4-A54A-0A9C3D538126}"/>
              </a:ext>
            </a:extLst>
          </p:cNvPr>
          <p:cNvSpPr/>
          <p:nvPr/>
        </p:nvSpPr>
        <p:spPr>
          <a:xfrm>
            <a:off x="688183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4" name="Flowchart: Manual Operation 163">
            <a:extLst>
              <a:ext uri="{FF2B5EF4-FFF2-40B4-BE49-F238E27FC236}">
                <a16:creationId xmlns:a16="http://schemas.microsoft.com/office/drawing/2014/main" id="{B2E8CC50-D32B-4D04-92D7-A583CD333AC4}"/>
              </a:ext>
            </a:extLst>
          </p:cNvPr>
          <p:cNvSpPr/>
          <p:nvPr/>
        </p:nvSpPr>
        <p:spPr>
          <a:xfrm>
            <a:off x="601808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5" name="Flowchart: Manual Operation 164">
            <a:extLst>
              <a:ext uri="{FF2B5EF4-FFF2-40B4-BE49-F238E27FC236}">
                <a16:creationId xmlns:a16="http://schemas.microsoft.com/office/drawing/2014/main" id="{B7D2F0D3-1B06-4929-AAF7-544E62988AD7}"/>
              </a:ext>
            </a:extLst>
          </p:cNvPr>
          <p:cNvSpPr/>
          <p:nvPr/>
        </p:nvSpPr>
        <p:spPr>
          <a:xfrm>
            <a:off x="774559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6" name="Flowchart: Manual Operation 165">
            <a:extLst>
              <a:ext uri="{FF2B5EF4-FFF2-40B4-BE49-F238E27FC236}">
                <a16:creationId xmlns:a16="http://schemas.microsoft.com/office/drawing/2014/main" id="{F0D759AF-03DA-4411-A4AA-71B214C4417A}"/>
              </a:ext>
            </a:extLst>
          </p:cNvPr>
          <p:cNvSpPr/>
          <p:nvPr/>
        </p:nvSpPr>
        <p:spPr>
          <a:xfrm>
            <a:off x="8609348"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7" name="Flowchart: Manual Operation 166">
            <a:extLst>
              <a:ext uri="{FF2B5EF4-FFF2-40B4-BE49-F238E27FC236}">
                <a16:creationId xmlns:a16="http://schemas.microsoft.com/office/drawing/2014/main" id="{63B38429-7C5A-40D3-A6A3-1AA2B3E022F9}"/>
              </a:ext>
            </a:extLst>
          </p:cNvPr>
          <p:cNvSpPr/>
          <p:nvPr/>
        </p:nvSpPr>
        <p:spPr>
          <a:xfrm>
            <a:off x="10336857"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8" name="Flowchart: Manual Operation 167">
            <a:extLst>
              <a:ext uri="{FF2B5EF4-FFF2-40B4-BE49-F238E27FC236}">
                <a16:creationId xmlns:a16="http://schemas.microsoft.com/office/drawing/2014/main" id="{477AABAE-761E-4943-AFDB-9F0C6035B93C}"/>
              </a:ext>
            </a:extLst>
          </p:cNvPr>
          <p:cNvSpPr/>
          <p:nvPr/>
        </p:nvSpPr>
        <p:spPr>
          <a:xfrm>
            <a:off x="9473103" y="2863581"/>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69" name="Flowchart: Manual Operation 168">
            <a:extLst>
              <a:ext uri="{FF2B5EF4-FFF2-40B4-BE49-F238E27FC236}">
                <a16:creationId xmlns:a16="http://schemas.microsoft.com/office/drawing/2014/main" id="{AB1694CC-86D0-4713-9F06-1CFC1F7B5832}"/>
              </a:ext>
            </a:extLst>
          </p:cNvPr>
          <p:cNvSpPr/>
          <p:nvPr/>
        </p:nvSpPr>
        <p:spPr>
          <a:xfrm>
            <a:off x="811965"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0" name="Flowchart: Manual Operation 169">
            <a:extLst>
              <a:ext uri="{FF2B5EF4-FFF2-40B4-BE49-F238E27FC236}">
                <a16:creationId xmlns:a16="http://schemas.microsoft.com/office/drawing/2014/main" id="{EA793FA7-C546-497B-9F3E-7E74412A09B9}"/>
              </a:ext>
            </a:extLst>
          </p:cNvPr>
          <p:cNvSpPr/>
          <p:nvPr/>
        </p:nvSpPr>
        <p:spPr>
          <a:xfrm>
            <a:off x="1703448"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1" name="Flowchart: Manual Operation 170">
            <a:extLst>
              <a:ext uri="{FF2B5EF4-FFF2-40B4-BE49-F238E27FC236}">
                <a16:creationId xmlns:a16="http://schemas.microsoft.com/office/drawing/2014/main" id="{6E95AAF9-A767-4E2F-A554-43489A4F7F7F}"/>
              </a:ext>
            </a:extLst>
          </p:cNvPr>
          <p:cNvSpPr/>
          <p:nvPr/>
        </p:nvSpPr>
        <p:spPr>
          <a:xfrm>
            <a:off x="343095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2" name="Flowchart: Manual Operation 171">
            <a:extLst>
              <a:ext uri="{FF2B5EF4-FFF2-40B4-BE49-F238E27FC236}">
                <a16:creationId xmlns:a16="http://schemas.microsoft.com/office/drawing/2014/main" id="{058AB31D-95C6-458C-8FFD-640213F6E24A}"/>
              </a:ext>
            </a:extLst>
          </p:cNvPr>
          <p:cNvSpPr/>
          <p:nvPr/>
        </p:nvSpPr>
        <p:spPr>
          <a:xfrm>
            <a:off x="6906742" y="2061534"/>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3" name="Flowchart: Manual Operation 172">
            <a:extLst>
              <a:ext uri="{FF2B5EF4-FFF2-40B4-BE49-F238E27FC236}">
                <a16:creationId xmlns:a16="http://schemas.microsoft.com/office/drawing/2014/main" id="{0626BD07-4BA9-4640-B4C2-7B5ABC64922E}"/>
              </a:ext>
            </a:extLst>
          </p:cNvPr>
          <p:cNvSpPr/>
          <p:nvPr/>
        </p:nvSpPr>
        <p:spPr>
          <a:xfrm>
            <a:off x="429057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4" name="Flowchart: Manual Operation 173">
            <a:extLst>
              <a:ext uri="{FF2B5EF4-FFF2-40B4-BE49-F238E27FC236}">
                <a16:creationId xmlns:a16="http://schemas.microsoft.com/office/drawing/2014/main" id="{C7561628-14C7-48FC-859F-4FE370260108}"/>
              </a:ext>
            </a:extLst>
          </p:cNvPr>
          <p:cNvSpPr/>
          <p:nvPr/>
        </p:nvSpPr>
        <p:spPr>
          <a:xfrm>
            <a:off x="2563059"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5" name="Flowchart: Manual Operation 174">
            <a:extLst>
              <a:ext uri="{FF2B5EF4-FFF2-40B4-BE49-F238E27FC236}">
                <a16:creationId xmlns:a16="http://schemas.microsoft.com/office/drawing/2014/main" id="{EFFBDE44-DF69-4F57-90E6-90723A0E43C6}"/>
              </a:ext>
            </a:extLst>
          </p:cNvPr>
          <p:cNvSpPr/>
          <p:nvPr/>
        </p:nvSpPr>
        <p:spPr>
          <a:xfrm>
            <a:off x="688183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6" name="Flowchart: Manual Operation 175">
            <a:extLst>
              <a:ext uri="{FF2B5EF4-FFF2-40B4-BE49-F238E27FC236}">
                <a16:creationId xmlns:a16="http://schemas.microsoft.com/office/drawing/2014/main" id="{9B0FB857-9965-47D5-8948-2318C74E2D46}"/>
              </a:ext>
            </a:extLst>
          </p:cNvPr>
          <p:cNvSpPr/>
          <p:nvPr/>
        </p:nvSpPr>
        <p:spPr>
          <a:xfrm>
            <a:off x="601808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7" name="Flowchart: Manual Operation 176">
            <a:extLst>
              <a:ext uri="{FF2B5EF4-FFF2-40B4-BE49-F238E27FC236}">
                <a16:creationId xmlns:a16="http://schemas.microsoft.com/office/drawing/2014/main" id="{A2C83901-0248-40D7-B9D7-5B0C76AA939D}"/>
              </a:ext>
            </a:extLst>
          </p:cNvPr>
          <p:cNvSpPr/>
          <p:nvPr/>
        </p:nvSpPr>
        <p:spPr>
          <a:xfrm>
            <a:off x="5166120"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8" name="Flowchart: Manual Operation 177">
            <a:extLst>
              <a:ext uri="{FF2B5EF4-FFF2-40B4-BE49-F238E27FC236}">
                <a16:creationId xmlns:a16="http://schemas.microsoft.com/office/drawing/2014/main" id="{B3E5A963-D1EB-4773-87B7-13FC7B011270}"/>
              </a:ext>
            </a:extLst>
          </p:cNvPr>
          <p:cNvSpPr/>
          <p:nvPr/>
        </p:nvSpPr>
        <p:spPr>
          <a:xfrm>
            <a:off x="8609348"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79" name="Flowchart: Manual Operation 178">
            <a:extLst>
              <a:ext uri="{FF2B5EF4-FFF2-40B4-BE49-F238E27FC236}">
                <a16:creationId xmlns:a16="http://schemas.microsoft.com/office/drawing/2014/main" id="{DB90920F-7DC5-4FA5-A501-AB1F18792FFC}"/>
              </a:ext>
            </a:extLst>
          </p:cNvPr>
          <p:cNvSpPr/>
          <p:nvPr/>
        </p:nvSpPr>
        <p:spPr>
          <a:xfrm>
            <a:off x="10336857"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0" name="Flowchart: Manual Operation 179">
            <a:extLst>
              <a:ext uri="{FF2B5EF4-FFF2-40B4-BE49-F238E27FC236}">
                <a16:creationId xmlns:a16="http://schemas.microsoft.com/office/drawing/2014/main" id="{D6873CF7-6C02-4865-9ED5-ACBFCE9FF8A2}"/>
              </a:ext>
            </a:extLst>
          </p:cNvPr>
          <p:cNvSpPr/>
          <p:nvPr/>
        </p:nvSpPr>
        <p:spPr>
          <a:xfrm>
            <a:off x="9473103"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1" name="Flowchart: Manual Operation 180">
            <a:extLst>
              <a:ext uri="{FF2B5EF4-FFF2-40B4-BE49-F238E27FC236}">
                <a16:creationId xmlns:a16="http://schemas.microsoft.com/office/drawing/2014/main" id="{68174C36-B84A-4500-85C0-99EC13306827}"/>
              </a:ext>
            </a:extLst>
          </p:cNvPr>
          <p:cNvSpPr/>
          <p:nvPr/>
        </p:nvSpPr>
        <p:spPr>
          <a:xfrm>
            <a:off x="839692"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2" name="Flowchart: Manual Operation 181">
            <a:extLst>
              <a:ext uri="{FF2B5EF4-FFF2-40B4-BE49-F238E27FC236}">
                <a16:creationId xmlns:a16="http://schemas.microsoft.com/office/drawing/2014/main" id="{419B3686-0040-4BEA-8FB6-6B3D6B06D6EF}"/>
              </a:ext>
            </a:extLst>
          </p:cNvPr>
          <p:cNvSpPr/>
          <p:nvPr/>
        </p:nvSpPr>
        <p:spPr>
          <a:xfrm>
            <a:off x="10330316" y="2061534"/>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3" name="Flowchart: Manual Operation 182">
            <a:extLst>
              <a:ext uri="{FF2B5EF4-FFF2-40B4-BE49-F238E27FC236}">
                <a16:creationId xmlns:a16="http://schemas.microsoft.com/office/drawing/2014/main" id="{C19A106E-20EF-41F9-8DBB-5895AEA94310}"/>
              </a:ext>
            </a:extLst>
          </p:cNvPr>
          <p:cNvSpPr/>
          <p:nvPr/>
        </p:nvSpPr>
        <p:spPr>
          <a:xfrm>
            <a:off x="343095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4" name="Flowchart: Manual Operation 183">
            <a:extLst>
              <a:ext uri="{FF2B5EF4-FFF2-40B4-BE49-F238E27FC236}">
                <a16:creationId xmlns:a16="http://schemas.microsoft.com/office/drawing/2014/main" id="{04699AAA-E06A-4CDB-B2BD-E62CF89C5E3F}"/>
              </a:ext>
            </a:extLst>
          </p:cNvPr>
          <p:cNvSpPr/>
          <p:nvPr/>
        </p:nvSpPr>
        <p:spPr>
          <a:xfrm>
            <a:off x="2567202"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5" name="Flowchart: Manual Operation 184">
            <a:extLst>
              <a:ext uri="{FF2B5EF4-FFF2-40B4-BE49-F238E27FC236}">
                <a16:creationId xmlns:a16="http://schemas.microsoft.com/office/drawing/2014/main" id="{5D054955-F646-44E2-A8D9-41FEED2E6D18}"/>
              </a:ext>
            </a:extLst>
          </p:cNvPr>
          <p:cNvSpPr/>
          <p:nvPr/>
        </p:nvSpPr>
        <p:spPr>
          <a:xfrm>
            <a:off x="6023333"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6" name="Flowchart: Manual Operation 185">
            <a:extLst>
              <a:ext uri="{FF2B5EF4-FFF2-40B4-BE49-F238E27FC236}">
                <a16:creationId xmlns:a16="http://schemas.microsoft.com/office/drawing/2014/main" id="{5A1FFDBA-8601-4096-A03A-33315BCF2BC1}"/>
              </a:ext>
            </a:extLst>
          </p:cNvPr>
          <p:cNvSpPr/>
          <p:nvPr/>
        </p:nvSpPr>
        <p:spPr>
          <a:xfrm>
            <a:off x="515432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7" name="Flowchart: Manual Operation 186">
            <a:extLst>
              <a:ext uri="{FF2B5EF4-FFF2-40B4-BE49-F238E27FC236}">
                <a16:creationId xmlns:a16="http://schemas.microsoft.com/office/drawing/2014/main" id="{DBBBB4A3-AF39-418B-80A5-D7D8B58018EB}"/>
              </a:ext>
            </a:extLst>
          </p:cNvPr>
          <p:cNvSpPr/>
          <p:nvPr/>
        </p:nvSpPr>
        <p:spPr>
          <a:xfrm>
            <a:off x="688183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8" name="Flowchart: Manual Operation 187">
            <a:extLst>
              <a:ext uri="{FF2B5EF4-FFF2-40B4-BE49-F238E27FC236}">
                <a16:creationId xmlns:a16="http://schemas.microsoft.com/office/drawing/2014/main" id="{94B1A480-1E26-4ACD-87AB-ED05CAA56F3B}"/>
              </a:ext>
            </a:extLst>
          </p:cNvPr>
          <p:cNvSpPr/>
          <p:nvPr/>
        </p:nvSpPr>
        <p:spPr>
          <a:xfrm>
            <a:off x="7750843" y="2061534"/>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89" name="Flowchart: Manual Operation 188">
            <a:extLst>
              <a:ext uri="{FF2B5EF4-FFF2-40B4-BE49-F238E27FC236}">
                <a16:creationId xmlns:a16="http://schemas.microsoft.com/office/drawing/2014/main" id="{BBE216C6-05DA-4C16-9CD9-4E11EEFC064B}"/>
              </a:ext>
            </a:extLst>
          </p:cNvPr>
          <p:cNvSpPr/>
          <p:nvPr/>
        </p:nvSpPr>
        <p:spPr>
          <a:xfrm>
            <a:off x="7745593"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0" name="Flowchart: Manual Operation 189">
            <a:extLst>
              <a:ext uri="{FF2B5EF4-FFF2-40B4-BE49-F238E27FC236}">
                <a16:creationId xmlns:a16="http://schemas.microsoft.com/office/drawing/2014/main" id="{B5476806-53B9-4C7F-A7F5-967CCCD44CE2}"/>
              </a:ext>
            </a:extLst>
          </p:cNvPr>
          <p:cNvSpPr/>
          <p:nvPr/>
        </p:nvSpPr>
        <p:spPr>
          <a:xfrm>
            <a:off x="8609348"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1" name="Flowchart: Manual Operation 190">
            <a:extLst>
              <a:ext uri="{FF2B5EF4-FFF2-40B4-BE49-F238E27FC236}">
                <a16:creationId xmlns:a16="http://schemas.microsoft.com/office/drawing/2014/main" id="{6053A653-0F7C-47A3-9461-BA225B17F75D}"/>
              </a:ext>
            </a:extLst>
          </p:cNvPr>
          <p:cNvSpPr/>
          <p:nvPr/>
        </p:nvSpPr>
        <p:spPr>
          <a:xfrm>
            <a:off x="10336857"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2" name="Flowchart: Manual Operation 191">
            <a:extLst>
              <a:ext uri="{FF2B5EF4-FFF2-40B4-BE49-F238E27FC236}">
                <a16:creationId xmlns:a16="http://schemas.microsoft.com/office/drawing/2014/main" id="{02323768-9539-42D3-BD03-162576FF2C2A}"/>
              </a:ext>
            </a:extLst>
          </p:cNvPr>
          <p:cNvSpPr/>
          <p:nvPr/>
        </p:nvSpPr>
        <p:spPr>
          <a:xfrm>
            <a:off x="9473103"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3" name="Flowchart: Manual Operation 192">
            <a:extLst>
              <a:ext uri="{FF2B5EF4-FFF2-40B4-BE49-F238E27FC236}">
                <a16:creationId xmlns:a16="http://schemas.microsoft.com/office/drawing/2014/main" id="{D4FDD3AE-B717-4B05-904C-511059214881}"/>
              </a:ext>
            </a:extLst>
          </p:cNvPr>
          <p:cNvSpPr/>
          <p:nvPr/>
        </p:nvSpPr>
        <p:spPr>
          <a:xfrm>
            <a:off x="839692"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4" name="Flowchart: Manual Operation 193">
            <a:extLst>
              <a:ext uri="{FF2B5EF4-FFF2-40B4-BE49-F238E27FC236}">
                <a16:creationId xmlns:a16="http://schemas.microsoft.com/office/drawing/2014/main" id="{867375D9-9833-409C-974E-DEC985714A0A}"/>
              </a:ext>
            </a:extLst>
          </p:cNvPr>
          <p:cNvSpPr/>
          <p:nvPr/>
        </p:nvSpPr>
        <p:spPr>
          <a:xfrm>
            <a:off x="1703448"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5" name="Flowchart: Manual Operation 194">
            <a:extLst>
              <a:ext uri="{FF2B5EF4-FFF2-40B4-BE49-F238E27FC236}">
                <a16:creationId xmlns:a16="http://schemas.microsoft.com/office/drawing/2014/main" id="{0071DF7F-9A51-43E6-B948-C728B28B404C}"/>
              </a:ext>
            </a:extLst>
          </p:cNvPr>
          <p:cNvSpPr/>
          <p:nvPr/>
        </p:nvSpPr>
        <p:spPr>
          <a:xfrm>
            <a:off x="343095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6" name="Flowchart: Manual Operation 195">
            <a:extLst>
              <a:ext uri="{FF2B5EF4-FFF2-40B4-BE49-F238E27FC236}">
                <a16:creationId xmlns:a16="http://schemas.microsoft.com/office/drawing/2014/main" id="{86FD2692-75D6-4B93-8FBF-13FF99B976AC}"/>
              </a:ext>
            </a:extLst>
          </p:cNvPr>
          <p:cNvSpPr/>
          <p:nvPr/>
        </p:nvSpPr>
        <p:spPr>
          <a:xfrm>
            <a:off x="2567202"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7" name="Flowchart: Manual Operation 196">
            <a:extLst>
              <a:ext uri="{FF2B5EF4-FFF2-40B4-BE49-F238E27FC236}">
                <a16:creationId xmlns:a16="http://schemas.microsoft.com/office/drawing/2014/main" id="{6879796D-0351-45A3-B9ED-609B4989F1BC}"/>
              </a:ext>
            </a:extLst>
          </p:cNvPr>
          <p:cNvSpPr/>
          <p:nvPr/>
        </p:nvSpPr>
        <p:spPr>
          <a:xfrm>
            <a:off x="8620045" y="2061534"/>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8" name="Flowchart: Manual Operation 197">
            <a:extLst>
              <a:ext uri="{FF2B5EF4-FFF2-40B4-BE49-F238E27FC236}">
                <a16:creationId xmlns:a16="http://schemas.microsoft.com/office/drawing/2014/main" id="{78DB7BDA-9AAC-4300-90C4-199D16FC5DE0}"/>
              </a:ext>
            </a:extLst>
          </p:cNvPr>
          <p:cNvSpPr/>
          <p:nvPr/>
        </p:nvSpPr>
        <p:spPr>
          <a:xfrm>
            <a:off x="515432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199" name="Flowchart: Manual Operation 198">
            <a:extLst>
              <a:ext uri="{FF2B5EF4-FFF2-40B4-BE49-F238E27FC236}">
                <a16:creationId xmlns:a16="http://schemas.microsoft.com/office/drawing/2014/main" id="{2CFCD5B7-C826-4BF2-A5EA-4960F710D82F}"/>
              </a:ext>
            </a:extLst>
          </p:cNvPr>
          <p:cNvSpPr/>
          <p:nvPr/>
        </p:nvSpPr>
        <p:spPr>
          <a:xfrm>
            <a:off x="688183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0" name="Flowchart: Manual Operation 199">
            <a:extLst>
              <a:ext uri="{FF2B5EF4-FFF2-40B4-BE49-F238E27FC236}">
                <a16:creationId xmlns:a16="http://schemas.microsoft.com/office/drawing/2014/main" id="{D09956BF-FEF1-4462-934D-D0241A809124}"/>
              </a:ext>
            </a:extLst>
          </p:cNvPr>
          <p:cNvSpPr/>
          <p:nvPr/>
        </p:nvSpPr>
        <p:spPr>
          <a:xfrm>
            <a:off x="6018083"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1" name="Flowchart: Manual Operation 200">
            <a:extLst>
              <a:ext uri="{FF2B5EF4-FFF2-40B4-BE49-F238E27FC236}">
                <a16:creationId xmlns:a16="http://schemas.microsoft.com/office/drawing/2014/main" id="{3FFEAC06-4D1D-472E-BA81-55FB2FD503D7}"/>
              </a:ext>
            </a:extLst>
          </p:cNvPr>
          <p:cNvSpPr/>
          <p:nvPr/>
        </p:nvSpPr>
        <p:spPr>
          <a:xfrm>
            <a:off x="7745593"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2" name="Flowchart: Manual Operation 201">
            <a:extLst>
              <a:ext uri="{FF2B5EF4-FFF2-40B4-BE49-F238E27FC236}">
                <a16:creationId xmlns:a16="http://schemas.microsoft.com/office/drawing/2014/main" id="{39F2E715-C043-42DF-AD0F-48A91450300E}"/>
              </a:ext>
            </a:extLst>
          </p:cNvPr>
          <p:cNvSpPr/>
          <p:nvPr/>
        </p:nvSpPr>
        <p:spPr>
          <a:xfrm>
            <a:off x="8609348"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3" name="Flowchart: Manual Operation 202">
            <a:extLst>
              <a:ext uri="{FF2B5EF4-FFF2-40B4-BE49-F238E27FC236}">
                <a16:creationId xmlns:a16="http://schemas.microsoft.com/office/drawing/2014/main" id="{F55B58D4-D892-47D9-AE36-25E4CA6D9F6E}"/>
              </a:ext>
            </a:extLst>
          </p:cNvPr>
          <p:cNvSpPr/>
          <p:nvPr/>
        </p:nvSpPr>
        <p:spPr>
          <a:xfrm>
            <a:off x="10336857"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4" name="Flowchart: Manual Operation 203">
            <a:extLst>
              <a:ext uri="{FF2B5EF4-FFF2-40B4-BE49-F238E27FC236}">
                <a16:creationId xmlns:a16="http://schemas.microsoft.com/office/drawing/2014/main" id="{536EEF42-0282-45CB-8D68-533809AF3AF7}"/>
              </a:ext>
            </a:extLst>
          </p:cNvPr>
          <p:cNvSpPr/>
          <p:nvPr/>
        </p:nvSpPr>
        <p:spPr>
          <a:xfrm>
            <a:off x="4301066"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5" name="Flowchart: Manual Operation 204">
            <a:extLst>
              <a:ext uri="{FF2B5EF4-FFF2-40B4-BE49-F238E27FC236}">
                <a16:creationId xmlns:a16="http://schemas.microsoft.com/office/drawing/2014/main" id="{75408F32-0729-40BE-AA5A-B7D2F1110329}"/>
              </a:ext>
            </a:extLst>
          </p:cNvPr>
          <p:cNvSpPr/>
          <p:nvPr/>
        </p:nvSpPr>
        <p:spPr>
          <a:xfrm>
            <a:off x="811965"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6" name="Flowchart: Manual Operation 205">
            <a:extLst>
              <a:ext uri="{FF2B5EF4-FFF2-40B4-BE49-F238E27FC236}">
                <a16:creationId xmlns:a16="http://schemas.microsoft.com/office/drawing/2014/main" id="{859A74B3-C41F-4135-A386-8D9E0D5FDA49}"/>
              </a:ext>
            </a:extLst>
          </p:cNvPr>
          <p:cNvSpPr/>
          <p:nvPr/>
        </p:nvSpPr>
        <p:spPr>
          <a:xfrm>
            <a:off x="1703448"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7" name="Flowchart: Manual Operation 206">
            <a:extLst>
              <a:ext uri="{FF2B5EF4-FFF2-40B4-BE49-F238E27FC236}">
                <a16:creationId xmlns:a16="http://schemas.microsoft.com/office/drawing/2014/main" id="{D8003472-D655-4373-A72E-DB558B742009}"/>
              </a:ext>
            </a:extLst>
          </p:cNvPr>
          <p:cNvSpPr/>
          <p:nvPr/>
        </p:nvSpPr>
        <p:spPr>
          <a:xfrm>
            <a:off x="4298430" y="446332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8" name="Flowchart: Manual Operation 207">
            <a:extLst>
              <a:ext uri="{FF2B5EF4-FFF2-40B4-BE49-F238E27FC236}">
                <a16:creationId xmlns:a16="http://schemas.microsoft.com/office/drawing/2014/main" id="{07F84893-77EC-487F-93B3-992BD8EE5143}"/>
              </a:ext>
            </a:extLst>
          </p:cNvPr>
          <p:cNvSpPr/>
          <p:nvPr/>
        </p:nvSpPr>
        <p:spPr>
          <a:xfrm>
            <a:off x="5154326"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09" name="Flowchart: Manual Operation 208">
            <a:extLst>
              <a:ext uri="{FF2B5EF4-FFF2-40B4-BE49-F238E27FC236}">
                <a16:creationId xmlns:a16="http://schemas.microsoft.com/office/drawing/2014/main" id="{0E1140A8-AA07-4124-9336-CF0C48E309FF}"/>
              </a:ext>
            </a:extLst>
          </p:cNvPr>
          <p:cNvSpPr/>
          <p:nvPr/>
        </p:nvSpPr>
        <p:spPr>
          <a:xfrm>
            <a:off x="7748220" y="3663453"/>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10" name="Flowchart: Manual Operation 209">
            <a:extLst>
              <a:ext uri="{FF2B5EF4-FFF2-40B4-BE49-F238E27FC236}">
                <a16:creationId xmlns:a16="http://schemas.microsoft.com/office/drawing/2014/main" id="{4D98C248-D041-4736-8EC5-8681593D8979}"/>
              </a:ext>
            </a:extLst>
          </p:cNvPr>
          <p:cNvSpPr/>
          <p:nvPr/>
        </p:nvSpPr>
        <p:spPr>
          <a:xfrm>
            <a:off x="2578574" y="3650932"/>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11" name="Flowchart: Manual Operation 210">
            <a:extLst>
              <a:ext uri="{FF2B5EF4-FFF2-40B4-BE49-F238E27FC236}">
                <a16:creationId xmlns:a16="http://schemas.microsoft.com/office/drawing/2014/main" id="{4808DDC6-E781-4015-8732-EE8EE840BCE4}"/>
              </a:ext>
            </a:extLst>
          </p:cNvPr>
          <p:cNvSpPr/>
          <p:nvPr/>
        </p:nvSpPr>
        <p:spPr>
          <a:xfrm>
            <a:off x="3439923" y="2061534"/>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12" name="Flowchart: Manual Operation 211">
            <a:extLst>
              <a:ext uri="{FF2B5EF4-FFF2-40B4-BE49-F238E27FC236}">
                <a16:creationId xmlns:a16="http://schemas.microsoft.com/office/drawing/2014/main" id="{7495DAFE-2A87-4632-9140-9738F803B67F}"/>
              </a:ext>
            </a:extLst>
          </p:cNvPr>
          <p:cNvSpPr/>
          <p:nvPr/>
        </p:nvSpPr>
        <p:spPr>
          <a:xfrm>
            <a:off x="6013054" y="4463326"/>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13" name="Flowchart: Manual Operation 212">
            <a:extLst>
              <a:ext uri="{FF2B5EF4-FFF2-40B4-BE49-F238E27FC236}">
                <a16:creationId xmlns:a16="http://schemas.microsoft.com/office/drawing/2014/main" id="{8368E742-5FB4-4598-8576-30B02741E164}"/>
              </a:ext>
            </a:extLst>
          </p:cNvPr>
          <p:cNvSpPr/>
          <p:nvPr/>
        </p:nvSpPr>
        <p:spPr>
          <a:xfrm>
            <a:off x="4297226" y="5263200"/>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14" name="Flowchart: Manual Operation 213">
            <a:extLst>
              <a:ext uri="{FF2B5EF4-FFF2-40B4-BE49-F238E27FC236}">
                <a16:creationId xmlns:a16="http://schemas.microsoft.com/office/drawing/2014/main" id="{6D024B81-3043-493A-8B9B-4A322D84C1FC}"/>
              </a:ext>
            </a:extLst>
          </p:cNvPr>
          <p:cNvSpPr/>
          <p:nvPr/>
        </p:nvSpPr>
        <p:spPr>
          <a:xfrm>
            <a:off x="1710560" y="4463326"/>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sp>
        <p:nvSpPr>
          <p:cNvPr id="215" name="Flowchart: Manual Operation 214">
            <a:extLst>
              <a:ext uri="{FF2B5EF4-FFF2-40B4-BE49-F238E27FC236}">
                <a16:creationId xmlns:a16="http://schemas.microsoft.com/office/drawing/2014/main" id="{6195D779-AE87-4F46-B460-D6A3178494B6}"/>
              </a:ext>
            </a:extLst>
          </p:cNvPr>
          <p:cNvSpPr/>
          <p:nvPr/>
        </p:nvSpPr>
        <p:spPr>
          <a:xfrm>
            <a:off x="9473103" y="2063707"/>
            <a:ext cx="863755" cy="719796"/>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sz="2400" kern="0" dirty="0">
              <a:solidFill>
                <a:sysClr val="windowText" lastClr="000000"/>
              </a:solidFill>
              <a:latin typeface="Segoe UI Light"/>
            </a:endParaRPr>
          </a:p>
        </p:txBody>
      </p:sp>
      <p:cxnSp>
        <p:nvCxnSpPr>
          <p:cNvPr id="216" name="Straight Arrow Connector 215">
            <a:extLst>
              <a:ext uri="{FF2B5EF4-FFF2-40B4-BE49-F238E27FC236}">
                <a16:creationId xmlns:a16="http://schemas.microsoft.com/office/drawing/2014/main" id="{7E807528-7330-41AD-A207-6FD27E94E789}"/>
              </a:ext>
            </a:extLst>
          </p:cNvPr>
          <p:cNvCxnSpPr>
            <a:endCxn id="205" idx="0"/>
          </p:cNvCxnSpPr>
          <p:nvPr/>
        </p:nvCxnSpPr>
        <p:spPr>
          <a:xfrm>
            <a:off x="1243842" y="2715037"/>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7" name="Straight Arrow Connector 216">
            <a:extLst>
              <a:ext uri="{FF2B5EF4-FFF2-40B4-BE49-F238E27FC236}">
                <a16:creationId xmlns:a16="http://schemas.microsoft.com/office/drawing/2014/main" id="{6BE1964D-8508-45D4-9540-2A419F8E3D66}"/>
              </a:ext>
            </a:extLst>
          </p:cNvPr>
          <p:cNvCxnSpPr/>
          <p:nvPr/>
        </p:nvCxnSpPr>
        <p:spPr>
          <a:xfrm>
            <a:off x="2131185" y="1147408"/>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a:extLst>
              <a:ext uri="{FF2B5EF4-FFF2-40B4-BE49-F238E27FC236}">
                <a16:creationId xmlns:a16="http://schemas.microsoft.com/office/drawing/2014/main" id="{03744BEB-1520-4AF3-8FE9-A6A94FFCE9E1}"/>
              </a:ext>
            </a:extLst>
          </p:cNvPr>
          <p:cNvCxnSpPr/>
          <p:nvPr/>
        </p:nvCxnSpPr>
        <p:spPr>
          <a:xfrm>
            <a:off x="5589924" y="2752558"/>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B6DEAE28-5CE7-45DE-ABF5-199059F1F43C}"/>
              </a:ext>
            </a:extLst>
          </p:cNvPr>
          <p:cNvCxnSpPr/>
          <p:nvPr/>
        </p:nvCxnSpPr>
        <p:spPr>
          <a:xfrm>
            <a:off x="4726167" y="3557109"/>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9137F5D1-F1A3-4B07-A9D7-4B1306EB6ACB}"/>
              </a:ext>
            </a:extLst>
          </p:cNvPr>
          <p:cNvCxnSpPr/>
          <p:nvPr/>
        </p:nvCxnSpPr>
        <p:spPr>
          <a:xfrm>
            <a:off x="9897115" y="4346901"/>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D46EFB45-E806-417C-B414-E196643606E5}"/>
              </a:ext>
            </a:extLst>
          </p:cNvPr>
          <p:cNvCxnSpPr/>
          <p:nvPr/>
        </p:nvCxnSpPr>
        <p:spPr>
          <a:xfrm>
            <a:off x="8180095" y="2757235"/>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3A0082EA-0F50-419D-A1C3-A37E5224C78D}"/>
              </a:ext>
            </a:extLst>
          </p:cNvPr>
          <p:cNvCxnSpPr/>
          <p:nvPr/>
        </p:nvCxnSpPr>
        <p:spPr>
          <a:xfrm>
            <a:off x="3879657" y="1136059"/>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B3CB2832-9B0F-42E3-9347-4A15C1101E7B}"/>
              </a:ext>
            </a:extLst>
          </p:cNvPr>
          <p:cNvCxnSpPr/>
          <p:nvPr/>
        </p:nvCxnSpPr>
        <p:spPr>
          <a:xfrm>
            <a:off x="2994726" y="2715390"/>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FF8363CB-1DA6-4E42-B6F4-B9B8BCDBD1A5}"/>
              </a:ext>
            </a:extLst>
          </p:cNvPr>
          <p:cNvCxnSpPr/>
          <p:nvPr/>
        </p:nvCxnSpPr>
        <p:spPr>
          <a:xfrm>
            <a:off x="6405621" y="3547027"/>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217E4E6-9689-496C-967E-AC673EF9518F}"/>
              </a:ext>
            </a:extLst>
          </p:cNvPr>
          <p:cNvCxnSpPr/>
          <p:nvPr/>
        </p:nvCxnSpPr>
        <p:spPr>
          <a:xfrm>
            <a:off x="4689792" y="4346901"/>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38F98947-6629-47B9-BD94-E6B1519C6D57}"/>
              </a:ext>
            </a:extLst>
          </p:cNvPr>
          <p:cNvCxnSpPr/>
          <p:nvPr/>
        </p:nvCxnSpPr>
        <p:spPr>
          <a:xfrm>
            <a:off x="9862685" y="1149581"/>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0CB92F02-4816-46D3-BE9C-85B8E39B82A9}"/>
              </a:ext>
            </a:extLst>
          </p:cNvPr>
          <p:cNvCxnSpPr/>
          <p:nvPr/>
        </p:nvCxnSpPr>
        <p:spPr>
          <a:xfrm>
            <a:off x="2142437" y="3533821"/>
            <a:ext cx="1" cy="948416"/>
          </a:xfrm>
          <a:prstGeom prst="straightConnector1">
            <a:avLst/>
          </a:prstGeom>
          <a:ln w="1270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74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16"/>
                                        </p:tgtEl>
                                        <p:attrNameLst>
                                          <p:attrName>style.visibility</p:attrName>
                                        </p:attrNameLst>
                                      </p:cBhvr>
                                      <p:to>
                                        <p:strVal val="visible"/>
                                      </p:to>
                                    </p:set>
                                    <p:animEffect transition="in" filter="wipe(up)">
                                      <p:cBhvr>
                                        <p:cTn id="7" dur="500"/>
                                        <p:tgtEl>
                                          <p:spTgt spid="216"/>
                                        </p:tgtEl>
                                      </p:cBhvr>
                                    </p:animEffect>
                                  </p:childTnLst>
                                </p:cTn>
                              </p:par>
                            </p:childTnLst>
                          </p:cTn>
                        </p:par>
                        <p:par>
                          <p:cTn id="8" fill="hold">
                            <p:stCondLst>
                              <p:cond delay="500"/>
                            </p:stCondLst>
                            <p:childTnLst>
                              <p:par>
                                <p:cTn id="9" presetID="1" presetClass="emph" presetSubtype="6" fill="hold" nodeType="afterEffect">
                                  <p:stCondLst>
                                    <p:cond delay="0"/>
                                  </p:stCondLst>
                                  <p:childTnLst>
                                    <p:animClr clrSpc="hsl" dir="cw">
                                      <p:cBhvr>
                                        <p:cTn id="10" dur="500" fill="hold"/>
                                        <p:tgtEl>
                                          <p:spTgt spid="205"/>
                                        </p:tgtEl>
                                        <p:attrNameLst>
                                          <p:attrName>fillcolor</p:attrName>
                                        </p:attrNameLst>
                                      </p:cBhvr>
                                      <p:to>
                                        <a:srgbClr val="E7AC17"/>
                                      </p:to>
                                    </p:animClr>
                                    <p:set>
                                      <p:cBhvr>
                                        <p:cTn id="11" dur="500" fill="hold"/>
                                        <p:tgtEl>
                                          <p:spTgt spid="205"/>
                                        </p:tgtEl>
                                        <p:attrNameLst>
                                          <p:attrName>fill.type</p:attrName>
                                        </p:attrNameLst>
                                      </p:cBhvr>
                                      <p:to>
                                        <p:strVal val="solid"/>
                                      </p:to>
                                    </p:set>
                                    <p:set>
                                      <p:cBhvr>
                                        <p:cTn id="12" dur="500" fill="hold"/>
                                        <p:tgtEl>
                                          <p:spTgt spid="205"/>
                                        </p:tgtEl>
                                        <p:attrNameLst>
                                          <p:attrName>fill.on</p:attrName>
                                        </p:attrNameLst>
                                      </p:cBhvr>
                                      <p:to>
                                        <p:strVal val="true"/>
                                      </p:to>
                                    </p:set>
                                  </p:childTnLst>
                                </p:cTn>
                              </p:par>
                              <p:par>
                                <p:cTn id="13" presetID="22" presetClass="exit" presetSubtype="1" fill="hold" nodeType="withEffect">
                                  <p:stCondLst>
                                    <p:cond delay="0"/>
                                  </p:stCondLst>
                                  <p:childTnLst>
                                    <p:animEffect transition="out" filter="wipe(up)">
                                      <p:cBhvr>
                                        <p:cTn id="14" dur="500"/>
                                        <p:tgtEl>
                                          <p:spTgt spid="216"/>
                                        </p:tgtEl>
                                      </p:cBhvr>
                                    </p:animEffect>
                                    <p:set>
                                      <p:cBhvr>
                                        <p:cTn id="15" dur="1" fill="hold">
                                          <p:stCondLst>
                                            <p:cond delay="499"/>
                                          </p:stCondLst>
                                        </p:cTn>
                                        <p:tgtEl>
                                          <p:spTgt spid="216"/>
                                        </p:tgtEl>
                                        <p:attrNameLst>
                                          <p:attrName>style.visibility</p:attrName>
                                        </p:attrNameLst>
                                      </p:cBhvr>
                                      <p:to>
                                        <p:strVal val="hidden"/>
                                      </p:to>
                                    </p:set>
                                  </p:childTnLst>
                                </p:cTn>
                              </p:par>
                            </p:childTnLst>
                          </p:cTn>
                        </p:par>
                        <p:par>
                          <p:cTn id="16" fill="hold">
                            <p:stCondLst>
                              <p:cond delay="1000"/>
                            </p:stCondLst>
                            <p:childTnLst>
                              <p:par>
                                <p:cTn id="17" presetID="22" presetClass="entr" presetSubtype="1" fill="hold" nodeType="afterEffect">
                                  <p:stCondLst>
                                    <p:cond delay="0"/>
                                  </p:stCondLst>
                                  <p:childTnLst>
                                    <p:set>
                                      <p:cBhvr>
                                        <p:cTn id="18" dur="1" fill="hold">
                                          <p:stCondLst>
                                            <p:cond delay="0"/>
                                          </p:stCondLst>
                                        </p:cTn>
                                        <p:tgtEl>
                                          <p:spTgt spid="217"/>
                                        </p:tgtEl>
                                        <p:attrNameLst>
                                          <p:attrName>style.visibility</p:attrName>
                                        </p:attrNameLst>
                                      </p:cBhvr>
                                      <p:to>
                                        <p:strVal val="visible"/>
                                      </p:to>
                                    </p:set>
                                    <p:animEffect transition="in" filter="wipe(up)">
                                      <p:cBhvr>
                                        <p:cTn id="19" dur="500"/>
                                        <p:tgtEl>
                                          <p:spTgt spid="217"/>
                                        </p:tgtEl>
                                      </p:cBhvr>
                                    </p:animEffect>
                                  </p:childTnLst>
                                </p:cTn>
                              </p:par>
                            </p:childTnLst>
                          </p:cTn>
                        </p:par>
                        <p:par>
                          <p:cTn id="20" fill="hold">
                            <p:stCondLst>
                              <p:cond delay="1500"/>
                            </p:stCondLst>
                            <p:childTnLst>
                              <p:par>
                                <p:cTn id="21" presetID="1" presetClass="emph" presetSubtype="2" fill="hold" nodeType="afterEffect">
                                  <p:stCondLst>
                                    <p:cond delay="0"/>
                                  </p:stCondLst>
                                  <p:childTnLst>
                                    <p:animClr clrSpc="rgb" dir="cw">
                                      <p:cBhvr>
                                        <p:cTn id="22" dur="500" fill="hold"/>
                                        <p:tgtEl>
                                          <p:spTgt spid="206"/>
                                        </p:tgtEl>
                                        <p:attrNameLst>
                                          <p:attrName>fillcolor</p:attrName>
                                        </p:attrNameLst>
                                      </p:cBhvr>
                                      <p:to>
                                        <a:srgbClr val="E7AC17"/>
                                      </p:to>
                                    </p:animClr>
                                    <p:set>
                                      <p:cBhvr>
                                        <p:cTn id="23" dur="500" fill="hold"/>
                                        <p:tgtEl>
                                          <p:spTgt spid="206"/>
                                        </p:tgtEl>
                                        <p:attrNameLst>
                                          <p:attrName>fill.type</p:attrName>
                                        </p:attrNameLst>
                                      </p:cBhvr>
                                      <p:to>
                                        <p:strVal val="solid"/>
                                      </p:to>
                                    </p:set>
                                    <p:set>
                                      <p:cBhvr>
                                        <p:cTn id="24" dur="500" fill="hold"/>
                                        <p:tgtEl>
                                          <p:spTgt spid="206"/>
                                        </p:tgtEl>
                                        <p:attrNameLst>
                                          <p:attrName>fill.on</p:attrName>
                                        </p:attrNameLst>
                                      </p:cBhvr>
                                      <p:to>
                                        <p:strVal val="true"/>
                                      </p:to>
                                    </p:set>
                                  </p:childTnLst>
                                </p:cTn>
                              </p:par>
                              <p:par>
                                <p:cTn id="25" presetID="22" presetClass="exit" presetSubtype="1" fill="hold" nodeType="withEffect">
                                  <p:stCondLst>
                                    <p:cond delay="0"/>
                                  </p:stCondLst>
                                  <p:childTnLst>
                                    <p:animEffect transition="out" filter="wipe(up)">
                                      <p:cBhvr>
                                        <p:cTn id="26" dur="500"/>
                                        <p:tgtEl>
                                          <p:spTgt spid="217"/>
                                        </p:tgtEl>
                                      </p:cBhvr>
                                    </p:animEffect>
                                    <p:set>
                                      <p:cBhvr>
                                        <p:cTn id="27" dur="1" fill="hold">
                                          <p:stCondLst>
                                            <p:cond delay="499"/>
                                          </p:stCondLst>
                                        </p:cTn>
                                        <p:tgtEl>
                                          <p:spTgt spid="217"/>
                                        </p:tgtEl>
                                        <p:attrNameLst>
                                          <p:attrName>style.visibility</p:attrName>
                                        </p:attrNameLst>
                                      </p:cBhvr>
                                      <p:to>
                                        <p:strVal val="hidden"/>
                                      </p:to>
                                    </p:se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218"/>
                                        </p:tgtEl>
                                        <p:attrNameLst>
                                          <p:attrName>style.visibility</p:attrName>
                                        </p:attrNameLst>
                                      </p:cBhvr>
                                      <p:to>
                                        <p:strVal val="visible"/>
                                      </p:to>
                                    </p:set>
                                    <p:animEffect transition="in" filter="wipe(up)">
                                      <p:cBhvr>
                                        <p:cTn id="31" dur="500"/>
                                        <p:tgtEl>
                                          <p:spTgt spid="218"/>
                                        </p:tgtEl>
                                      </p:cBhvr>
                                    </p:animEffect>
                                  </p:childTnLst>
                                </p:cTn>
                              </p:par>
                            </p:childTnLst>
                          </p:cTn>
                        </p:par>
                        <p:par>
                          <p:cTn id="32" fill="hold">
                            <p:stCondLst>
                              <p:cond delay="2500"/>
                            </p:stCondLst>
                            <p:childTnLst>
                              <p:par>
                                <p:cTn id="33" presetID="1" presetClass="emph" presetSubtype="2" fill="hold" nodeType="afterEffect">
                                  <p:stCondLst>
                                    <p:cond delay="0"/>
                                  </p:stCondLst>
                                  <p:childTnLst>
                                    <p:animClr clrSpc="rgb" dir="cw">
                                      <p:cBhvr>
                                        <p:cTn id="34" dur="500" fill="hold"/>
                                        <p:tgtEl>
                                          <p:spTgt spid="208"/>
                                        </p:tgtEl>
                                        <p:attrNameLst>
                                          <p:attrName>fillcolor</p:attrName>
                                        </p:attrNameLst>
                                      </p:cBhvr>
                                      <p:to>
                                        <a:srgbClr val="E7AC17"/>
                                      </p:to>
                                    </p:animClr>
                                    <p:set>
                                      <p:cBhvr>
                                        <p:cTn id="35" dur="500" fill="hold"/>
                                        <p:tgtEl>
                                          <p:spTgt spid="208"/>
                                        </p:tgtEl>
                                        <p:attrNameLst>
                                          <p:attrName>fill.type</p:attrName>
                                        </p:attrNameLst>
                                      </p:cBhvr>
                                      <p:to>
                                        <p:strVal val="solid"/>
                                      </p:to>
                                    </p:set>
                                    <p:set>
                                      <p:cBhvr>
                                        <p:cTn id="36" dur="500" fill="hold"/>
                                        <p:tgtEl>
                                          <p:spTgt spid="208"/>
                                        </p:tgtEl>
                                        <p:attrNameLst>
                                          <p:attrName>fill.on</p:attrName>
                                        </p:attrNameLst>
                                      </p:cBhvr>
                                      <p:to>
                                        <p:strVal val="true"/>
                                      </p:to>
                                    </p:set>
                                  </p:childTnLst>
                                </p:cTn>
                              </p:par>
                              <p:par>
                                <p:cTn id="37" presetID="22" presetClass="exit" presetSubtype="1" fill="hold" nodeType="withEffect">
                                  <p:stCondLst>
                                    <p:cond delay="0"/>
                                  </p:stCondLst>
                                  <p:childTnLst>
                                    <p:animEffect transition="out" filter="wipe(up)">
                                      <p:cBhvr>
                                        <p:cTn id="38" dur="500"/>
                                        <p:tgtEl>
                                          <p:spTgt spid="218"/>
                                        </p:tgtEl>
                                      </p:cBhvr>
                                    </p:animEffect>
                                    <p:set>
                                      <p:cBhvr>
                                        <p:cTn id="39" dur="1" fill="hold">
                                          <p:stCondLst>
                                            <p:cond delay="499"/>
                                          </p:stCondLst>
                                        </p:cTn>
                                        <p:tgtEl>
                                          <p:spTgt spid="218"/>
                                        </p:tgtEl>
                                        <p:attrNameLst>
                                          <p:attrName>style.visibility</p:attrName>
                                        </p:attrNameLst>
                                      </p:cBhvr>
                                      <p:to>
                                        <p:strVal val="hidden"/>
                                      </p:to>
                                    </p:set>
                                  </p:childTnLst>
                                </p:cTn>
                              </p:par>
                            </p:childTnLst>
                          </p:cTn>
                        </p:par>
                        <p:par>
                          <p:cTn id="40" fill="hold">
                            <p:stCondLst>
                              <p:cond delay="3000"/>
                            </p:stCondLst>
                            <p:childTnLst>
                              <p:par>
                                <p:cTn id="41" presetID="22" presetClass="entr" presetSubtype="1" fill="hold" nodeType="afterEffect">
                                  <p:stCondLst>
                                    <p:cond delay="0"/>
                                  </p:stCondLst>
                                  <p:childTnLst>
                                    <p:set>
                                      <p:cBhvr>
                                        <p:cTn id="42" dur="1" fill="hold">
                                          <p:stCondLst>
                                            <p:cond delay="0"/>
                                          </p:stCondLst>
                                        </p:cTn>
                                        <p:tgtEl>
                                          <p:spTgt spid="219"/>
                                        </p:tgtEl>
                                        <p:attrNameLst>
                                          <p:attrName>style.visibility</p:attrName>
                                        </p:attrNameLst>
                                      </p:cBhvr>
                                      <p:to>
                                        <p:strVal val="visible"/>
                                      </p:to>
                                    </p:set>
                                    <p:animEffect transition="in" filter="wipe(up)">
                                      <p:cBhvr>
                                        <p:cTn id="43" dur="500"/>
                                        <p:tgtEl>
                                          <p:spTgt spid="219"/>
                                        </p:tgtEl>
                                      </p:cBhvr>
                                    </p:animEffect>
                                  </p:childTnLst>
                                </p:cTn>
                              </p:par>
                            </p:childTnLst>
                          </p:cTn>
                        </p:par>
                        <p:par>
                          <p:cTn id="44" fill="hold">
                            <p:stCondLst>
                              <p:cond delay="3500"/>
                            </p:stCondLst>
                            <p:childTnLst>
                              <p:par>
                                <p:cTn id="45" presetID="1" presetClass="emph" presetSubtype="2" fill="hold" nodeType="afterEffect">
                                  <p:stCondLst>
                                    <p:cond delay="0"/>
                                  </p:stCondLst>
                                  <p:childTnLst>
                                    <p:animClr clrSpc="rgb" dir="cw">
                                      <p:cBhvr>
                                        <p:cTn id="46" dur="500" fill="hold"/>
                                        <p:tgtEl>
                                          <p:spTgt spid="207"/>
                                        </p:tgtEl>
                                        <p:attrNameLst>
                                          <p:attrName>fillcolor</p:attrName>
                                        </p:attrNameLst>
                                      </p:cBhvr>
                                      <p:to>
                                        <a:srgbClr val="E7AC17"/>
                                      </p:to>
                                    </p:animClr>
                                    <p:set>
                                      <p:cBhvr>
                                        <p:cTn id="47" dur="500" fill="hold"/>
                                        <p:tgtEl>
                                          <p:spTgt spid="207"/>
                                        </p:tgtEl>
                                        <p:attrNameLst>
                                          <p:attrName>fill.type</p:attrName>
                                        </p:attrNameLst>
                                      </p:cBhvr>
                                      <p:to>
                                        <p:strVal val="solid"/>
                                      </p:to>
                                    </p:set>
                                    <p:set>
                                      <p:cBhvr>
                                        <p:cTn id="48" dur="500" fill="hold"/>
                                        <p:tgtEl>
                                          <p:spTgt spid="207"/>
                                        </p:tgtEl>
                                        <p:attrNameLst>
                                          <p:attrName>fill.on</p:attrName>
                                        </p:attrNameLst>
                                      </p:cBhvr>
                                      <p:to>
                                        <p:strVal val="true"/>
                                      </p:to>
                                    </p:set>
                                  </p:childTnLst>
                                </p:cTn>
                              </p:par>
                              <p:par>
                                <p:cTn id="49" presetID="22" presetClass="exit" presetSubtype="1" fill="hold" nodeType="withEffect">
                                  <p:stCondLst>
                                    <p:cond delay="0"/>
                                  </p:stCondLst>
                                  <p:childTnLst>
                                    <p:animEffect transition="out" filter="wipe(up)">
                                      <p:cBhvr>
                                        <p:cTn id="50" dur="500"/>
                                        <p:tgtEl>
                                          <p:spTgt spid="219"/>
                                        </p:tgtEl>
                                      </p:cBhvr>
                                    </p:animEffect>
                                    <p:set>
                                      <p:cBhvr>
                                        <p:cTn id="51" dur="1" fill="hold">
                                          <p:stCondLst>
                                            <p:cond delay="499"/>
                                          </p:stCondLst>
                                        </p:cTn>
                                        <p:tgtEl>
                                          <p:spTgt spid="219"/>
                                        </p:tgtEl>
                                        <p:attrNameLst>
                                          <p:attrName>style.visibility</p:attrName>
                                        </p:attrNameLst>
                                      </p:cBhvr>
                                      <p:to>
                                        <p:strVal val="hidden"/>
                                      </p:to>
                                    </p:set>
                                  </p:childTnLst>
                                </p:cTn>
                              </p:par>
                            </p:childTnLst>
                          </p:cTn>
                        </p:par>
                        <p:par>
                          <p:cTn id="52" fill="hold">
                            <p:stCondLst>
                              <p:cond delay="4000"/>
                            </p:stCondLst>
                            <p:childTnLst>
                              <p:par>
                                <p:cTn id="53" presetID="22" presetClass="entr" presetSubtype="1" fill="hold" nodeType="afterEffect">
                                  <p:stCondLst>
                                    <p:cond delay="0"/>
                                  </p:stCondLst>
                                  <p:childTnLst>
                                    <p:set>
                                      <p:cBhvr>
                                        <p:cTn id="54" dur="1" fill="hold">
                                          <p:stCondLst>
                                            <p:cond delay="0"/>
                                          </p:stCondLst>
                                        </p:cTn>
                                        <p:tgtEl>
                                          <p:spTgt spid="220"/>
                                        </p:tgtEl>
                                        <p:attrNameLst>
                                          <p:attrName>style.visibility</p:attrName>
                                        </p:attrNameLst>
                                      </p:cBhvr>
                                      <p:to>
                                        <p:strVal val="visible"/>
                                      </p:to>
                                    </p:set>
                                    <p:animEffect transition="in" filter="wipe(up)">
                                      <p:cBhvr>
                                        <p:cTn id="55" dur="500"/>
                                        <p:tgtEl>
                                          <p:spTgt spid="220"/>
                                        </p:tgtEl>
                                      </p:cBhvr>
                                    </p:animEffect>
                                  </p:childTnLst>
                                </p:cTn>
                              </p:par>
                            </p:childTnLst>
                          </p:cTn>
                        </p:par>
                        <p:par>
                          <p:cTn id="56" fill="hold">
                            <p:stCondLst>
                              <p:cond delay="4500"/>
                            </p:stCondLst>
                            <p:childTnLst>
                              <p:par>
                                <p:cTn id="57" presetID="1" presetClass="emph" presetSubtype="2" fill="hold" nodeType="afterEffect">
                                  <p:stCondLst>
                                    <p:cond delay="0"/>
                                  </p:stCondLst>
                                  <p:childTnLst>
                                    <p:animClr clrSpc="rgb" dir="cw">
                                      <p:cBhvr>
                                        <p:cTn id="58" dur="500" fill="hold"/>
                                        <p:tgtEl>
                                          <p:spTgt spid="156"/>
                                        </p:tgtEl>
                                        <p:attrNameLst>
                                          <p:attrName>fillcolor</p:attrName>
                                        </p:attrNameLst>
                                      </p:cBhvr>
                                      <p:to>
                                        <a:srgbClr val="E7AC17"/>
                                      </p:to>
                                    </p:animClr>
                                    <p:set>
                                      <p:cBhvr>
                                        <p:cTn id="59" dur="500" fill="hold"/>
                                        <p:tgtEl>
                                          <p:spTgt spid="156"/>
                                        </p:tgtEl>
                                        <p:attrNameLst>
                                          <p:attrName>fill.type</p:attrName>
                                        </p:attrNameLst>
                                      </p:cBhvr>
                                      <p:to>
                                        <p:strVal val="solid"/>
                                      </p:to>
                                    </p:set>
                                    <p:set>
                                      <p:cBhvr>
                                        <p:cTn id="60" dur="500" fill="hold"/>
                                        <p:tgtEl>
                                          <p:spTgt spid="156"/>
                                        </p:tgtEl>
                                        <p:attrNameLst>
                                          <p:attrName>fill.on</p:attrName>
                                        </p:attrNameLst>
                                      </p:cBhvr>
                                      <p:to>
                                        <p:strVal val="true"/>
                                      </p:to>
                                    </p:set>
                                  </p:childTnLst>
                                </p:cTn>
                              </p:par>
                              <p:par>
                                <p:cTn id="61" presetID="22" presetClass="exit" presetSubtype="1" fill="hold" nodeType="withEffect">
                                  <p:stCondLst>
                                    <p:cond delay="0"/>
                                  </p:stCondLst>
                                  <p:childTnLst>
                                    <p:animEffect transition="out" filter="wipe(up)">
                                      <p:cBhvr>
                                        <p:cTn id="62" dur="500"/>
                                        <p:tgtEl>
                                          <p:spTgt spid="220"/>
                                        </p:tgtEl>
                                      </p:cBhvr>
                                    </p:animEffect>
                                    <p:set>
                                      <p:cBhvr>
                                        <p:cTn id="63" dur="1" fill="hold">
                                          <p:stCondLst>
                                            <p:cond delay="499"/>
                                          </p:stCondLst>
                                        </p:cTn>
                                        <p:tgtEl>
                                          <p:spTgt spid="220"/>
                                        </p:tgtEl>
                                        <p:attrNameLst>
                                          <p:attrName>style.visibility</p:attrName>
                                        </p:attrNameLst>
                                      </p:cBhvr>
                                      <p:to>
                                        <p:strVal val="hidden"/>
                                      </p:to>
                                    </p:set>
                                  </p:childTnLst>
                                </p:cTn>
                              </p:par>
                            </p:childTnLst>
                          </p:cTn>
                        </p:par>
                        <p:par>
                          <p:cTn id="64" fill="hold">
                            <p:stCondLst>
                              <p:cond delay="5000"/>
                            </p:stCondLst>
                            <p:childTnLst>
                              <p:par>
                                <p:cTn id="65" presetID="22" presetClass="entr" presetSubtype="1" fill="hold" nodeType="afterEffect">
                                  <p:stCondLst>
                                    <p:cond delay="0"/>
                                  </p:stCondLst>
                                  <p:childTnLst>
                                    <p:set>
                                      <p:cBhvr>
                                        <p:cTn id="66" dur="1" fill="hold">
                                          <p:stCondLst>
                                            <p:cond delay="0"/>
                                          </p:stCondLst>
                                        </p:cTn>
                                        <p:tgtEl>
                                          <p:spTgt spid="221"/>
                                        </p:tgtEl>
                                        <p:attrNameLst>
                                          <p:attrName>style.visibility</p:attrName>
                                        </p:attrNameLst>
                                      </p:cBhvr>
                                      <p:to>
                                        <p:strVal val="visible"/>
                                      </p:to>
                                    </p:set>
                                    <p:animEffect transition="in" filter="wipe(up)">
                                      <p:cBhvr>
                                        <p:cTn id="67" dur="500"/>
                                        <p:tgtEl>
                                          <p:spTgt spid="221"/>
                                        </p:tgtEl>
                                      </p:cBhvr>
                                    </p:animEffect>
                                  </p:childTnLst>
                                </p:cTn>
                              </p:par>
                            </p:childTnLst>
                          </p:cTn>
                        </p:par>
                        <p:par>
                          <p:cTn id="68" fill="hold">
                            <p:stCondLst>
                              <p:cond delay="5500"/>
                            </p:stCondLst>
                            <p:childTnLst>
                              <p:par>
                                <p:cTn id="69" presetID="1" presetClass="emph" presetSubtype="2" fill="hold" nodeType="afterEffect">
                                  <p:stCondLst>
                                    <p:cond delay="0"/>
                                  </p:stCondLst>
                                  <p:childTnLst>
                                    <p:animClr clrSpc="rgb" dir="cw">
                                      <p:cBhvr>
                                        <p:cTn id="70" dur="500" fill="hold"/>
                                        <p:tgtEl>
                                          <p:spTgt spid="209"/>
                                        </p:tgtEl>
                                        <p:attrNameLst>
                                          <p:attrName>fillcolor</p:attrName>
                                        </p:attrNameLst>
                                      </p:cBhvr>
                                      <p:to>
                                        <a:srgbClr val="E7AC17"/>
                                      </p:to>
                                    </p:animClr>
                                    <p:set>
                                      <p:cBhvr>
                                        <p:cTn id="71" dur="500" fill="hold"/>
                                        <p:tgtEl>
                                          <p:spTgt spid="209"/>
                                        </p:tgtEl>
                                        <p:attrNameLst>
                                          <p:attrName>fill.type</p:attrName>
                                        </p:attrNameLst>
                                      </p:cBhvr>
                                      <p:to>
                                        <p:strVal val="solid"/>
                                      </p:to>
                                    </p:set>
                                    <p:set>
                                      <p:cBhvr>
                                        <p:cTn id="72" dur="500" fill="hold"/>
                                        <p:tgtEl>
                                          <p:spTgt spid="209"/>
                                        </p:tgtEl>
                                        <p:attrNameLst>
                                          <p:attrName>fill.on</p:attrName>
                                        </p:attrNameLst>
                                      </p:cBhvr>
                                      <p:to>
                                        <p:strVal val="true"/>
                                      </p:to>
                                    </p:set>
                                  </p:childTnLst>
                                </p:cTn>
                              </p:par>
                              <p:par>
                                <p:cTn id="73" presetID="22" presetClass="exit" presetSubtype="1" fill="hold" nodeType="withEffect">
                                  <p:stCondLst>
                                    <p:cond delay="0"/>
                                  </p:stCondLst>
                                  <p:childTnLst>
                                    <p:animEffect transition="out" filter="wipe(up)">
                                      <p:cBhvr>
                                        <p:cTn id="74" dur="500"/>
                                        <p:tgtEl>
                                          <p:spTgt spid="221"/>
                                        </p:tgtEl>
                                      </p:cBhvr>
                                    </p:animEffect>
                                    <p:set>
                                      <p:cBhvr>
                                        <p:cTn id="75" dur="1" fill="hold">
                                          <p:stCondLst>
                                            <p:cond delay="499"/>
                                          </p:stCondLst>
                                        </p:cTn>
                                        <p:tgtEl>
                                          <p:spTgt spid="221"/>
                                        </p:tgtEl>
                                        <p:attrNameLst>
                                          <p:attrName>style.visibility</p:attrName>
                                        </p:attrNameLst>
                                      </p:cBhvr>
                                      <p:to>
                                        <p:strVal val="hidden"/>
                                      </p:to>
                                    </p:set>
                                  </p:childTnLst>
                                </p:cTn>
                              </p:par>
                            </p:childTnLst>
                          </p:cTn>
                        </p:par>
                        <p:par>
                          <p:cTn id="76" fill="hold">
                            <p:stCondLst>
                              <p:cond delay="6000"/>
                            </p:stCondLst>
                            <p:childTnLst>
                              <p:par>
                                <p:cTn id="77" presetID="22" presetClass="entr" presetSubtype="1" fill="hold" nodeType="afterEffect">
                                  <p:stCondLst>
                                    <p:cond delay="0"/>
                                  </p:stCondLst>
                                  <p:childTnLst>
                                    <p:set>
                                      <p:cBhvr>
                                        <p:cTn id="78" dur="1" fill="hold">
                                          <p:stCondLst>
                                            <p:cond delay="0"/>
                                          </p:stCondLst>
                                        </p:cTn>
                                        <p:tgtEl>
                                          <p:spTgt spid="222"/>
                                        </p:tgtEl>
                                        <p:attrNameLst>
                                          <p:attrName>style.visibility</p:attrName>
                                        </p:attrNameLst>
                                      </p:cBhvr>
                                      <p:to>
                                        <p:strVal val="visible"/>
                                      </p:to>
                                    </p:set>
                                    <p:animEffect transition="in" filter="wipe(up)">
                                      <p:cBhvr>
                                        <p:cTn id="79" dur="500"/>
                                        <p:tgtEl>
                                          <p:spTgt spid="222"/>
                                        </p:tgtEl>
                                      </p:cBhvr>
                                    </p:animEffect>
                                  </p:childTnLst>
                                </p:cTn>
                              </p:par>
                            </p:childTnLst>
                          </p:cTn>
                        </p:par>
                        <p:par>
                          <p:cTn id="80" fill="hold">
                            <p:stCondLst>
                              <p:cond delay="6500"/>
                            </p:stCondLst>
                            <p:childTnLst>
                              <p:par>
                                <p:cTn id="81" presetID="1" presetClass="emph" presetSubtype="2" fill="hold" nodeType="afterEffect">
                                  <p:stCondLst>
                                    <p:cond delay="0"/>
                                  </p:stCondLst>
                                  <p:childTnLst>
                                    <p:animClr clrSpc="rgb" dir="cw">
                                      <p:cBhvr>
                                        <p:cTn id="82" dur="500" fill="hold"/>
                                        <p:tgtEl>
                                          <p:spTgt spid="211"/>
                                        </p:tgtEl>
                                        <p:attrNameLst>
                                          <p:attrName>fillcolor</p:attrName>
                                        </p:attrNameLst>
                                      </p:cBhvr>
                                      <p:to>
                                        <a:srgbClr val="E7AC17"/>
                                      </p:to>
                                    </p:animClr>
                                    <p:set>
                                      <p:cBhvr>
                                        <p:cTn id="83" dur="500" fill="hold"/>
                                        <p:tgtEl>
                                          <p:spTgt spid="211"/>
                                        </p:tgtEl>
                                        <p:attrNameLst>
                                          <p:attrName>fill.type</p:attrName>
                                        </p:attrNameLst>
                                      </p:cBhvr>
                                      <p:to>
                                        <p:strVal val="solid"/>
                                      </p:to>
                                    </p:set>
                                    <p:set>
                                      <p:cBhvr>
                                        <p:cTn id="84" dur="500" fill="hold"/>
                                        <p:tgtEl>
                                          <p:spTgt spid="211"/>
                                        </p:tgtEl>
                                        <p:attrNameLst>
                                          <p:attrName>fill.on</p:attrName>
                                        </p:attrNameLst>
                                      </p:cBhvr>
                                      <p:to>
                                        <p:strVal val="true"/>
                                      </p:to>
                                    </p:set>
                                  </p:childTnLst>
                                </p:cTn>
                              </p:par>
                              <p:par>
                                <p:cTn id="85" presetID="22" presetClass="exit" presetSubtype="1" fill="hold" nodeType="withEffect">
                                  <p:stCondLst>
                                    <p:cond delay="0"/>
                                  </p:stCondLst>
                                  <p:childTnLst>
                                    <p:animEffect transition="out" filter="wipe(up)">
                                      <p:cBhvr>
                                        <p:cTn id="86" dur="500"/>
                                        <p:tgtEl>
                                          <p:spTgt spid="222"/>
                                        </p:tgtEl>
                                      </p:cBhvr>
                                    </p:animEffect>
                                    <p:set>
                                      <p:cBhvr>
                                        <p:cTn id="87" dur="1" fill="hold">
                                          <p:stCondLst>
                                            <p:cond delay="499"/>
                                          </p:stCondLst>
                                        </p:cTn>
                                        <p:tgtEl>
                                          <p:spTgt spid="222"/>
                                        </p:tgtEl>
                                        <p:attrNameLst>
                                          <p:attrName>style.visibility</p:attrName>
                                        </p:attrNameLst>
                                      </p:cBhvr>
                                      <p:to>
                                        <p:strVal val="hidden"/>
                                      </p:to>
                                    </p:set>
                                  </p:childTnLst>
                                </p:cTn>
                              </p:par>
                            </p:childTnLst>
                          </p:cTn>
                        </p:par>
                        <p:par>
                          <p:cTn id="88" fill="hold">
                            <p:stCondLst>
                              <p:cond delay="7000"/>
                            </p:stCondLst>
                            <p:childTnLst>
                              <p:par>
                                <p:cTn id="89" presetID="22" presetClass="entr" presetSubtype="1" fill="hold" nodeType="afterEffect">
                                  <p:stCondLst>
                                    <p:cond delay="0"/>
                                  </p:stCondLst>
                                  <p:childTnLst>
                                    <p:set>
                                      <p:cBhvr>
                                        <p:cTn id="90" dur="1" fill="hold">
                                          <p:stCondLst>
                                            <p:cond delay="0"/>
                                          </p:stCondLst>
                                        </p:cTn>
                                        <p:tgtEl>
                                          <p:spTgt spid="223"/>
                                        </p:tgtEl>
                                        <p:attrNameLst>
                                          <p:attrName>style.visibility</p:attrName>
                                        </p:attrNameLst>
                                      </p:cBhvr>
                                      <p:to>
                                        <p:strVal val="visible"/>
                                      </p:to>
                                    </p:set>
                                    <p:animEffect transition="in" filter="wipe(up)">
                                      <p:cBhvr>
                                        <p:cTn id="91" dur="500"/>
                                        <p:tgtEl>
                                          <p:spTgt spid="223"/>
                                        </p:tgtEl>
                                      </p:cBhvr>
                                    </p:animEffect>
                                  </p:childTnLst>
                                </p:cTn>
                              </p:par>
                            </p:childTnLst>
                          </p:cTn>
                        </p:par>
                        <p:par>
                          <p:cTn id="92" fill="hold">
                            <p:stCondLst>
                              <p:cond delay="7500"/>
                            </p:stCondLst>
                            <p:childTnLst>
                              <p:par>
                                <p:cTn id="93" presetID="1" presetClass="emph" presetSubtype="2" fill="hold" nodeType="afterEffect">
                                  <p:stCondLst>
                                    <p:cond delay="0"/>
                                  </p:stCondLst>
                                  <p:childTnLst>
                                    <p:animClr clrSpc="rgb" dir="cw">
                                      <p:cBhvr>
                                        <p:cTn id="94" dur="500" fill="hold"/>
                                        <p:tgtEl>
                                          <p:spTgt spid="210"/>
                                        </p:tgtEl>
                                        <p:attrNameLst>
                                          <p:attrName>fillcolor</p:attrName>
                                        </p:attrNameLst>
                                      </p:cBhvr>
                                      <p:to>
                                        <a:srgbClr val="E7AC17"/>
                                      </p:to>
                                    </p:animClr>
                                    <p:set>
                                      <p:cBhvr>
                                        <p:cTn id="95" dur="500" fill="hold"/>
                                        <p:tgtEl>
                                          <p:spTgt spid="210"/>
                                        </p:tgtEl>
                                        <p:attrNameLst>
                                          <p:attrName>fill.type</p:attrName>
                                        </p:attrNameLst>
                                      </p:cBhvr>
                                      <p:to>
                                        <p:strVal val="solid"/>
                                      </p:to>
                                    </p:set>
                                    <p:set>
                                      <p:cBhvr>
                                        <p:cTn id="96" dur="500" fill="hold"/>
                                        <p:tgtEl>
                                          <p:spTgt spid="210"/>
                                        </p:tgtEl>
                                        <p:attrNameLst>
                                          <p:attrName>fill.on</p:attrName>
                                        </p:attrNameLst>
                                      </p:cBhvr>
                                      <p:to>
                                        <p:strVal val="true"/>
                                      </p:to>
                                    </p:set>
                                  </p:childTnLst>
                                </p:cTn>
                              </p:par>
                              <p:par>
                                <p:cTn id="97" presetID="22" presetClass="exit" presetSubtype="1" fill="hold" nodeType="withEffect">
                                  <p:stCondLst>
                                    <p:cond delay="0"/>
                                  </p:stCondLst>
                                  <p:childTnLst>
                                    <p:animEffect transition="out" filter="wipe(up)">
                                      <p:cBhvr>
                                        <p:cTn id="98" dur="500"/>
                                        <p:tgtEl>
                                          <p:spTgt spid="223"/>
                                        </p:tgtEl>
                                      </p:cBhvr>
                                    </p:animEffect>
                                    <p:set>
                                      <p:cBhvr>
                                        <p:cTn id="99" dur="1" fill="hold">
                                          <p:stCondLst>
                                            <p:cond delay="499"/>
                                          </p:stCondLst>
                                        </p:cTn>
                                        <p:tgtEl>
                                          <p:spTgt spid="223"/>
                                        </p:tgtEl>
                                        <p:attrNameLst>
                                          <p:attrName>style.visibility</p:attrName>
                                        </p:attrNameLst>
                                      </p:cBhvr>
                                      <p:to>
                                        <p:strVal val="hidden"/>
                                      </p:to>
                                    </p:set>
                                  </p:childTnLst>
                                </p:cTn>
                              </p:par>
                            </p:childTnLst>
                          </p:cTn>
                        </p:par>
                        <p:par>
                          <p:cTn id="100" fill="hold">
                            <p:stCondLst>
                              <p:cond delay="8000"/>
                            </p:stCondLst>
                            <p:childTnLst>
                              <p:par>
                                <p:cTn id="101" presetID="22" presetClass="entr" presetSubtype="1" fill="hold" nodeType="afterEffect">
                                  <p:stCondLst>
                                    <p:cond delay="0"/>
                                  </p:stCondLst>
                                  <p:childTnLst>
                                    <p:set>
                                      <p:cBhvr>
                                        <p:cTn id="102" dur="1" fill="hold">
                                          <p:stCondLst>
                                            <p:cond delay="0"/>
                                          </p:stCondLst>
                                        </p:cTn>
                                        <p:tgtEl>
                                          <p:spTgt spid="224"/>
                                        </p:tgtEl>
                                        <p:attrNameLst>
                                          <p:attrName>style.visibility</p:attrName>
                                        </p:attrNameLst>
                                      </p:cBhvr>
                                      <p:to>
                                        <p:strVal val="visible"/>
                                      </p:to>
                                    </p:set>
                                    <p:animEffect transition="in" filter="wipe(up)">
                                      <p:cBhvr>
                                        <p:cTn id="103" dur="500"/>
                                        <p:tgtEl>
                                          <p:spTgt spid="224"/>
                                        </p:tgtEl>
                                      </p:cBhvr>
                                    </p:animEffect>
                                  </p:childTnLst>
                                </p:cTn>
                              </p:par>
                            </p:childTnLst>
                          </p:cTn>
                        </p:par>
                        <p:par>
                          <p:cTn id="104" fill="hold">
                            <p:stCondLst>
                              <p:cond delay="8500"/>
                            </p:stCondLst>
                            <p:childTnLst>
                              <p:par>
                                <p:cTn id="105" presetID="1" presetClass="emph" presetSubtype="2" fill="hold" nodeType="afterEffect">
                                  <p:stCondLst>
                                    <p:cond delay="0"/>
                                  </p:stCondLst>
                                  <p:childTnLst>
                                    <p:animClr clrSpc="rgb" dir="cw">
                                      <p:cBhvr>
                                        <p:cTn id="106" dur="500" fill="hold"/>
                                        <p:tgtEl>
                                          <p:spTgt spid="212"/>
                                        </p:tgtEl>
                                        <p:attrNameLst>
                                          <p:attrName>fillcolor</p:attrName>
                                        </p:attrNameLst>
                                      </p:cBhvr>
                                      <p:to>
                                        <a:srgbClr val="E7AC17"/>
                                      </p:to>
                                    </p:animClr>
                                    <p:set>
                                      <p:cBhvr>
                                        <p:cTn id="107" dur="500" fill="hold"/>
                                        <p:tgtEl>
                                          <p:spTgt spid="212"/>
                                        </p:tgtEl>
                                        <p:attrNameLst>
                                          <p:attrName>fill.type</p:attrName>
                                        </p:attrNameLst>
                                      </p:cBhvr>
                                      <p:to>
                                        <p:strVal val="solid"/>
                                      </p:to>
                                    </p:set>
                                    <p:set>
                                      <p:cBhvr>
                                        <p:cTn id="108" dur="500" fill="hold"/>
                                        <p:tgtEl>
                                          <p:spTgt spid="212"/>
                                        </p:tgtEl>
                                        <p:attrNameLst>
                                          <p:attrName>fill.on</p:attrName>
                                        </p:attrNameLst>
                                      </p:cBhvr>
                                      <p:to>
                                        <p:strVal val="true"/>
                                      </p:to>
                                    </p:set>
                                  </p:childTnLst>
                                </p:cTn>
                              </p:par>
                              <p:par>
                                <p:cTn id="109" presetID="22" presetClass="exit" presetSubtype="1" fill="hold" nodeType="withEffect">
                                  <p:stCondLst>
                                    <p:cond delay="0"/>
                                  </p:stCondLst>
                                  <p:childTnLst>
                                    <p:animEffect transition="out" filter="wipe(up)">
                                      <p:cBhvr>
                                        <p:cTn id="110" dur="500"/>
                                        <p:tgtEl>
                                          <p:spTgt spid="224"/>
                                        </p:tgtEl>
                                      </p:cBhvr>
                                    </p:animEffect>
                                    <p:set>
                                      <p:cBhvr>
                                        <p:cTn id="111" dur="1" fill="hold">
                                          <p:stCondLst>
                                            <p:cond delay="499"/>
                                          </p:stCondLst>
                                        </p:cTn>
                                        <p:tgtEl>
                                          <p:spTgt spid="224"/>
                                        </p:tgtEl>
                                        <p:attrNameLst>
                                          <p:attrName>style.visibility</p:attrName>
                                        </p:attrNameLst>
                                      </p:cBhvr>
                                      <p:to>
                                        <p:strVal val="hidden"/>
                                      </p:to>
                                    </p:set>
                                  </p:childTnLst>
                                </p:cTn>
                              </p:par>
                            </p:childTnLst>
                          </p:cTn>
                        </p:par>
                        <p:par>
                          <p:cTn id="112" fill="hold">
                            <p:stCondLst>
                              <p:cond delay="9000"/>
                            </p:stCondLst>
                            <p:childTnLst>
                              <p:par>
                                <p:cTn id="113" presetID="22" presetClass="entr" presetSubtype="1" fill="hold" nodeType="afterEffect">
                                  <p:stCondLst>
                                    <p:cond delay="0"/>
                                  </p:stCondLst>
                                  <p:childTnLst>
                                    <p:set>
                                      <p:cBhvr>
                                        <p:cTn id="114" dur="1" fill="hold">
                                          <p:stCondLst>
                                            <p:cond delay="0"/>
                                          </p:stCondLst>
                                        </p:cTn>
                                        <p:tgtEl>
                                          <p:spTgt spid="225"/>
                                        </p:tgtEl>
                                        <p:attrNameLst>
                                          <p:attrName>style.visibility</p:attrName>
                                        </p:attrNameLst>
                                      </p:cBhvr>
                                      <p:to>
                                        <p:strVal val="visible"/>
                                      </p:to>
                                    </p:set>
                                    <p:animEffect transition="in" filter="wipe(up)">
                                      <p:cBhvr>
                                        <p:cTn id="115" dur="500"/>
                                        <p:tgtEl>
                                          <p:spTgt spid="225"/>
                                        </p:tgtEl>
                                      </p:cBhvr>
                                    </p:animEffect>
                                  </p:childTnLst>
                                </p:cTn>
                              </p:par>
                            </p:childTnLst>
                          </p:cTn>
                        </p:par>
                        <p:par>
                          <p:cTn id="116" fill="hold">
                            <p:stCondLst>
                              <p:cond delay="9500"/>
                            </p:stCondLst>
                            <p:childTnLst>
                              <p:par>
                                <p:cTn id="117" presetID="1" presetClass="emph" presetSubtype="2" fill="hold" nodeType="afterEffect">
                                  <p:stCondLst>
                                    <p:cond delay="0"/>
                                  </p:stCondLst>
                                  <p:childTnLst>
                                    <p:animClr clrSpc="rgb" dir="cw">
                                      <p:cBhvr>
                                        <p:cTn id="118" dur="500" fill="hold"/>
                                        <p:tgtEl>
                                          <p:spTgt spid="213"/>
                                        </p:tgtEl>
                                        <p:attrNameLst>
                                          <p:attrName>fillcolor</p:attrName>
                                        </p:attrNameLst>
                                      </p:cBhvr>
                                      <p:to>
                                        <a:srgbClr val="E7AC17"/>
                                      </p:to>
                                    </p:animClr>
                                    <p:set>
                                      <p:cBhvr>
                                        <p:cTn id="119" dur="500" fill="hold"/>
                                        <p:tgtEl>
                                          <p:spTgt spid="213"/>
                                        </p:tgtEl>
                                        <p:attrNameLst>
                                          <p:attrName>fill.type</p:attrName>
                                        </p:attrNameLst>
                                      </p:cBhvr>
                                      <p:to>
                                        <p:strVal val="solid"/>
                                      </p:to>
                                    </p:set>
                                    <p:set>
                                      <p:cBhvr>
                                        <p:cTn id="120" dur="500" fill="hold"/>
                                        <p:tgtEl>
                                          <p:spTgt spid="213"/>
                                        </p:tgtEl>
                                        <p:attrNameLst>
                                          <p:attrName>fill.on</p:attrName>
                                        </p:attrNameLst>
                                      </p:cBhvr>
                                      <p:to>
                                        <p:strVal val="true"/>
                                      </p:to>
                                    </p:set>
                                  </p:childTnLst>
                                </p:cTn>
                              </p:par>
                              <p:par>
                                <p:cTn id="121" presetID="22" presetClass="exit" presetSubtype="1" fill="hold" nodeType="withEffect">
                                  <p:stCondLst>
                                    <p:cond delay="0"/>
                                  </p:stCondLst>
                                  <p:childTnLst>
                                    <p:animEffect transition="out" filter="wipe(up)">
                                      <p:cBhvr>
                                        <p:cTn id="122" dur="500"/>
                                        <p:tgtEl>
                                          <p:spTgt spid="225"/>
                                        </p:tgtEl>
                                      </p:cBhvr>
                                    </p:animEffect>
                                    <p:set>
                                      <p:cBhvr>
                                        <p:cTn id="123" dur="1" fill="hold">
                                          <p:stCondLst>
                                            <p:cond delay="499"/>
                                          </p:stCondLst>
                                        </p:cTn>
                                        <p:tgtEl>
                                          <p:spTgt spid="225"/>
                                        </p:tgtEl>
                                        <p:attrNameLst>
                                          <p:attrName>style.visibility</p:attrName>
                                        </p:attrNameLst>
                                      </p:cBhvr>
                                      <p:to>
                                        <p:strVal val="hidden"/>
                                      </p:to>
                                    </p:set>
                                  </p:childTnLst>
                                </p:cTn>
                              </p:par>
                            </p:childTnLst>
                          </p:cTn>
                        </p:par>
                        <p:par>
                          <p:cTn id="124" fill="hold">
                            <p:stCondLst>
                              <p:cond delay="10000"/>
                            </p:stCondLst>
                            <p:childTnLst>
                              <p:par>
                                <p:cTn id="125" presetID="22" presetClass="entr" presetSubtype="1" fill="hold" nodeType="afterEffect">
                                  <p:stCondLst>
                                    <p:cond delay="0"/>
                                  </p:stCondLst>
                                  <p:childTnLst>
                                    <p:set>
                                      <p:cBhvr>
                                        <p:cTn id="126" dur="1" fill="hold">
                                          <p:stCondLst>
                                            <p:cond delay="0"/>
                                          </p:stCondLst>
                                        </p:cTn>
                                        <p:tgtEl>
                                          <p:spTgt spid="226"/>
                                        </p:tgtEl>
                                        <p:attrNameLst>
                                          <p:attrName>style.visibility</p:attrName>
                                        </p:attrNameLst>
                                      </p:cBhvr>
                                      <p:to>
                                        <p:strVal val="visible"/>
                                      </p:to>
                                    </p:set>
                                    <p:animEffect transition="in" filter="wipe(up)">
                                      <p:cBhvr>
                                        <p:cTn id="127" dur="500"/>
                                        <p:tgtEl>
                                          <p:spTgt spid="226"/>
                                        </p:tgtEl>
                                      </p:cBhvr>
                                    </p:animEffect>
                                  </p:childTnLst>
                                </p:cTn>
                              </p:par>
                            </p:childTnLst>
                          </p:cTn>
                        </p:par>
                        <p:par>
                          <p:cTn id="128" fill="hold">
                            <p:stCondLst>
                              <p:cond delay="10500"/>
                            </p:stCondLst>
                            <p:childTnLst>
                              <p:par>
                                <p:cTn id="129" presetID="1" presetClass="emph" presetSubtype="2" fill="hold" nodeType="afterEffect">
                                  <p:stCondLst>
                                    <p:cond delay="0"/>
                                  </p:stCondLst>
                                  <p:childTnLst>
                                    <p:animClr clrSpc="rgb" dir="cw">
                                      <p:cBhvr>
                                        <p:cTn id="130" dur="500" fill="hold"/>
                                        <p:tgtEl>
                                          <p:spTgt spid="215"/>
                                        </p:tgtEl>
                                        <p:attrNameLst>
                                          <p:attrName>fillcolor</p:attrName>
                                        </p:attrNameLst>
                                      </p:cBhvr>
                                      <p:to>
                                        <a:srgbClr val="E7AC17"/>
                                      </p:to>
                                    </p:animClr>
                                    <p:set>
                                      <p:cBhvr>
                                        <p:cTn id="131" dur="500" fill="hold"/>
                                        <p:tgtEl>
                                          <p:spTgt spid="215"/>
                                        </p:tgtEl>
                                        <p:attrNameLst>
                                          <p:attrName>fill.type</p:attrName>
                                        </p:attrNameLst>
                                      </p:cBhvr>
                                      <p:to>
                                        <p:strVal val="solid"/>
                                      </p:to>
                                    </p:set>
                                    <p:set>
                                      <p:cBhvr>
                                        <p:cTn id="132" dur="500" fill="hold"/>
                                        <p:tgtEl>
                                          <p:spTgt spid="215"/>
                                        </p:tgtEl>
                                        <p:attrNameLst>
                                          <p:attrName>fill.on</p:attrName>
                                        </p:attrNameLst>
                                      </p:cBhvr>
                                      <p:to>
                                        <p:strVal val="true"/>
                                      </p:to>
                                    </p:set>
                                  </p:childTnLst>
                                </p:cTn>
                              </p:par>
                              <p:par>
                                <p:cTn id="133" presetID="22" presetClass="exit" presetSubtype="1" fill="hold" nodeType="withEffect">
                                  <p:stCondLst>
                                    <p:cond delay="0"/>
                                  </p:stCondLst>
                                  <p:childTnLst>
                                    <p:animEffect transition="out" filter="wipe(up)">
                                      <p:cBhvr>
                                        <p:cTn id="134" dur="500"/>
                                        <p:tgtEl>
                                          <p:spTgt spid="226"/>
                                        </p:tgtEl>
                                      </p:cBhvr>
                                    </p:animEffect>
                                    <p:set>
                                      <p:cBhvr>
                                        <p:cTn id="135" dur="1" fill="hold">
                                          <p:stCondLst>
                                            <p:cond delay="499"/>
                                          </p:stCondLst>
                                        </p:cTn>
                                        <p:tgtEl>
                                          <p:spTgt spid="226"/>
                                        </p:tgtEl>
                                        <p:attrNameLst>
                                          <p:attrName>style.visibility</p:attrName>
                                        </p:attrNameLst>
                                      </p:cBhvr>
                                      <p:to>
                                        <p:strVal val="hidden"/>
                                      </p:to>
                                    </p:set>
                                  </p:childTnLst>
                                </p:cTn>
                              </p:par>
                            </p:childTnLst>
                          </p:cTn>
                        </p:par>
                        <p:par>
                          <p:cTn id="136" fill="hold">
                            <p:stCondLst>
                              <p:cond delay="11000"/>
                            </p:stCondLst>
                            <p:childTnLst>
                              <p:par>
                                <p:cTn id="137" presetID="22" presetClass="entr" presetSubtype="1" fill="hold" nodeType="afterEffect">
                                  <p:stCondLst>
                                    <p:cond delay="0"/>
                                  </p:stCondLst>
                                  <p:childTnLst>
                                    <p:set>
                                      <p:cBhvr>
                                        <p:cTn id="138" dur="1" fill="hold">
                                          <p:stCondLst>
                                            <p:cond delay="0"/>
                                          </p:stCondLst>
                                        </p:cTn>
                                        <p:tgtEl>
                                          <p:spTgt spid="227"/>
                                        </p:tgtEl>
                                        <p:attrNameLst>
                                          <p:attrName>style.visibility</p:attrName>
                                        </p:attrNameLst>
                                      </p:cBhvr>
                                      <p:to>
                                        <p:strVal val="visible"/>
                                      </p:to>
                                    </p:set>
                                    <p:animEffect transition="in" filter="wipe(up)">
                                      <p:cBhvr>
                                        <p:cTn id="139" dur="500"/>
                                        <p:tgtEl>
                                          <p:spTgt spid="227"/>
                                        </p:tgtEl>
                                      </p:cBhvr>
                                    </p:animEffect>
                                  </p:childTnLst>
                                </p:cTn>
                              </p:par>
                            </p:childTnLst>
                          </p:cTn>
                        </p:par>
                        <p:par>
                          <p:cTn id="140" fill="hold">
                            <p:stCondLst>
                              <p:cond delay="11500"/>
                            </p:stCondLst>
                            <p:childTnLst>
                              <p:par>
                                <p:cTn id="141" presetID="1" presetClass="emph" presetSubtype="2" fill="hold" nodeType="afterEffect">
                                  <p:stCondLst>
                                    <p:cond delay="0"/>
                                  </p:stCondLst>
                                  <p:childTnLst>
                                    <p:animClr clrSpc="rgb" dir="cw">
                                      <p:cBhvr>
                                        <p:cTn id="142" dur="500" fill="hold"/>
                                        <p:tgtEl>
                                          <p:spTgt spid="214"/>
                                        </p:tgtEl>
                                        <p:attrNameLst>
                                          <p:attrName>fillcolor</p:attrName>
                                        </p:attrNameLst>
                                      </p:cBhvr>
                                      <p:to>
                                        <a:srgbClr val="E7AC17"/>
                                      </p:to>
                                    </p:animClr>
                                    <p:set>
                                      <p:cBhvr>
                                        <p:cTn id="143" dur="500" fill="hold"/>
                                        <p:tgtEl>
                                          <p:spTgt spid="214"/>
                                        </p:tgtEl>
                                        <p:attrNameLst>
                                          <p:attrName>fill.type</p:attrName>
                                        </p:attrNameLst>
                                      </p:cBhvr>
                                      <p:to>
                                        <p:strVal val="solid"/>
                                      </p:to>
                                    </p:set>
                                    <p:set>
                                      <p:cBhvr>
                                        <p:cTn id="144" dur="500" fill="hold"/>
                                        <p:tgtEl>
                                          <p:spTgt spid="214"/>
                                        </p:tgtEl>
                                        <p:attrNameLst>
                                          <p:attrName>fill.on</p:attrName>
                                        </p:attrNameLst>
                                      </p:cBhvr>
                                      <p:to>
                                        <p:strVal val="true"/>
                                      </p:to>
                                    </p:set>
                                  </p:childTnLst>
                                </p:cTn>
                              </p:par>
                              <p:par>
                                <p:cTn id="145" presetID="22" presetClass="exit" presetSubtype="1" fill="hold" nodeType="withEffect">
                                  <p:stCondLst>
                                    <p:cond delay="0"/>
                                  </p:stCondLst>
                                  <p:childTnLst>
                                    <p:animEffect transition="out" filter="wipe(up)">
                                      <p:cBhvr>
                                        <p:cTn id="146" dur="500"/>
                                        <p:tgtEl>
                                          <p:spTgt spid="227"/>
                                        </p:tgtEl>
                                      </p:cBhvr>
                                    </p:animEffect>
                                    <p:set>
                                      <p:cBhvr>
                                        <p:cTn id="147" dur="1" fill="hold">
                                          <p:stCondLst>
                                            <p:cond delay="499"/>
                                          </p:stCondLst>
                                        </p:cTn>
                                        <p:tgtEl>
                                          <p:spTgt spid="2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D25EC0F-C4F7-465D-8BCA-EFB3B27686B4}"/>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ound Robin Tables: Data Movement</a:t>
            </a:r>
            <a:endParaRPr lang="en-US" dirty="0">
              <a:solidFill>
                <a:srgbClr val="0078D7"/>
              </a:solidFill>
            </a:endParaRPr>
          </a:p>
        </p:txBody>
      </p:sp>
      <p:graphicFrame>
        <p:nvGraphicFramePr>
          <p:cNvPr id="10" name="Diagram 9">
            <a:extLst>
              <a:ext uri="{FF2B5EF4-FFF2-40B4-BE49-F238E27FC236}">
                <a16:creationId xmlns:a16="http://schemas.microsoft.com/office/drawing/2014/main" id="{151FD378-3C1D-4918-9F92-E7FBABFA1AF6}"/>
              </a:ext>
            </a:extLst>
          </p:cNvPr>
          <p:cNvGraphicFramePr/>
          <p:nvPr>
            <p:extLst>
              <p:ext uri="{D42A27DB-BD31-4B8C-83A1-F6EECF244321}">
                <p14:modId xmlns:p14="http://schemas.microsoft.com/office/powerpoint/2010/main" val="2951815301"/>
              </p:ext>
            </p:extLst>
          </p:nvPr>
        </p:nvGraphicFramePr>
        <p:xfrm>
          <a:off x="547910" y="1176267"/>
          <a:ext cx="11340654" cy="3962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003430468"/>
      </p:ext>
    </p:extLst>
  </p:cSld>
  <p:clrMapOvr>
    <a:masterClrMapping/>
  </p:clrMapOvr>
  <p:transition>
    <p:fade/>
  </p:transition>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F324A00-B83D-4A75-AA0C-BEFCF9FD8741}"/>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ound Robin Tables: Data Skew</a:t>
            </a:r>
            <a:endParaRPr lang="en-US" dirty="0">
              <a:solidFill>
                <a:srgbClr val="0078D7"/>
              </a:solidFill>
            </a:endParaRPr>
          </a:p>
        </p:txBody>
      </p:sp>
      <p:graphicFrame>
        <p:nvGraphicFramePr>
          <p:cNvPr id="10" name="Diagram 9">
            <a:extLst>
              <a:ext uri="{FF2B5EF4-FFF2-40B4-BE49-F238E27FC236}">
                <a16:creationId xmlns:a16="http://schemas.microsoft.com/office/drawing/2014/main" id="{2BC76D6A-39C6-4145-90BF-43454B345773}"/>
              </a:ext>
            </a:extLst>
          </p:cNvPr>
          <p:cNvGraphicFramePr/>
          <p:nvPr>
            <p:extLst>
              <p:ext uri="{D42A27DB-BD31-4B8C-83A1-F6EECF244321}">
                <p14:modId xmlns:p14="http://schemas.microsoft.com/office/powerpoint/2010/main" val="542508618"/>
              </p:ext>
            </p:extLst>
          </p:nvPr>
        </p:nvGraphicFramePr>
        <p:xfrm>
          <a:off x="1189037" y="982662"/>
          <a:ext cx="10515600" cy="426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9301468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A365944-94A3-4F94-BB08-5A7EF15DF510}"/>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eplicated Tables</a:t>
            </a:r>
            <a:endParaRPr lang="en-US" dirty="0">
              <a:solidFill>
                <a:srgbClr val="0078D7"/>
              </a:solidFill>
            </a:endParaRPr>
          </a:p>
        </p:txBody>
      </p:sp>
      <p:graphicFrame>
        <p:nvGraphicFramePr>
          <p:cNvPr id="9" name="Diagram 8">
            <a:extLst>
              <a:ext uri="{FF2B5EF4-FFF2-40B4-BE49-F238E27FC236}">
                <a16:creationId xmlns:a16="http://schemas.microsoft.com/office/drawing/2014/main" id="{CB346203-4DCE-4326-B503-3923A5113E1F}"/>
              </a:ext>
            </a:extLst>
          </p:cNvPr>
          <p:cNvGraphicFramePr/>
          <p:nvPr>
            <p:extLst>
              <p:ext uri="{D42A27DB-BD31-4B8C-83A1-F6EECF244321}">
                <p14:modId xmlns:p14="http://schemas.microsoft.com/office/powerpoint/2010/main" val="2055980621"/>
              </p:ext>
            </p:extLst>
          </p:nvPr>
        </p:nvGraphicFramePr>
        <p:xfrm>
          <a:off x="427035" y="1135063"/>
          <a:ext cx="11811002" cy="5791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8337773" y="4418463"/>
            <a:ext cx="3671667" cy="220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Example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Dimension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Small fact tables</a:t>
            </a:r>
          </a:p>
          <a:p>
            <a:pPr marL="291436" marR="0" lvl="0" indent="-291436"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56" b="0" i="0" u="none" strike="noStrike" kern="1200" cap="none" spc="0" normalizeH="0" baseline="0" noProof="0" dirty="0">
                <a:ln>
                  <a:noFill/>
                </a:ln>
                <a:solidFill>
                  <a:srgbClr val="FFFFFF"/>
                </a:solidFill>
                <a:effectLst/>
                <a:uLnTx/>
                <a:uFillTx/>
                <a:latin typeface="Segoe UI Light"/>
                <a:ea typeface="+mn-ea"/>
                <a:cs typeface="+mn-cs"/>
              </a:rPr>
              <a:t>Static data tables</a:t>
            </a:r>
          </a:p>
        </p:txBody>
      </p:sp>
    </p:spTree>
    <p:extLst>
      <p:ext uri="{BB962C8B-B14F-4D97-AF65-F5344CB8AC3E}">
        <p14:creationId xmlns:p14="http://schemas.microsoft.com/office/powerpoint/2010/main" val="3632493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5D787D9-4323-4D4A-9DA7-9F9352826DA0}"/>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eplicated Tables: Best Practices</a:t>
            </a:r>
            <a:endParaRPr lang="en-US" dirty="0">
              <a:solidFill>
                <a:srgbClr val="0078D7"/>
              </a:solidFill>
            </a:endParaRPr>
          </a:p>
        </p:txBody>
      </p:sp>
      <p:graphicFrame>
        <p:nvGraphicFramePr>
          <p:cNvPr id="8" name="Diagram 7">
            <a:extLst>
              <a:ext uri="{FF2B5EF4-FFF2-40B4-BE49-F238E27FC236}">
                <a16:creationId xmlns:a16="http://schemas.microsoft.com/office/drawing/2014/main" id="{D0B3154B-BDC0-4A26-BB81-A4F8A6DAA2C1}"/>
              </a:ext>
            </a:extLst>
          </p:cNvPr>
          <p:cNvGraphicFramePr/>
          <p:nvPr>
            <p:extLst>
              <p:ext uri="{D42A27DB-BD31-4B8C-83A1-F6EECF244321}">
                <p14:modId xmlns:p14="http://schemas.microsoft.com/office/powerpoint/2010/main" val="1320621739"/>
              </p:ext>
            </p:extLst>
          </p:nvPr>
        </p:nvGraphicFramePr>
        <p:xfrm>
          <a:off x="808038" y="1287461"/>
          <a:ext cx="10744200" cy="38100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CF9D16CF-0E1A-43BC-AC88-80331F7AB78D}"/>
              </a:ext>
            </a:extLst>
          </p:cNvPr>
          <p:cNvSpPr txBox="1"/>
          <p:nvPr/>
        </p:nvSpPr>
        <p:spPr>
          <a:xfrm>
            <a:off x="1493837" y="5478462"/>
            <a:ext cx="9601200" cy="738664"/>
          </a:xfrm>
          <a:prstGeom prst="rect">
            <a:avLst/>
          </a:prstGeom>
          <a:solidFill>
            <a:schemeClr val="accent6">
              <a:lumMod val="40000"/>
              <a:lumOff val="60000"/>
            </a:schemeClr>
          </a:solidFill>
        </p:spPr>
        <p:txBody>
          <a:bodyPr wrap="square" lIns="0" tIns="0" rIns="0" bIns="0" rtlCol="0">
            <a:spAutoFit/>
          </a:bodyPr>
          <a:lstStyle/>
          <a:p>
            <a:pPr algn="l"/>
            <a:r>
              <a:rPr lang="en-US" sz="2400" dirty="0"/>
              <a:t>Remember: to find the size of a table, you can use:</a:t>
            </a:r>
          </a:p>
          <a:p>
            <a:pPr algn="l"/>
            <a:r>
              <a:rPr lang="es-ES" sz="2400" b="0" i="0" dirty="0">
                <a:effectLst/>
                <a:latin typeface="SFMono-Regular"/>
              </a:rPr>
              <a:t>DBCC PDW_SHOWSPACEUSED('ReplTableCandidate')</a:t>
            </a:r>
            <a:endParaRPr lang="es-ES" sz="2400" dirty="0"/>
          </a:p>
        </p:txBody>
      </p:sp>
    </p:spTree>
    <p:extLst>
      <p:ext uri="{BB962C8B-B14F-4D97-AF65-F5344CB8AC3E}">
        <p14:creationId xmlns:p14="http://schemas.microsoft.com/office/powerpoint/2010/main" val="2206503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extLst>
    <p:ext uri="{6950BFC3-D8DA-4A85-94F7-54DA5524770B}">
      <p188:commentRel xmlns:p188="http://schemas.microsoft.com/office/powerpoint/2018/8/main" r:id="rId3"/>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AD88643-3A0A-4DB2-8ED5-AF3A676271E5}"/>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eplicated Tables: Best Practices</a:t>
            </a:r>
            <a:endParaRPr lang="en-US" dirty="0">
              <a:solidFill>
                <a:srgbClr val="0078D7"/>
              </a:solidFill>
            </a:endParaRPr>
          </a:p>
        </p:txBody>
      </p:sp>
      <p:graphicFrame>
        <p:nvGraphicFramePr>
          <p:cNvPr id="8" name="Diagram 7">
            <a:extLst>
              <a:ext uri="{FF2B5EF4-FFF2-40B4-BE49-F238E27FC236}">
                <a16:creationId xmlns:a16="http://schemas.microsoft.com/office/drawing/2014/main" id="{EC0032C1-35AE-4B8D-864D-12610413876A}"/>
              </a:ext>
            </a:extLst>
          </p:cNvPr>
          <p:cNvGraphicFramePr/>
          <p:nvPr>
            <p:extLst>
              <p:ext uri="{D42A27DB-BD31-4B8C-83A1-F6EECF244321}">
                <p14:modId xmlns:p14="http://schemas.microsoft.com/office/powerpoint/2010/main" val="2039213180"/>
              </p:ext>
            </p:extLst>
          </p:nvPr>
        </p:nvGraphicFramePr>
        <p:xfrm>
          <a:off x="579437" y="1516062"/>
          <a:ext cx="11125199" cy="4114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703328026"/>
      </p:ext>
    </p:extLst>
  </p:cSld>
  <p:clrMapOvr>
    <a:masterClrMapping/>
  </p:clrMapOvr>
  <p:transition>
    <p:fade/>
  </p:transition>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783453-1C85-4900-987C-31C10D5A9FBF}"/>
              </a:ext>
            </a:extLst>
          </p:cNvPr>
          <p:cNvSpPr>
            <a:spLocks noGrp="1"/>
          </p:cNvSpPr>
          <p:nvPr>
            <p:ph type="title"/>
          </p:nvPr>
        </p:nvSpPr>
        <p:spPr>
          <a:xfrm>
            <a:off x="350837" y="373062"/>
            <a:ext cx="11098906" cy="470856"/>
          </a:xfrm>
        </p:spPr>
        <p:txBody>
          <a:bodyPr/>
          <a:lstStyle/>
          <a:p>
            <a:r>
              <a:rPr lang="en-US" dirty="0"/>
              <a:t>Replicated Tables: Caching</a:t>
            </a:r>
          </a:p>
        </p:txBody>
      </p:sp>
      <p:graphicFrame>
        <p:nvGraphicFramePr>
          <p:cNvPr id="2" name="Diagram 1">
            <a:extLst>
              <a:ext uri="{FF2B5EF4-FFF2-40B4-BE49-F238E27FC236}">
                <a16:creationId xmlns:a16="http://schemas.microsoft.com/office/drawing/2014/main" id="{7DEF3A66-3BB2-41CF-BA1E-70CB716AE539}"/>
              </a:ext>
            </a:extLst>
          </p:cNvPr>
          <p:cNvGraphicFramePr/>
          <p:nvPr>
            <p:extLst>
              <p:ext uri="{D42A27DB-BD31-4B8C-83A1-F6EECF244321}">
                <p14:modId xmlns:p14="http://schemas.microsoft.com/office/powerpoint/2010/main" val="4243972204"/>
              </p:ext>
            </p:extLst>
          </p:nvPr>
        </p:nvGraphicFramePr>
        <p:xfrm>
          <a:off x="5989637" y="982661"/>
          <a:ext cx="6019800" cy="56388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a:extLst>
              <a:ext uri="{FF2B5EF4-FFF2-40B4-BE49-F238E27FC236}">
                <a16:creationId xmlns:a16="http://schemas.microsoft.com/office/drawing/2014/main" id="{D260D09E-C16D-4115-87E1-2AAB10DDEE5D}"/>
              </a:ext>
            </a:extLst>
          </p:cNvPr>
          <p:cNvPicPr>
            <a:picLocks noChangeAspect="1"/>
          </p:cNvPicPr>
          <p:nvPr/>
        </p:nvPicPr>
        <p:blipFill>
          <a:blip r:embed="rId9"/>
          <a:stretch>
            <a:fillRect/>
          </a:stretch>
        </p:blipFill>
        <p:spPr>
          <a:xfrm>
            <a:off x="0" y="2113299"/>
            <a:ext cx="5989637" cy="3377523"/>
          </a:xfrm>
          <a:prstGeom prst="rect">
            <a:avLst/>
          </a:prstGeom>
        </p:spPr>
      </p:pic>
    </p:spTree>
    <p:extLst>
      <p:ext uri="{BB962C8B-B14F-4D97-AF65-F5344CB8AC3E}">
        <p14:creationId xmlns:p14="http://schemas.microsoft.com/office/powerpoint/2010/main" val="3872919932"/>
      </p:ext>
    </p:extLst>
  </p:cSld>
  <p:clrMapOvr>
    <a:masterClrMapping/>
  </p:clrMapOvr>
  <p:transition>
    <p:fade/>
  </p:transition>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109151" y="642785"/>
            <a:ext cx="7093291" cy="5708957"/>
          </a:xfrm>
        </p:spPr>
        <p:txBody>
          <a:bodyPr/>
          <a:lstStyle/>
          <a:p>
            <a:pPr marL="466090" indent="-466090"/>
            <a:r>
              <a:rPr lang="en-US" sz="2400" dirty="0">
                <a:cs typeface="Segoe UI"/>
              </a:rPr>
              <a:t>Review: Synapse SQL MPP Architecture</a:t>
            </a:r>
          </a:p>
          <a:p>
            <a:pPr marL="466090" indent="-466090"/>
            <a:r>
              <a:rPr lang="en-US" sz="2400" dirty="0">
                <a:cs typeface="Segoe UI"/>
              </a:rPr>
              <a:t>Lesson 1: Introduction to Table Architecture</a:t>
            </a:r>
            <a:endParaRPr lang="en-US" dirty="0"/>
          </a:p>
          <a:p>
            <a:pPr marL="466090" indent="-466090"/>
            <a:r>
              <a:rPr lang="en-US" sz="2400" dirty="0">
                <a:cs typeface="Segoe UI"/>
              </a:rPr>
              <a:t>Lesson 2: Table Persistence</a:t>
            </a:r>
            <a:endParaRPr lang="en-US" dirty="0"/>
          </a:p>
          <a:p>
            <a:r>
              <a:rPr lang="en-US" dirty="0"/>
              <a:t>Lesson 3: Views</a:t>
            </a:r>
          </a:p>
        </p:txBody>
      </p:sp>
    </p:spTree>
    <p:extLst>
      <p:ext uri="{BB962C8B-B14F-4D97-AF65-F5344CB8AC3E}">
        <p14:creationId xmlns:p14="http://schemas.microsoft.com/office/powerpoint/2010/main" val="16155601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DB25C4-C4BE-4137-9175-BC40761015E1}"/>
              </a:ext>
            </a:extLst>
          </p:cNvPr>
          <p:cNvSpPr>
            <a:spLocks noGrp="1"/>
          </p:cNvSpPr>
          <p:nvPr>
            <p:ph type="title"/>
          </p:nvPr>
        </p:nvSpPr>
        <p:spPr/>
        <p:txBody>
          <a:bodyPr/>
          <a:lstStyle/>
          <a:p>
            <a:r>
              <a:rPr lang="en-US" dirty="0"/>
              <a:t>Replicated Tables: Cache / Re-cache</a:t>
            </a:r>
          </a:p>
        </p:txBody>
      </p:sp>
      <p:graphicFrame>
        <p:nvGraphicFramePr>
          <p:cNvPr id="5" name="Diagram 4">
            <a:extLst>
              <a:ext uri="{FF2B5EF4-FFF2-40B4-BE49-F238E27FC236}">
                <a16:creationId xmlns:a16="http://schemas.microsoft.com/office/drawing/2014/main" id="{C9668ADF-443C-4469-8045-8A14E877D489}"/>
              </a:ext>
            </a:extLst>
          </p:cNvPr>
          <p:cNvGraphicFramePr/>
          <p:nvPr>
            <p:extLst>
              <p:ext uri="{D42A27DB-BD31-4B8C-83A1-F6EECF244321}">
                <p14:modId xmlns:p14="http://schemas.microsoft.com/office/powerpoint/2010/main" val="1213333050"/>
              </p:ext>
            </p:extLst>
          </p:nvPr>
        </p:nvGraphicFramePr>
        <p:xfrm>
          <a:off x="436728" y="1146412"/>
          <a:ext cx="11518711" cy="50087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13774245"/>
      </p:ext>
    </p:extLst>
  </p:cSld>
  <p:clrMapOvr>
    <a:masterClrMapping/>
  </p:clrMapOvr>
  <p:transition>
    <p:fade/>
  </p:transition>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421ED5-8D4A-4C96-BD39-B05145F4182E}"/>
              </a:ext>
            </a:extLst>
          </p:cNvPr>
          <p:cNvSpPr>
            <a:spLocks noGrp="1"/>
          </p:cNvSpPr>
          <p:nvPr>
            <p:ph type="title"/>
          </p:nvPr>
        </p:nvSpPr>
        <p:spPr/>
        <p:txBody>
          <a:bodyPr/>
          <a:lstStyle/>
          <a:p>
            <a:r>
              <a:rPr lang="en-US" dirty="0"/>
              <a:t>Replicated Tables: Monitoring Cache Status</a:t>
            </a:r>
          </a:p>
        </p:txBody>
      </p:sp>
      <p:graphicFrame>
        <p:nvGraphicFramePr>
          <p:cNvPr id="4" name="Diagram 3">
            <a:extLst>
              <a:ext uri="{FF2B5EF4-FFF2-40B4-BE49-F238E27FC236}">
                <a16:creationId xmlns:a16="http://schemas.microsoft.com/office/drawing/2014/main" id="{0D07F913-FA88-4459-8D49-5F5B6F9F274A}"/>
              </a:ext>
            </a:extLst>
          </p:cNvPr>
          <p:cNvGraphicFramePr/>
          <p:nvPr>
            <p:extLst>
              <p:ext uri="{D42A27DB-BD31-4B8C-83A1-F6EECF244321}">
                <p14:modId xmlns:p14="http://schemas.microsoft.com/office/powerpoint/2010/main" val="1582409513"/>
              </p:ext>
            </p:extLst>
          </p:nvPr>
        </p:nvGraphicFramePr>
        <p:xfrm>
          <a:off x="884237" y="1211262"/>
          <a:ext cx="10363200" cy="21540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D2C7F436-7E18-42FE-BFB0-C6FF3B8F22E1}"/>
              </a:ext>
            </a:extLst>
          </p:cNvPr>
          <p:cNvPicPr>
            <a:picLocks noChangeAspect="1"/>
          </p:cNvPicPr>
          <p:nvPr/>
        </p:nvPicPr>
        <p:blipFill>
          <a:blip r:embed="rId8"/>
          <a:stretch>
            <a:fillRect/>
          </a:stretch>
        </p:blipFill>
        <p:spPr>
          <a:xfrm>
            <a:off x="960437" y="3192462"/>
            <a:ext cx="7391399" cy="3245418"/>
          </a:xfrm>
          <a:prstGeom prst="rect">
            <a:avLst/>
          </a:prstGeom>
        </p:spPr>
      </p:pic>
    </p:spTree>
    <p:extLst>
      <p:ext uri="{BB962C8B-B14F-4D97-AF65-F5344CB8AC3E}">
        <p14:creationId xmlns:p14="http://schemas.microsoft.com/office/powerpoint/2010/main" val="70501089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3339D1D-C79D-4346-95F7-D46740E239B4}"/>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Replicated Tables: Summary</a:t>
            </a:r>
            <a:endParaRPr lang="en-US" dirty="0">
              <a:solidFill>
                <a:srgbClr val="0078D7"/>
              </a:solidFill>
            </a:endParaRPr>
          </a:p>
        </p:txBody>
      </p:sp>
      <p:graphicFrame>
        <p:nvGraphicFramePr>
          <p:cNvPr id="3" name="Diagram 2">
            <a:extLst>
              <a:ext uri="{FF2B5EF4-FFF2-40B4-BE49-F238E27FC236}">
                <a16:creationId xmlns:a16="http://schemas.microsoft.com/office/drawing/2014/main" id="{F38E5AB6-F7EE-4392-BA04-1FBA8EB6284A}"/>
              </a:ext>
            </a:extLst>
          </p:cNvPr>
          <p:cNvGraphicFramePr/>
          <p:nvPr>
            <p:extLst>
              <p:ext uri="{D42A27DB-BD31-4B8C-83A1-F6EECF244321}">
                <p14:modId xmlns:p14="http://schemas.microsoft.com/office/powerpoint/2010/main" val="4244204274"/>
              </p:ext>
            </p:extLst>
          </p:nvPr>
        </p:nvGraphicFramePr>
        <p:xfrm>
          <a:off x="764499" y="1443274"/>
          <a:ext cx="10388184" cy="410797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17651145"/>
      </p:ext>
    </p:extLst>
  </p:cSld>
  <p:clrMapOvr>
    <a:masterClrMapping/>
  </p:clrMapOvr>
  <p:transition>
    <p:fade/>
  </p:transition>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Table Architecture</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1301115092"/>
              </p:ext>
            </p:extLst>
          </p:nvPr>
        </p:nvGraphicFramePr>
        <p:xfrm>
          <a:off x="397563" y="797266"/>
          <a:ext cx="3100581" cy="3020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4049532079"/>
              </p:ext>
            </p:extLst>
          </p:nvPr>
        </p:nvGraphicFramePr>
        <p:xfrm>
          <a:off x="4531944" y="797266"/>
          <a:ext cx="3100579" cy="3020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3893106786"/>
              </p:ext>
            </p:extLst>
          </p:nvPr>
        </p:nvGraphicFramePr>
        <p:xfrm>
          <a:off x="8666324" y="797266"/>
          <a:ext cx="3100579" cy="30205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1819188834"/>
              </p:ext>
            </p:extLst>
          </p:nvPr>
        </p:nvGraphicFramePr>
        <p:xfrm>
          <a:off x="2578900" y="3647535"/>
          <a:ext cx="3100579" cy="302057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33" name="Diagram 32">
            <a:extLst>
              <a:ext uri="{FF2B5EF4-FFF2-40B4-BE49-F238E27FC236}">
                <a16:creationId xmlns:a16="http://schemas.microsoft.com/office/drawing/2014/main" id="{3B0578A8-DDF7-4C7C-9DC0-CD728C751BC0}"/>
              </a:ext>
            </a:extLst>
          </p:cNvPr>
          <p:cNvGraphicFramePr/>
          <p:nvPr>
            <p:extLst>
              <p:ext uri="{D42A27DB-BD31-4B8C-83A1-F6EECF244321}">
                <p14:modId xmlns:p14="http://schemas.microsoft.com/office/powerpoint/2010/main" val="1328105944"/>
              </p:ext>
            </p:extLst>
          </p:nvPr>
        </p:nvGraphicFramePr>
        <p:xfrm>
          <a:off x="6756998" y="3647535"/>
          <a:ext cx="3100581" cy="302057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Tree>
    <p:extLst>
      <p:ext uri="{BB962C8B-B14F-4D97-AF65-F5344CB8AC3E}">
        <p14:creationId xmlns:p14="http://schemas.microsoft.com/office/powerpoint/2010/main" val="386317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Graphic spid="18" grpId="0">
        <p:bldAsOne/>
      </p:bldGraphic>
      <p:bldGraphic spid="29" grpId="0">
        <p:bldAsOne/>
      </p:bldGraphic>
      <p:bldGraphic spid="33"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2: Table Persistence</a:t>
            </a:r>
          </a:p>
        </p:txBody>
      </p:sp>
    </p:spTree>
    <p:extLst>
      <p:ext uri="{BB962C8B-B14F-4D97-AF65-F5344CB8AC3E}">
        <p14:creationId xmlns:p14="http://schemas.microsoft.com/office/powerpoint/2010/main" val="42175911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What are temporary tables and where are they stored</a:t>
            </a:r>
          </a:p>
          <a:p>
            <a:pPr lvl="1"/>
            <a:r>
              <a:rPr lang="en-US" dirty="0"/>
              <a:t>What are external tables and where are they stored</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165462232"/>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57539F-2F54-47B2-8DE4-AE63BBADA10C}"/>
              </a:ext>
            </a:extLst>
          </p:cNvPr>
          <p:cNvSpPr>
            <a:spLocks noGrp="1"/>
          </p:cNvSpPr>
          <p:nvPr>
            <p:ph type="title"/>
          </p:nvPr>
        </p:nvSpPr>
        <p:spPr/>
        <p:txBody>
          <a:bodyPr/>
          <a:lstStyle/>
          <a:p>
            <a:r>
              <a:rPr lang="es-ES" dirty="0"/>
              <a:t>Table </a:t>
            </a:r>
            <a:r>
              <a:rPr lang="es-ES" dirty="0" err="1"/>
              <a:t>Location</a:t>
            </a:r>
            <a:r>
              <a:rPr lang="es-ES" dirty="0"/>
              <a:t> </a:t>
            </a:r>
            <a:r>
              <a:rPr lang="en-US" dirty="0"/>
              <a:t>Types</a:t>
            </a:r>
          </a:p>
        </p:txBody>
      </p:sp>
      <p:graphicFrame>
        <p:nvGraphicFramePr>
          <p:cNvPr id="5" name="Diagram 4">
            <a:extLst>
              <a:ext uri="{FF2B5EF4-FFF2-40B4-BE49-F238E27FC236}">
                <a16:creationId xmlns:a16="http://schemas.microsoft.com/office/drawing/2014/main" id="{C4327ABE-2913-4A54-BA88-84C1F7C5EEB6}"/>
              </a:ext>
            </a:extLst>
          </p:cNvPr>
          <p:cNvGraphicFramePr/>
          <p:nvPr>
            <p:extLst>
              <p:ext uri="{D42A27DB-BD31-4B8C-83A1-F6EECF244321}">
                <p14:modId xmlns:p14="http://schemas.microsoft.com/office/powerpoint/2010/main" val="1249009008"/>
              </p:ext>
            </p:extLst>
          </p:nvPr>
        </p:nvGraphicFramePr>
        <p:xfrm>
          <a:off x="1036637" y="982662"/>
          <a:ext cx="10667999" cy="56854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473067588"/>
      </p:ext>
    </p:extLst>
  </p:cSld>
  <p:clrMapOvr>
    <a:masterClrMapping/>
  </p:clrMapOvr>
  <p:extLst>
    <p:ext uri="{6950BFC3-D8DA-4A85-94F7-54DA5524770B}">
      <p188:commentRel xmlns:p188="http://schemas.microsoft.com/office/powerpoint/2018/8/main" r:id="rId3"/>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6E086-C133-4602-ABB2-DC4DCB7F3C94}"/>
              </a:ext>
            </a:extLst>
          </p:cNvPr>
          <p:cNvSpPr>
            <a:spLocks noGrp="1"/>
          </p:cNvSpPr>
          <p:nvPr>
            <p:ph type="title"/>
          </p:nvPr>
        </p:nvSpPr>
        <p:spPr/>
        <p:txBody>
          <a:bodyPr/>
          <a:lstStyle/>
          <a:p>
            <a:r>
              <a:rPr lang="en-US" dirty="0"/>
              <a:t>Temporary</a:t>
            </a:r>
            <a:r>
              <a:rPr lang="es-ES" dirty="0"/>
              <a:t> Tables</a:t>
            </a:r>
          </a:p>
        </p:txBody>
      </p:sp>
      <p:graphicFrame>
        <p:nvGraphicFramePr>
          <p:cNvPr id="5" name="Diagram 4">
            <a:extLst>
              <a:ext uri="{FF2B5EF4-FFF2-40B4-BE49-F238E27FC236}">
                <a16:creationId xmlns:a16="http://schemas.microsoft.com/office/drawing/2014/main" id="{415A9C02-88FB-453F-A259-0DB7C9B57010}"/>
              </a:ext>
            </a:extLst>
          </p:cNvPr>
          <p:cNvGraphicFramePr/>
          <p:nvPr>
            <p:extLst>
              <p:ext uri="{D42A27DB-BD31-4B8C-83A1-F6EECF244321}">
                <p14:modId xmlns:p14="http://schemas.microsoft.com/office/powerpoint/2010/main" val="1137824484"/>
              </p:ext>
            </p:extLst>
          </p:nvPr>
        </p:nvGraphicFramePr>
        <p:xfrm>
          <a:off x="869430" y="1269242"/>
          <a:ext cx="10662928" cy="49677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654307593"/>
      </p:ext>
    </p:extLst>
  </p:cSld>
  <p:clrMapOvr>
    <a:masterClrMapping/>
  </p:clrMapOvr>
  <p:extLst>
    <p:ext uri="{6950BFC3-D8DA-4A85-94F7-54DA5524770B}">
      <p188:commentRel xmlns:p188="http://schemas.microsoft.com/office/powerpoint/2018/8/main" r:id="rId3"/>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9CB7B-1B9E-4A48-AFB4-8EECCBA8AA88}"/>
              </a:ext>
            </a:extLst>
          </p:cNvPr>
          <p:cNvSpPr>
            <a:spLocks noGrp="1"/>
          </p:cNvSpPr>
          <p:nvPr>
            <p:ph type="title"/>
          </p:nvPr>
        </p:nvSpPr>
        <p:spPr/>
        <p:txBody>
          <a:bodyPr/>
          <a:lstStyle/>
          <a:p>
            <a:r>
              <a:rPr lang="en-US" dirty="0"/>
              <a:t>Temporary Tables: Statistics</a:t>
            </a:r>
          </a:p>
        </p:txBody>
      </p:sp>
      <p:graphicFrame>
        <p:nvGraphicFramePr>
          <p:cNvPr id="4" name="Diagram 3">
            <a:extLst>
              <a:ext uri="{FF2B5EF4-FFF2-40B4-BE49-F238E27FC236}">
                <a16:creationId xmlns:a16="http://schemas.microsoft.com/office/drawing/2014/main" id="{2F41522A-9117-4569-AD16-C04F6DF7FAE4}"/>
              </a:ext>
            </a:extLst>
          </p:cNvPr>
          <p:cNvGraphicFramePr/>
          <p:nvPr>
            <p:extLst>
              <p:ext uri="{D42A27DB-BD31-4B8C-83A1-F6EECF244321}">
                <p14:modId xmlns:p14="http://schemas.microsoft.com/office/powerpoint/2010/main" val="2687700170"/>
              </p:ext>
            </p:extLst>
          </p:nvPr>
        </p:nvGraphicFramePr>
        <p:xfrm>
          <a:off x="1036637" y="1135061"/>
          <a:ext cx="11049000" cy="5190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52611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E9F04-23C5-4050-A343-5EDC5F6763D5}"/>
              </a:ext>
            </a:extLst>
          </p:cNvPr>
          <p:cNvSpPr>
            <a:spLocks noGrp="1"/>
          </p:cNvSpPr>
          <p:nvPr>
            <p:ph type="title"/>
          </p:nvPr>
        </p:nvSpPr>
        <p:spPr/>
        <p:txBody>
          <a:bodyPr/>
          <a:lstStyle/>
          <a:p>
            <a:r>
              <a:rPr lang="en-US" dirty="0"/>
              <a:t>External Tables</a:t>
            </a:r>
          </a:p>
        </p:txBody>
      </p:sp>
      <p:graphicFrame>
        <p:nvGraphicFramePr>
          <p:cNvPr id="4" name="Diagram 3">
            <a:extLst>
              <a:ext uri="{FF2B5EF4-FFF2-40B4-BE49-F238E27FC236}">
                <a16:creationId xmlns:a16="http://schemas.microsoft.com/office/drawing/2014/main" id="{E1C04148-4FD9-48F1-81D0-FEA220368579}"/>
              </a:ext>
            </a:extLst>
          </p:cNvPr>
          <p:cNvGraphicFramePr/>
          <p:nvPr>
            <p:extLst>
              <p:ext uri="{D42A27DB-BD31-4B8C-83A1-F6EECF244321}">
                <p14:modId xmlns:p14="http://schemas.microsoft.com/office/powerpoint/2010/main" val="1578846660"/>
              </p:ext>
            </p:extLst>
          </p:nvPr>
        </p:nvGraphicFramePr>
        <p:xfrm>
          <a:off x="852711" y="906462"/>
          <a:ext cx="10731051" cy="5181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9441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7F296-0218-4DB4-B138-F542E02E3E76}"/>
              </a:ext>
            </a:extLst>
          </p:cNvPr>
          <p:cNvSpPr>
            <a:spLocks noGrp="1"/>
          </p:cNvSpPr>
          <p:nvPr>
            <p:ph type="title"/>
          </p:nvPr>
        </p:nvSpPr>
        <p:spPr/>
        <p:txBody>
          <a:bodyPr/>
          <a:lstStyle/>
          <a:p>
            <a:r>
              <a:rPr lang="en-US" dirty="0"/>
              <a:t>Review: Synapse SQL Pool Architecture</a:t>
            </a:r>
          </a:p>
        </p:txBody>
      </p:sp>
    </p:spTree>
    <p:extLst>
      <p:ext uri="{BB962C8B-B14F-4D97-AF65-F5344CB8AC3E}">
        <p14:creationId xmlns:p14="http://schemas.microsoft.com/office/powerpoint/2010/main" val="29120873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FDA60-02A1-4104-BF27-0549632AE04E}"/>
              </a:ext>
            </a:extLst>
          </p:cNvPr>
          <p:cNvSpPr>
            <a:spLocks noGrp="1"/>
          </p:cNvSpPr>
          <p:nvPr>
            <p:ph type="title"/>
          </p:nvPr>
        </p:nvSpPr>
        <p:spPr/>
        <p:txBody>
          <a:bodyPr/>
          <a:lstStyle/>
          <a:p>
            <a:r>
              <a:rPr lang="en-US" dirty="0"/>
              <a:t>External Tables: Creating External Tables</a:t>
            </a:r>
          </a:p>
        </p:txBody>
      </p:sp>
      <p:sp>
        <p:nvSpPr>
          <p:cNvPr id="4" name="TextBox 3">
            <a:extLst>
              <a:ext uri="{FF2B5EF4-FFF2-40B4-BE49-F238E27FC236}">
                <a16:creationId xmlns:a16="http://schemas.microsoft.com/office/drawing/2014/main" id="{BC41C7E4-1353-4330-A795-F3AD109CEBC5}"/>
              </a:ext>
            </a:extLst>
          </p:cNvPr>
          <p:cNvSpPr txBox="1"/>
          <p:nvPr/>
        </p:nvSpPr>
        <p:spPr>
          <a:xfrm>
            <a:off x="960437" y="1440828"/>
            <a:ext cx="9144000" cy="369332"/>
          </a:xfrm>
          <a:prstGeom prst="rect">
            <a:avLst/>
          </a:prstGeom>
          <a:solidFill>
            <a:schemeClr val="tx2"/>
          </a:solidFill>
        </p:spPr>
        <p:txBody>
          <a:bodyPr wrap="square" lIns="0" tIns="0" rIns="0" bIns="0" rtlCol="0">
            <a:spAutoFit/>
          </a:bodyPr>
          <a:lstStyle/>
          <a:p>
            <a:pPr algn="l"/>
            <a:r>
              <a:rPr lang="es-ES" sz="2400" dirty="0">
                <a:solidFill>
                  <a:schemeClr val="bg1"/>
                </a:solidFill>
              </a:rPr>
              <a:t>1. </a:t>
            </a:r>
            <a:r>
              <a:rPr lang="en-US" sz="2400" dirty="0">
                <a:solidFill>
                  <a:schemeClr val="bg1"/>
                </a:solidFill>
              </a:rPr>
              <a:t>Create</a:t>
            </a:r>
            <a:r>
              <a:rPr lang="es-ES" sz="2400" dirty="0">
                <a:solidFill>
                  <a:schemeClr val="bg1"/>
                </a:solidFill>
              </a:rPr>
              <a:t> </a:t>
            </a:r>
            <a:r>
              <a:rPr lang="en-US" sz="2400" dirty="0">
                <a:solidFill>
                  <a:schemeClr val="bg1"/>
                </a:solidFill>
              </a:rPr>
              <a:t>External</a:t>
            </a:r>
            <a:r>
              <a:rPr lang="es-ES" sz="2400" dirty="0">
                <a:solidFill>
                  <a:schemeClr val="bg1"/>
                </a:solidFill>
              </a:rPr>
              <a:t> Data </a:t>
            </a:r>
            <a:r>
              <a:rPr lang="en-US" sz="2400" dirty="0">
                <a:solidFill>
                  <a:schemeClr val="bg1"/>
                </a:solidFill>
              </a:rPr>
              <a:t>Source</a:t>
            </a:r>
          </a:p>
        </p:txBody>
      </p:sp>
      <p:graphicFrame>
        <p:nvGraphicFramePr>
          <p:cNvPr id="5" name="Object 4">
            <a:extLst>
              <a:ext uri="{FF2B5EF4-FFF2-40B4-BE49-F238E27FC236}">
                <a16:creationId xmlns:a16="http://schemas.microsoft.com/office/drawing/2014/main" id="{9A308384-4930-4396-81F1-EC8672BA7097}"/>
              </a:ext>
            </a:extLst>
          </p:cNvPr>
          <p:cNvGraphicFramePr>
            <a:graphicFrameLocks noChangeAspect="1"/>
          </p:cNvGraphicFramePr>
          <p:nvPr>
            <p:extLst>
              <p:ext uri="{D42A27DB-BD31-4B8C-83A1-F6EECF244321}">
                <p14:modId xmlns:p14="http://schemas.microsoft.com/office/powerpoint/2010/main" val="834021361"/>
              </p:ext>
            </p:extLst>
          </p:nvPr>
        </p:nvGraphicFramePr>
        <p:xfrm>
          <a:off x="1265237" y="2403211"/>
          <a:ext cx="5029200" cy="955330"/>
        </p:xfrm>
        <a:graphic>
          <a:graphicData uri="http://schemas.openxmlformats.org/presentationml/2006/ole">
            <mc:AlternateContent xmlns:mc="http://schemas.openxmlformats.org/markup-compatibility/2006">
              <mc:Choice xmlns:v="urn:schemas-microsoft-com:vml" Requires="v">
                <p:oleObj spid="_x0000_s1042" name="Bitmap Image" r:id="rId4" imgW="2181240" imgH="414360" progId="Paint.Picture">
                  <p:embed/>
                </p:oleObj>
              </mc:Choice>
              <mc:Fallback>
                <p:oleObj name="Bitmap Image" r:id="rId4" imgW="2181240" imgH="414360" progId="Paint.Picture">
                  <p:embed/>
                  <p:pic>
                    <p:nvPicPr>
                      <p:cNvPr id="5" name="Object 4">
                        <a:extLst>
                          <a:ext uri="{FF2B5EF4-FFF2-40B4-BE49-F238E27FC236}">
                            <a16:creationId xmlns:a16="http://schemas.microsoft.com/office/drawing/2014/main" id="{9A308384-4930-4396-81F1-EC8672BA7097}"/>
                          </a:ext>
                        </a:extLst>
                      </p:cNvPr>
                      <p:cNvPicPr/>
                      <p:nvPr/>
                    </p:nvPicPr>
                    <p:blipFill>
                      <a:blip r:embed="rId5"/>
                      <a:stretch>
                        <a:fillRect/>
                      </a:stretch>
                    </p:blipFill>
                    <p:spPr>
                      <a:xfrm>
                        <a:off x="1265237" y="2403211"/>
                        <a:ext cx="5029200" cy="95533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51B403E2-F0CA-40B6-A354-D54506D0098A}"/>
              </a:ext>
            </a:extLst>
          </p:cNvPr>
          <p:cNvSpPr txBox="1"/>
          <p:nvPr/>
        </p:nvSpPr>
        <p:spPr>
          <a:xfrm>
            <a:off x="960437" y="1451530"/>
            <a:ext cx="9144000" cy="369332"/>
          </a:xfrm>
          <a:prstGeom prst="rect">
            <a:avLst/>
          </a:prstGeom>
          <a:solidFill>
            <a:schemeClr val="tx2"/>
          </a:solidFill>
        </p:spPr>
        <p:txBody>
          <a:bodyPr wrap="square" lIns="0" tIns="0" rIns="0" bIns="0" rtlCol="0">
            <a:spAutoFit/>
          </a:bodyPr>
          <a:lstStyle/>
          <a:p>
            <a:pPr algn="l"/>
            <a:r>
              <a:rPr lang="es-ES" sz="2400" dirty="0">
                <a:solidFill>
                  <a:schemeClr val="bg1"/>
                </a:solidFill>
              </a:rPr>
              <a:t>2. </a:t>
            </a:r>
            <a:r>
              <a:rPr lang="en-US" sz="2400" dirty="0">
                <a:solidFill>
                  <a:schemeClr val="bg1"/>
                </a:solidFill>
              </a:rPr>
              <a:t>Create</a:t>
            </a:r>
            <a:r>
              <a:rPr lang="es-ES" sz="2400" dirty="0">
                <a:solidFill>
                  <a:schemeClr val="bg1"/>
                </a:solidFill>
              </a:rPr>
              <a:t> File </a:t>
            </a:r>
            <a:r>
              <a:rPr lang="en-US" sz="2400" dirty="0">
                <a:solidFill>
                  <a:schemeClr val="bg1"/>
                </a:solidFill>
              </a:rPr>
              <a:t>Format</a:t>
            </a:r>
          </a:p>
        </p:txBody>
      </p:sp>
      <p:pic>
        <p:nvPicPr>
          <p:cNvPr id="10" name="Picture 9">
            <a:extLst>
              <a:ext uri="{FF2B5EF4-FFF2-40B4-BE49-F238E27FC236}">
                <a16:creationId xmlns:a16="http://schemas.microsoft.com/office/drawing/2014/main" id="{B9D472BA-500D-4E10-B83B-26E0A76142CD}"/>
              </a:ext>
            </a:extLst>
          </p:cNvPr>
          <p:cNvPicPr>
            <a:picLocks noChangeAspect="1"/>
          </p:cNvPicPr>
          <p:nvPr/>
        </p:nvPicPr>
        <p:blipFill>
          <a:blip r:embed="rId6"/>
          <a:stretch>
            <a:fillRect/>
          </a:stretch>
        </p:blipFill>
        <p:spPr>
          <a:xfrm>
            <a:off x="1265237" y="2411412"/>
            <a:ext cx="5553075" cy="1771650"/>
          </a:xfrm>
          <a:prstGeom prst="rect">
            <a:avLst/>
          </a:prstGeom>
        </p:spPr>
      </p:pic>
      <p:pic>
        <p:nvPicPr>
          <p:cNvPr id="14" name="Picture 13">
            <a:extLst>
              <a:ext uri="{FF2B5EF4-FFF2-40B4-BE49-F238E27FC236}">
                <a16:creationId xmlns:a16="http://schemas.microsoft.com/office/drawing/2014/main" id="{B0EF3CBE-1FCF-41A2-8F3F-1C4D6226B553}"/>
              </a:ext>
            </a:extLst>
          </p:cNvPr>
          <p:cNvPicPr>
            <a:picLocks noChangeAspect="1"/>
          </p:cNvPicPr>
          <p:nvPr/>
        </p:nvPicPr>
        <p:blipFill>
          <a:blip r:embed="rId7"/>
          <a:stretch>
            <a:fillRect/>
          </a:stretch>
        </p:blipFill>
        <p:spPr>
          <a:xfrm>
            <a:off x="1265237" y="3635984"/>
            <a:ext cx="6581775" cy="1200150"/>
          </a:xfrm>
          <a:prstGeom prst="rect">
            <a:avLst/>
          </a:prstGeom>
        </p:spPr>
      </p:pic>
      <p:sp>
        <p:nvSpPr>
          <p:cNvPr id="15" name="TextBox 14">
            <a:extLst>
              <a:ext uri="{FF2B5EF4-FFF2-40B4-BE49-F238E27FC236}">
                <a16:creationId xmlns:a16="http://schemas.microsoft.com/office/drawing/2014/main" id="{E3E0940C-E74D-4F2C-8E5C-048279A4B4E4}"/>
              </a:ext>
            </a:extLst>
          </p:cNvPr>
          <p:cNvSpPr txBox="1"/>
          <p:nvPr/>
        </p:nvSpPr>
        <p:spPr>
          <a:xfrm>
            <a:off x="960437" y="1451529"/>
            <a:ext cx="9144000" cy="369333"/>
          </a:xfrm>
          <a:prstGeom prst="rect">
            <a:avLst/>
          </a:prstGeom>
          <a:solidFill>
            <a:schemeClr val="tx2"/>
          </a:solidFill>
        </p:spPr>
        <p:txBody>
          <a:bodyPr wrap="square" lIns="0" tIns="0" rIns="0" bIns="0" rtlCol="0">
            <a:spAutoFit/>
          </a:bodyPr>
          <a:lstStyle/>
          <a:p>
            <a:pPr algn="l"/>
            <a:r>
              <a:rPr lang="es-ES" sz="2400" dirty="0">
                <a:solidFill>
                  <a:schemeClr val="bg1"/>
                </a:solidFill>
              </a:rPr>
              <a:t>3. </a:t>
            </a:r>
            <a:r>
              <a:rPr lang="en-US" sz="2400" dirty="0">
                <a:solidFill>
                  <a:schemeClr val="bg1"/>
                </a:solidFill>
              </a:rPr>
              <a:t>Create</a:t>
            </a:r>
            <a:r>
              <a:rPr lang="es-ES" sz="2400" dirty="0">
                <a:solidFill>
                  <a:schemeClr val="bg1"/>
                </a:solidFill>
              </a:rPr>
              <a:t> </a:t>
            </a:r>
            <a:r>
              <a:rPr lang="en-US" sz="2400" dirty="0">
                <a:solidFill>
                  <a:schemeClr val="bg1"/>
                </a:solidFill>
              </a:rPr>
              <a:t>External</a:t>
            </a:r>
            <a:r>
              <a:rPr lang="es-ES" sz="2400" dirty="0">
                <a:solidFill>
                  <a:schemeClr val="bg1"/>
                </a:solidFill>
              </a:rPr>
              <a:t> Table</a:t>
            </a:r>
          </a:p>
        </p:txBody>
      </p:sp>
      <p:pic>
        <p:nvPicPr>
          <p:cNvPr id="17" name="Picture 16">
            <a:extLst>
              <a:ext uri="{FF2B5EF4-FFF2-40B4-BE49-F238E27FC236}">
                <a16:creationId xmlns:a16="http://schemas.microsoft.com/office/drawing/2014/main" id="{64390D89-B071-4A99-A70C-7E55987F1A4F}"/>
              </a:ext>
            </a:extLst>
          </p:cNvPr>
          <p:cNvPicPr>
            <a:picLocks noChangeAspect="1"/>
          </p:cNvPicPr>
          <p:nvPr/>
        </p:nvPicPr>
        <p:blipFill>
          <a:blip r:embed="rId8"/>
          <a:stretch>
            <a:fillRect/>
          </a:stretch>
        </p:blipFill>
        <p:spPr>
          <a:xfrm>
            <a:off x="1265237" y="2372995"/>
            <a:ext cx="3590925" cy="2838450"/>
          </a:xfrm>
          <a:prstGeom prst="rect">
            <a:avLst/>
          </a:prstGeom>
        </p:spPr>
      </p:pic>
      <p:sp>
        <p:nvSpPr>
          <p:cNvPr id="19" name="TextBox 18">
            <a:extLst>
              <a:ext uri="{FF2B5EF4-FFF2-40B4-BE49-F238E27FC236}">
                <a16:creationId xmlns:a16="http://schemas.microsoft.com/office/drawing/2014/main" id="{B3F9CEFD-019F-4DD6-968B-BD325F2221CF}"/>
              </a:ext>
            </a:extLst>
          </p:cNvPr>
          <p:cNvSpPr txBox="1"/>
          <p:nvPr/>
        </p:nvSpPr>
        <p:spPr>
          <a:xfrm>
            <a:off x="960437" y="1439862"/>
            <a:ext cx="9144000" cy="738664"/>
          </a:xfrm>
          <a:prstGeom prst="rect">
            <a:avLst/>
          </a:prstGeom>
          <a:solidFill>
            <a:schemeClr val="tx2"/>
          </a:solidFill>
          <a:scene3d>
            <a:camera prst="orthographicFront"/>
            <a:lightRig rig="threePt" dir="t"/>
          </a:scene3d>
          <a:sp3d>
            <a:bevelT prst="angle"/>
          </a:sp3d>
        </p:spPr>
        <p:txBody>
          <a:bodyPr wrap="square" lIns="0" tIns="0" rIns="0" bIns="0" rtlCol="0">
            <a:spAutoFit/>
          </a:bodyPr>
          <a:lstStyle/>
          <a:p>
            <a:pPr algn="l"/>
            <a:r>
              <a:rPr lang="en-US" sz="2400" dirty="0">
                <a:solidFill>
                  <a:schemeClr val="bg1"/>
                </a:solidFill>
              </a:rPr>
              <a:t>4. If external data is going to be used several times, it is better to import the data into a Regular Table. </a:t>
            </a:r>
          </a:p>
        </p:txBody>
      </p:sp>
      <p:pic>
        <p:nvPicPr>
          <p:cNvPr id="25" name="Picture 24">
            <a:extLst>
              <a:ext uri="{FF2B5EF4-FFF2-40B4-BE49-F238E27FC236}">
                <a16:creationId xmlns:a16="http://schemas.microsoft.com/office/drawing/2014/main" id="{5161C42A-0593-4034-83B5-666DCCC37DDB}"/>
              </a:ext>
            </a:extLst>
          </p:cNvPr>
          <p:cNvPicPr>
            <a:picLocks noChangeAspect="1"/>
          </p:cNvPicPr>
          <p:nvPr/>
        </p:nvPicPr>
        <p:blipFill>
          <a:blip r:embed="rId9"/>
          <a:stretch>
            <a:fillRect/>
          </a:stretch>
        </p:blipFill>
        <p:spPr>
          <a:xfrm>
            <a:off x="1265237" y="2706687"/>
            <a:ext cx="3409950" cy="638175"/>
          </a:xfrm>
          <a:prstGeom prst="rect">
            <a:avLst/>
          </a:prstGeom>
        </p:spPr>
      </p:pic>
    </p:spTree>
    <p:extLst>
      <p:ext uri="{BB962C8B-B14F-4D97-AF65-F5344CB8AC3E}">
        <p14:creationId xmlns:p14="http://schemas.microsoft.com/office/powerpoint/2010/main" val="1018816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4"/>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8"/>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5"/>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7"/>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8" grpId="1" animBg="1"/>
      <p:bldP spid="15" grpId="0" animBg="1"/>
      <p:bldP spid="15" grpId="1" animBg="1"/>
      <p:bldP spid="19"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Table Persistence</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3699813957"/>
              </p:ext>
            </p:extLst>
          </p:nvPr>
        </p:nvGraphicFramePr>
        <p:xfrm>
          <a:off x="519483" y="1914866"/>
          <a:ext cx="3100581" cy="3825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3033348972"/>
              </p:ext>
            </p:extLst>
          </p:nvPr>
        </p:nvGraphicFramePr>
        <p:xfrm>
          <a:off x="4653864" y="1914866"/>
          <a:ext cx="3100579" cy="38255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1324920441"/>
              </p:ext>
            </p:extLst>
          </p:nvPr>
        </p:nvGraphicFramePr>
        <p:xfrm>
          <a:off x="8788244" y="1914866"/>
          <a:ext cx="3100579" cy="382553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847041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3: Views</a:t>
            </a:r>
          </a:p>
        </p:txBody>
      </p:sp>
    </p:spTree>
    <p:extLst>
      <p:ext uri="{BB962C8B-B14F-4D97-AF65-F5344CB8AC3E}">
        <p14:creationId xmlns:p14="http://schemas.microsoft.com/office/powerpoint/2010/main" val="12158299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What is a view in SQL Pools</a:t>
            </a:r>
          </a:p>
          <a:p>
            <a:pPr lvl="1"/>
            <a:r>
              <a:rPr lang="en-US" dirty="0"/>
              <a:t>Types of views in SQL Pools</a:t>
            </a:r>
          </a:p>
          <a:p>
            <a:pPr lvl="1"/>
            <a:r>
              <a:rPr lang="en-US" dirty="0"/>
              <a:t>How to identify Materialized View’s candidates</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2833947950"/>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61220A-5B33-47C4-BEC0-D0B237D6CB2F}"/>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Views in SQL Server vs Views in SQL Pools</a:t>
            </a:r>
            <a:endParaRPr lang="en-US" dirty="0">
              <a:solidFill>
                <a:srgbClr val="0078D7"/>
              </a:solidFill>
            </a:endParaRPr>
          </a:p>
        </p:txBody>
      </p:sp>
      <p:graphicFrame>
        <p:nvGraphicFramePr>
          <p:cNvPr id="8" name="Diagram 7">
            <a:extLst>
              <a:ext uri="{FF2B5EF4-FFF2-40B4-BE49-F238E27FC236}">
                <a16:creationId xmlns:a16="http://schemas.microsoft.com/office/drawing/2014/main" id="{892E6207-EF04-463E-B669-E74B59090668}"/>
              </a:ext>
            </a:extLst>
          </p:cNvPr>
          <p:cNvGraphicFramePr/>
          <p:nvPr>
            <p:extLst>
              <p:ext uri="{D42A27DB-BD31-4B8C-83A1-F6EECF244321}">
                <p14:modId xmlns:p14="http://schemas.microsoft.com/office/powerpoint/2010/main" val="3714052400"/>
              </p:ext>
            </p:extLst>
          </p:nvPr>
        </p:nvGraphicFramePr>
        <p:xfrm>
          <a:off x="350837" y="1516062"/>
          <a:ext cx="11035852"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4090771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60181-0897-4AC3-8253-F67573C84DDE}"/>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Standard Views in SQL Pools</a:t>
            </a:r>
            <a:endParaRPr lang="en-US" dirty="0">
              <a:solidFill>
                <a:srgbClr val="0078D7"/>
              </a:solidFill>
            </a:endParaRPr>
          </a:p>
        </p:txBody>
      </p:sp>
      <p:graphicFrame>
        <p:nvGraphicFramePr>
          <p:cNvPr id="10" name="Diagram 9">
            <a:extLst>
              <a:ext uri="{FF2B5EF4-FFF2-40B4-BE49-F238E27FC236}">
                <a16:creationId xmlns:a16="http://schemas.microsoft.com/office/drawing/2014/main" id="{8F7CEEAF-20D2-4838-BB53-3FF109300784}"/>
              </a:ext>
            </a:extLst>
          </p:cNvPr>
          <p:cNvGraphicFramePr/>
          <p:nvPr>
            <p:extLst>
              <p:ext uri="{D42A27DB-BD31-4B8C-83A1-F6EECF244321}">
                <p14:modId xmlns:p14="http://schemas.microsoft.com/office/powerpoint/2010/main" val="2136556458"/>
              </p:ext>
            </p:extLst>
          </p:nvPr>
        </p:nvGraphicFramePr>
        <p:xfrm>
          <a:off x="884237" y="1020761"/>
          <a:ext cx="10667999" cy="4953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488665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BFE58E-19B2-44EF-B3B3-CD00A66232CD}"/>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Standard Views in SQL Pools: Best Practices</a:t>
            </a:r>
            <a:endParaRPr lang="en-US" dirty="0">
              <a:solidFill>
                <a:srgbClr val="0078D7"/>
              </a:solidFill>
            </a:endParaRPr>
          </a:p>
        </p:txBody>
      </p:sp>
      <p:graphicFrame>
        <p:nvGraphicFramePr>
          <p:cNvPr id="8" name="Diagram 7">
            <a:extLst>
              <a:ext uri="{FF2B5EF4-FFF2-40B4-BE49-F238E27FC236}">
                <a16:creationId xmlns:a16="http://schemas.microsoft.com/office/drawing/2014/main" id="{D9922CCF-7BCC-4279-A1DE-9DC636A9EA95}"/>
              </a:ext>
            </a:extLst>
          </p:cNvPr>
          <p:cNvGraphicFramePr/>
          <p:nvPr>
            <p:extLst>
              <p:ext uri="{D42A27DB-BD31-4B8C-83A1-F6EECF244321}">
                <p14:modId xmlns:p14="http://schemas.microsoft.com/office/powerpoint/2010/main" val="3312653578"/>
              </p:ext>
            </p:extLst>
          </p:nvPr>
        </p:nvGraphicFramePr>
        <p:xfrm>
          <a:off x="808037" y="1363661"/>
          <a:ext cx="10959651" cy="48768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327113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3A6B43-38C4-4DCE-A02A-D14F834AF9C1}"/>
              </a:ext>
            </a:extLst>
          </p:cNvPr>
          <p:cNvSpPr>
            <a:spLocks noGrp="1"/>
          </p:cNvSpPr>
          <p:nvPr>
            <p:ph type="title"/>
          </p:nvPr>
        </p:nvSpPr>
        <p:spPr>
          <a:xfrm>
            <a:off x="453331" y="326411"/>
            <a:ext cx="11098906" cy="470856"/>
          </a:xfrm>
        </p:spPr>
        <p:txBody>
          <a:bodyPr/>
          <a:lstStyle/>
          <a:p>
            <a:r>
              <a:rPr lang="en-US" dirty="0"/>
              <a:t>Standard Views vs Materialized Views</a:t>
            </a:r>
          </a:p>
        </p:txBody>
      </p:sp>
      <p:graphicFrame>
        <p:nvGraphicFramePr>
          <p:cNvPr id="4" name="Diagram 3">
            <a:extLst>
              <a:ext uri="{FF2B5EF4-FFF2-40B4-BE49-F238E27FC236}">
                <a16:creationId xmlns:a16="http://schemas.microsoft.com/office/drawing/2014/main" id="{60AEB715-41DC-473A-9BC9-C965B5374EEC}"/>
              </a:ext>
            </a:extLst>
          </p:cNvPr>
          <p:cNvGraphicFramePr/>
          <p:nvPr>
            <p:extLst>
              <p:ext uri="{D42A27DB-BD31-4B8C-83A1-F6EECF244321}">
                <p14:modId xmlns:p14="http://schemas.microsoft.com/office/powerpoint/2010/main" val="1625871963"/>
              </p:ext>
            </p:extLst>
          </p:nvPr>
        </p:nvGraphicFramePr>
        <p:xfrm>
          <a:off x="1189037" y="1287461"/>
          <a:ext cx="10210799" cy="4953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1354370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515826-5849-441D-8C4A-CD72633F3B82}"/>
              </a:ext>
            </a:extLst>
          </p:cNvPr>
          <p:cNvSpPr>
            <a:spLocks noGrp="1"/>
          </p:cNvSpPr>
          <p:nvPr>
            <p:ph type="title"/>
          </p:nvPr>
        </p:nvSpPr>
        <p:spPr/>
        <p:txBody>
          <a:bodyPr/>
          <a:lstStyle/>
          <a:p>
            <a:r>
              <a:rPr lang="en-US" dirty="0">
                <a:solidFill>
                  <a:srgbClr val="0078D7"/>
                </a:solidFill>
              </a:rPr>
              <a:t> </a:t>
            </a:r>
          </a:p>
        </p:txBody>
      </p:sp>
      <p:sp>
        <p:nvSpPr>
          <p:cNvPr id="5" name="Title 1">
            <a:extLst>
              <a:ext uri="{FF2B5EF4-FFF2-40B4-BE49-F238E27FC236}">
                <a16:creationId xmlns:a16="http://schemas.microsoft.com/office/drawing/2014/main" id="{5DDD1280-DFBA-4838-BCC4-FACAEF1379DF}"/>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Materialized Views in SQL Pools: Use Cases</a:t>
            </a:r>
            <a:endParaRPr lang="en-US" dirty="0">
              <a:solidFill>
                <a:srgbClr val="0078D7"/>
              </a:solidFill>
            </a:endParaRPr>
          </a:p>
        </p:txBody>
      </p:sp>
      <p:graphicFrame>
        <p:nvGraphicFramePr>
          <p:cNvPr id="6" name="Diagram 5">
            <a:extLst>
              <a:ext uri="{FF2B5EF4-FFF2-40B4-BE49-F238E27FC236}">
                <a16:creationId xmlns:a16="http://schemas.microsoft.com/office/drawing/2014/main" id="{CCED7DEF-2F89-420F-B16A-F5F0B24DB99E}"/>
              </a:ext>
            </a:extLst>
          </p:cNvPr>
          <p:cNvGraphicFramePr/>
          <p:nvPr>
            <p:extLst>
              <p:ext uri="{D42A27DB-BD31-4B8C-83A1-F6EECF244321}">
                <p14:modId xmlns:p14="http://schemas.microsoft.com/office/powerpoint/2010/main" val="2531228345"/>
              </p:ext>
            </p:extLst>
          </p:nvPr>
        </p:nvGraphicFramePr>
        <p:xfrm>
          <a:off x="579437" y="1287461"/>
          <a:ext cx="11125199" cy="43434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4361552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12B35C5-8441-4868-8764-77F1290E3249}"/>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Materialized Views in SQL Pools: Definition</a:t>
            </a:r>
            <a:endParaRPr lang="en-US" dirty="0">
              <a:solidFill>
                <a:srgbClr val="0078D7"/>
              </a:solidFill>
            </a:endParaRPr>
          </a:p>
        </p:txBody>
      </p:sp>
      <p:graphicFrame>
        <p:nvGraphicFramePr>
          <p:cNvPr id="8" name="Diagram 7">
            <a:extLst>
              <a:ext uri="{FF2B5EF4-FFF2-40B4-BE49-F238E27FC236}">
                <a16:creationId xmlns:a16="http://schemas.microsoft.com/office/drawing/2014/main" id="{36AA4453-48C0-45E7-927C-29B8C1D487B4}"/>
              </a:ext>
            </a:extLst>
          </p:cNvPr>
          <p:cNvGraphicFramePr/>
          <p:nvPr>
            <p:extLst>
              <p:ext uri="{D42A27DB-BD31-4B8C-83A1-F6EECF244321}">
                <p14:modId xmlns:p14="http://schemas.microsoft.com/office/powerpoint/2010/main" val="2543008238"/>
              </p:ext>
            </p:extLst>
          </p:nvPr>
        </p:nvGraphicFramePr>
        <p:xfrm>
          <a:off x="731837" y="1287461"/>
          <a:ext cx="10820399" cy="49734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823385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3947230" y="1204904"/>
            <a:ext cx="1146624" cy="1383387"/>
            <a:chOff x="3869005" y="1181066"/>
            <a:chExt cx="1124402" cy="1356577"/>
          </a:xfrm>
        </p:grpSpPr>
        <p:sp>
          <p:nvSpPr>
            <p:cNvPr id="10" name="Rectangle 378"/>
            <p:cNvSpPr>
              <a:spLocks noChangeArrowheads="1"/>
            </p:cNvSpPr>
            <p:nvPr/>
          </p:nvSpPr>
          <p:spPr bwMode="auto">
            <a:xfrm>
              <a:off x="3869005" y="1657975"/>
              <a:ext cx="65" cy="346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73937">
                <a:defRPr/>
              </a:pPr>
              <a:endParaRPr lang="en-US" altLang="en-US" sz="2250"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7984" tIns="134388" rIns="167984" bIns="134388" rtlCol="0">
              <a:spAutoFit/>
            </a:bodyPr>
            <a:lstStyle/>
            <a:p>
              <a:pPr algn="ctr" defTabSz="855881" fontAlgn="base">
                <a:lnSpc>
                  <a:spcPct val="90000"/>
                </a:lnSpc>
                <a:spcBef>
                  <a:spcPct val="0"/>
                </a:spcBef>
                <a:spcAft>
                  <a:spcPts val="550"/>
                </a:spcAft>
                <a:defRPr/>
              </a:pPr>
              <a:r>
                <a:rPr lang="en-US" sz="1399" b="1" kern="0" dirty="0">
                  <a:solidFill>
                    <a:srgbClr val="000000"/>
                  </a:solidFill>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73937">
                <a:defRPr/>
              </a:pPr>
              <a:r>
                <a:rPr lang="en-US" sz="100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7960" tIns="134368" rIns="167960" bIns="134368" numCol="1" spcCol="0" rtlCol="0" fromWordArt="0" anchor="t" anchorCtr="0" forceAA="0" compatLnSpc="1">
              <a:prstTxWarp prst="textNoShape">
                <a:avLst/>
              </a:prstTxWarp>
              <a:noAutofit/>
            </a:bodyPr>
            <a:lstStyle/>
            <a:p>
              <a:pPr algn="ctr" defTabSz="856277" fontAlgn="base">
                <a:lnSpc>
                  <a:spcPct val="90000"/>
                </a:lnSpc>
                <a:spcBef>
                  <a:spcPct val="0"/>
                </a:spcBef>
                <a:spcAft>
                  <a:spcPct val="0"/>
                </a:spcAft>
                <a:defRPr/>
              </a:pPr>
              <a:r>
                <a:rPr lang="en-IN" sz="100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4524364" y="2588289"/>
            <a:ext cx="3465907" cy="469844"/>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4524364" y="2588290"/>
            <a:ext cx="1087037" cy="442979"/>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3309025" y="2588289"/>
            <a:ext cx="1215339" cy="425974"/>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995990" y="2588291"/>
            <a:ext cx="3528374" cy="426160"/>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569763" y="4037994"/>
            <a:ext cx="7832757" cy="525767"/>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212" fontAlgn="base">
              <a:spcBef>
                <a:spcPct val="0"/>
              </a:spcBef>
              <a:spcAft>
                <a:spcPct val="0"/>
              </a:spcAft>
              <a:defRPr/>
            </a:pPr>
            <a:endParaRPr lang="en-US" sz="2000" kern="0" dirty="0">
              <a:solidFill>
                <a:srgbClr val="000000"/>
              </a:solidFill>
              <a:latin typeface="Segoe UI"/>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7476952" y="2964014"/>
            <a:ext cx="1026638" cy="2348089"/>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7984" tIns="134388" rIns="167984" bIns="134388" rtlCol="0">
                <a:spAutoFit/>
              </a:bodyPr>
              <a:lstStyle/>
              <a:p>
                <a:pPr algn="ctr" defTabSz="855881" fontAlgn="base">
                  <a:lnSpc>
                    <a:spcPct val="90000"/>
                  </a:lnSpc>
                  <a:spcBef>
                    <a:spcPct val="0"/>
                  </a:spcBef>
                  <a:spcAft>
                    <a:spcPts val="550"/>
                  </a:spcAft>
                  <a:defRPr/>
                </a:pPr>
                <a:r>
                  <a:rPr lang="en-US" sz="1399" b="1" kern="0" dirty="0">
                    <a:solidFill>
                      <a:srgbClr val="000000"/>
                    </a:solidFill>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t" anchorCtr="0" compatLnSpc="1">
              <a:prstTxWarp prst="textNoShape">
                <a:avLst/>
              </a:prstTxWarp>
            </a:bodyPr>
            <a:lstStyle/>
            <a:p>
              <a:pPr defTabSz="932212" fontAlgn="base">
                <a:spcBef>
                  <a:spcPct val="0"/>
                </a:spcBef>
                <a:spcAft>
                  <a:spcPct val="0"/>
                </a:spcAft>
                <a:defRPr/>
              </a:pPr>
              <a:br>
                <a:rPr lang="en-US" sz="1001" b="1" kern="0" dirty="0">
                  <a:solidFill>
                    <a:srgbClr val="000000"/>
                  </a:solidFill>
                  <a:latin typeface="Segoe UI"/>
                </a:rPr>
              </a:br>
              <a:r>
                <a:rPr lang="en-US" sz="1001" b="1" kern="0" dirty="0">
                  <a:solidFill>
                    <a:srgbClr val="000000"/>
                  </a:solidFill>
                  <a:latin typeface="Segoe UI"/>
                </a:rPr>
                <a:t>Dist_DB_46</a:t>
              </a:r>
            </a:p>
            <a:p>
              <a:pPr defTabSz="932212" fontAlgn="base">
                <a:spcBef>
                  <a:spcPct val="0"/>
                </a:spcBef>
                <a:spcAft>
                  <a:spcPct val="0"/>
                </a:spcAft>
                <a:defRPr/>
              </a:pPr>
              <a:r>
                <a:rPr lang="en-US" sz="1001" b="1" kern="0" dirty="0">
                  <a:solidFill>
                    <a:srgbClr val="000000"/>
                  </a:solidFill>
                  <a:latin typeface="Segoe UI"/>
                </a:rPr>
                <a:t>Dist_DB_47</a:t>
              </a: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r>
                <a:rPr lang="en-US" sz="1001" b="1" kern="0" dirty="0">
                  <a:solidFill>
                    <a:srgbClr val="000000"/>
                  </a:solidFill>
                  <a:latin typeface="Segoe UI"/>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7960" tIns="134368" rIns="167960" bIns="134368" numCol="1" spcCol="0" rtlCol="0" fromWordArt="0" anchor="t" anchorCtr="0" forceAA="0" compatLnSpc="1">
              <a:prstTxWarp prst="textNoShape">
                <a:avLst/>
              </a:prstTxWarp>
              <a:noAutofit/>
            </a:bodyPr>
            <a:lstStyle/>
            <a:p>
              <a:pPr algn="ctr" defTabSz="856277" fontAlgn="base">
                <a:lnSpc>
                  <a:spcPct val="90000"/>
                </a:lnSpc>
                <a:spcBef>
                  <a:spcPct val="0"/>
                </a:spcBef>
                <a:spcAft>
                  <a:spcPct val="0"/>
                </a:spcAft>
                <a:defRPr/>
              </a:pPr>
              <a:r>
                <a:rPr lang="en-IN" sz="1004" b="1" kern="0" dirty="0">
                  <a:solidFill>
                    <a:srgbClr val="000000"/>
                  </a:solidFill>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82828" tIns="146262" rIns="182828" bIns="146262" rtlCol="0">
              <a:spAutoFit/>
            </a:bodyPr>
            <a:lstStyle/>
            <a:p>
              <a:pPr defTabSz="914145">
                <a:lnSpc>
                  <a:spcPct val="90000"/>
                </a:lnSpc>
                <a:spcAft>
                  <a:spcPts val="600"/>
                </a:spcAft>
                <a:defRPr/>
              </a:pPr>
              <a:r>
                <a:rPr lang="en-US" sz="1599" b="1" kern="0" dirty="0">
                  <a:solidFill>
                    <a:srgbClr val="000000"/>
                  </a:solidFill>
                  <a:latin typeface="Segoe UI"/>
                </a:rPr>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5152922" y="2964014"/>
            <a:ext cx="1026638" cy="2348089"/>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7984" tIns="134388" rIns="167984" bIns="134388" rtlCol="0">
                <a:spAutoFit/>
              </a:bodyPr>
              <a:lstStyle/>
              <a:p>
                <a:pPr algn="ctr" defTabSz="855881" fontAlgn="base">
                  <a:lnSpc>
                    <a:spcPct val="90000"/>
                  </a:lnSpc>
                  <a:spcBef>
                    <a:spcPct val="0"/>
                  </a:spcBef>
                  <a:spcAft>
                    <a:spcPts val="550"/>
                  </a:spcAft>
                  <a:defRPr/>
                </a:pPr>
                <a:r>
                  <a:rPr lang="en-US" sz="1399" b="1" kern="0" dirty="0">
                    <a:solidFill>
                      <a:srgbClr val="000000"/>
                    </a:solidFill>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t" anchorCtr="0" compatLnSpc="1">
              <a:prstTxWarp prst="textNoShape">
                <a:avLst/>
              </a:prstTxWarp>
            </a:bodyPr>
            <a:lstStyle/>
            <a:p>
              <a:pPr defTabSz="932212" fontAlgn="base">
                <a:spcBef>
                  <a:spcPct val="0"/>
                </a:spcBef>
                <a:spcAft>
                  <a:spcPct val="0"/>
                </a:spcAft>
                <a:defRPr/>
              </a:pPr>
              <a:br>
                <a:rPr lang="en-US" sz="1001" b="1" kern="0" dirty="0">
                  <a:solidFill>
                    <a:srgbClr val="000000"/>
                  </a:solidFill>
                  <a:latin typeface="Segoe UI"/>
                </a:rPr>
              </a:br>
              <a:r>
                <a:rPr lang="en-US" sz="1001" b="1" kern="0" dirty="0">
                  <a:solidFill>
                    <a:srgbClr val="000000"/>
                  </a:solidFill>
                  <a:latin typeface="Segoe UI"/>
                </a:rPr>
                <a:t>Dist_DB_31</a:t>
              </a:r>
            </a:p>
            <a:p>
              <a:pPr defTabSz="932212" fontAlgn="base">
                <a:spcBef>
                  <a:spcPct val="0"/>
                </a:spcBef>
                <a:spcAft>
                  <a:spcPct val="0"/>
                </a:spcAft>
                <a:defRPr/>
              </a:pPr>
              <a:r>
                <a:rPr lang="en-US" sz="1001" b="1" kern="0" dirty="0">
                  <a:solidFill>
                    <a:srgbClr val="000000"/>
                  </a:solidFill>
                  <a:latin typeface="Segoe UI"/>
                </a:rPr>
                <a:t>Dist_DB_32</a:t>
              </a: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r>
                <a:rPr lang="en-US" sz="1001" b="1" kern="0" dirty="0">
                  <a:solidFill>
                    <a:srgbClr val="000000"/>
                  </a:solidFill>
                  <a:latin typeface="Segoe UI"/>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7960" tIns="134368" rIns="167960" bIns="134368" numCol="1" spcCol="0" rtlCol="0" fromWordArt="0" anchor="t" anchorCtr="0" forceAA="0" compatLnSpc="1">
              <a:prstTxWarp prst="textNoShape">
                <a:avLst/>
              </a:prstTxWarp>
              <a:noAutofit/>
            </a:bodyPr>
            <a:lstStyle/>
            <a:p>
              <a:pPr algn="ctr" defTabSz="856277" fontAlgn="base">
                <a:lnSpc>
                  <a:spcPct val="90000"/>
                </a:lnSpc>
                <a:spcBef>
                  <a:spcPct val="0"/>
                </a:spcBef>
                <a:spcAft>
                  <a:spcPct val="0"/>
                </a:spcAft>
                <a:defRPr/>
              </a:pPr>
              <a:r>
                <a:rPr lang="en-IN" sz="1004" b="1" kern="0" dirty="0">
                  <a:solidFill>
                    <a:srgbClr val="000000"/>
                  </a:solidFill>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82828" tIns="146262" rIns="182828" bIns="146262" rtlCol="0">
              <a:spAutoFit/>
            </a:bodyPr>
            <a:lstStyle/>
            <a:p>
              <a:pPr defTabSz="914145">
                <a:lnSpc>
                  <a:spcPct val="90000"/>
                </a:lnSpc>
                <a:spcAft>
                  <a:spcPts val="600"/>
                </a:spcAft>
                <a:defRPr/>
              </a:pPr>
              <a:r>
                <a:rPr lang="en-US" sz="1599" b="1" kern="0" dirty="0">
                  <a:solidFill>
                    <a:srgbClr val="000000"/>
                  </a:solidFill>
                  <a:latin typeface="Segoe UI"/>
                </a:rPr>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2828890" y="2964014"/>
            <a:ext cx="1026638" cy="2348089"/>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7984" tIns="134388" rIns="167984" bIns="134388" rtlCol="0">
                <a:spAutoFit/>
              </a:bodyPr>
              <a:lstStyle/>
              <a:p>
                <a:pPr algn="ctr" defTabSz="855881" fontAlgn="base">
                  <a:lnSpc>
                    <a:spcPct val="90000"/>
                  </a:lnSpc>
                  <a:spcBef>
                    <a:spcPct val="0"/>
                  </a:spcBef>
                  <a:spcAft>
                    <a:spcPts val="550"/>
                  </a:spcAft>
                  <a:defRPr/>
                </a:pPr>
                <a:r>
                  <a:rPr lang="en-US" sz="1399" b="1" kern="0" dirty="0">
                    <a:solidFill>
                      <a:srgbClr val="000000"/>
                    </a:solidFill>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t" anchorCtr="0" compatLnSpc="1">
              <a:prstTxWarp prst="textNoShape">
                <a:avLst/>
              </a:prstTxWarp>
            </a:bodyPr>
            <a:lstStyle/>
            <a:p>
              <a:pPr defTabSz="932212" fontAlgn="base">
                <a:spcBef>
                  <a:spcPct val="0"/>
                </a:spcBef>
                <a:spcAft>
                  <a:spcPct val="0"/>
                </a:spcAft>
                <a:defRPr/>
              </a:pPr>
              <a:br>
                <a:rPr lang="en-US" sz="1001" b="1" kern="0" dirty="0">
                  <a:solidFill>
                    <a:srgbClr val="000000"/>
                  </a:solidFill>
                  <a:latin typeface="Segoe UI"/>
                </a:rPr>
              </a:br>
              <a:r>
                <a:rPr lang="en-US" sz="1001" b="1" kern="0" dirty="0">
                  <a:solidFill>
                    <a:srgbClr val="000000"/>
                  </a:solidFill>
                  <a:latin typeface="Segoe UI"/>
                </a:rPr>
                <a:t>Dist_DB_16</a:t>
              </a:r>
            </a:p>
            <a:p>
              <a:pPr defTabSz="932212" fontAlgn="base">
                <a:spcBef>
                  <a:spcPct val="0"/>
                </a:spcBef>
                <a:spcAft>
                  <a:spcPct val="0"/>
                </a:spcAft>
                <a:defRPr/>
              </a:pPr>
              <a:r>
                <a:rPr lang="en-US" sz="1001" b="1" kern="0" dirty="0">
                  <a:solidFill>
                    <a:srgbClr val="000000"/>
                  </a:solidFill>
                  <a:latin typeface="Segoe UI"/>
                </a:rPr>
                <a:t>Dist_DB_17</a:t>
              </a: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r>
                <a:rPr lang="en-US" sz="1001" b="1" kern="0" dirty="0">
                  <a:solidFill>
                    <a:srgbClr val="000000"/>
                  </a:solidFill>
                  <a:latin typeface="Segoe UI"/>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7960" tIns="134368" rIns="167960" bIns="134368" numCol="1" spcCol="0" rtlCol="0" fromWordArt="0" anchor="t" anchorCtr="0" forceAA="0" compatLnSpc="1">
              <a:prstTxWarp prst="textNoShape">
                <a:avLst/>
              </a:prstTxWarp>
              <a:noAutofit/>
            </a:bodyPr>
            <a:lstStyle/>
            <a:p>
              <a:pPr algn="ctr" defTabSz="856277" fontAlgn="base">
                <a:lnSpc>
                  <a:spcPct val="90000"/>
                </a:lnSpc>
                <a:spcBef>
                  <a:spcPct val="0"/>
                </a:spcBef>
                <a:spcAft>
                  <a:spcPct val="0"/>
                </a:spcAft>
                <a:defRPr/>
              </a:pPr>
              <a:r>
                <a:rPr lang="en-IN" sz="1004" b="1" kern="0" dirty="0">
                  <a:solidFill>
                    <a:srgbClr val="000000"/>
                  </a:solidFill>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82828" tIns="146262" rIns="182828" bIns="146262" rtlCol="0">
              <a:spAutoFit/>
            </a:bodyPr>
            <a:lstStyle/>
            <a:p>
              <a:pPr defTabSz="914145">
                <a:lnSpc>
                  <a:spcPct val="90000"/>
                </a:lnSpc>
                <a:spcAft>
                  <a:spcPts val="600"/>
                </a:spcAft>
                <a:defRPr/>
              </a:pPr>
              <a:r>
                <a:rPr lang="en-US" sz="1599" b="1" kern="0" dirty="0">
                  <a:solidFill>
                    <a:srgbClr val="000000"/>
                  </a:solidFill>
                  <a:latin typeface="Segoe UI"/>
                </a:rPr>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504859" y="2977454"/>
            <a:ext cx="1026638" cy="2348089"/>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73906">
                      <a:defRPr/>
                    </a:pPr>
                    <a:endParaRPr lang="en-IN" sz="1688"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7984" tIns="134388" rIns="167984" bIns="134388" rtlCol="0">
                <a:spAutoFit/>
              </a:bodyPr>
              <a:lstStyle/>
              <a:p>
                <a:pPr algn="ctr" defTabSz="855881" fontAlgn="base">
                  <a:lnSpc>
                    <a:spcPct val="90000"/>
                  </a:lnSpc>
                  <a:spcBef>
                    <a:spcPct val="0"/>
                  </a:spcBef>
                  <a:spcAft>
                    <a:spcPts val="550"/>
                  </a:spcAft>
                  <a:defRPr/>
                </a:pPr>
                <a:r>
                  <a:rPr lang="en-US" sz="1399" b="1" kern="0" dirty="0">
                    <a:solidFill>
                      <a:srgbClr val="000000"/>
                    </a:solidFill>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t" anchorCtr="0" compatLnSpc="1">
              <a:prstTxWarp prst="textNoShape">
                <a:avLst/>
              </a:prstTxWarp>
            </a:bodyPr>
            <a:lstStyle/>
            <a:p>
              <a:pPr defTabSz="932212" fontAlgn="base">
                <a:spcBef>
                  <a:spcPct val="0"/>
                </a:spcBef>
                <a:spcAft>
                  <a:spcPct val="0"/>
                </a:spcAft>
                <a:defRPr/>
              </a:pPr>
              <a:br>
                <a:rPr lang="en-US" sz="1001" b="1" kern="0" dirty="0">
                  <a:solidFill>
                    <a:srgbClr val="000000"/>
                  </a:solidFill>
                  <a:latin typeface="Segoe UI"/>
                </a:rPr>
              </a:br>
              <a:r>
                <a:rPr lang="en-US" sz="1001" b="1" kern="0" dirty="0">
                  <a:solidFill>
                    <a:srgbClr val="000000"/>
                  </a:solidFill>
                  <a:latin typeface="Segoe UI"/>
                </a:rPr>
                <a:t>Dist_DB_1</a:t>
              </a:r>
            </a:p>
            <a:p>
              <a:pPr defTabSz="932212" fontAlgn="base">
                <a:spcBef>
                  <a:spcPct val="0"/>
                </a:spcBef>
                <a:spcAft>
                  <a:spcPct val="0"/>
                </a:spcAft>
                <a:defRPr/>
              </a:pPr>
              <a:r>
                <a:rPr lang="en-US" sz="1001" b="1" kern="0" dirty="0">
                  <a:solidFill>
                    <a:srgbClr val="000000"/>
                  </a:solidFill>
                  <a:latin typeface="Segoe UI"/>
                </a:rPr>
                <a:t>Dist_DB_2</a:t>
              </a: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endParaRPr lang="en-US" sz="1001" b="1" kern="0" dirty="0">
                <a:solidFill>
                  <a:srgbClr val="000000"/>
                </a:solidFill>
                <a:latin typeface="Segoe UI"/>
              </a:endParaRPr>
            </a:p>
            <a:p>
              <a:pPr defTabSz="932212" fontAlgn="base">
                <a:spcBef>
                  <a:spcPct val="0"/>
                </a:spcBef>
                <a:spcAft>
                  <a:spcPct val="0"/>
                </a:spcAft>
                <a:defRPr/>
              </a:pPr>
              <a:r>
                <a:rPr lang="en-US" sz="1001" b="1" kern="0" dirty="0">
                  <a:solidFill>
                    <a:srgbClr val="000000"/>
                  </a:solidFill>
                  <a:latin typeface="Segoe UI"/>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7960" tIns="134368" rIns="167960" bIns="134368" numCol="1" spcCol="0" rtlCol="0" fromWordArt="0" anchor="t" anchorCtr="0" forceAA="0" compatLnSpc="1">
              <a:prstTxWarp prst="textNoShape">
                <a:avLst/>
              </a:prstTxWarp>
              <a:noAutofit/>
            </a:bodyPr>
            <a:lstStyle/>
            <a:p>
              <a:pPr algn="ctr" defTabSz="856277" fontAlgn="base">
                <a:lnSpc>
                  <a:spcPct val="90000"/>
                </a:lnSpc>
                <a:spcBef>
                  <a:spcPct val="0"/>
                </a:spcBef>
                <a:spcAft>
                  <a:spcPct val="0"/>
                </a:spcAft>
                <a:defRPr/>
              </a:pPr>
              <a:r>
                <a:rPr lang="en-IN" sz="1004" b="1" kern="0" dirty="0">
                  <a:solidFill>
                    <a:srgbClr val="000000"/>
                  </a:solidFill>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82828" tIns="146262" rIns="182828" bIns="146262" rtlCol="0">
              <a:spAutoFit/>
            </a:bodyPr>
            <a:lstStyle/>
            <a:p>
              <a:pPr defTabSz="914145">
                <a:lnSpc>
                  <a:spcPct val="90000"/>
                </a:lnSpc>
                <a:spcAft>
                  <a:spcPts val="600"/>
                </a:spcAft>
                <a:defRPr/>
              </a:pPr>
              <a:r>
                <a:rPr lang="en-US" sz="1599" b="1" kern="0" dirty="0">
                  <a:solidFill>
                    <a:srgbClr val="000000"/>
                  </a:solidFill>
                  <a:latin typeface="Segoe UI"/>
                </a:rPr>
                <a:t>…</a:t>
              </a:r>
            </a:p>
          </p:txBody>
        </p:sp>
      </p:grpSp>
      <p:sp>
        <p:nvSpPr>
          <p:cNvPr id="17" name="Title 16"/>
          <p:cNvSpPr>
            <a:spLocks noGrp="1"/>
          </p:cNvSpPr>
          <p:nvPr>
            <p:ph type="title"/>
          </p:nvPr>
        </p:nvSpPr>
        <p:spPr/>
        <p:txBody>
          <a:bodyPr/>
          <a:lstStyle/>
          <a:p>
            <a:r>
              <a:rPr lang="en-US" dirty="0"/>
              <a:t>Synapse SQL MPP Architecture</a:t>
            </a:r>
          </a:p>
        </p:txBody>
      </p:sp>
      <p:sp>
        <p:nvSpPr>
          <p:cNvPr id="45" name="Rounded Rectangle 44"/>
          <p:cNvSpPr/>
          <p:nvPr/>
        </p:nvSpPr>
        <p:spPr>
          <a:xfrm>
            <a:off x="4130281" y="1995323"/>
            <a:ext cx="829282" cy="177027"/>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73937">
              <a:defRPr/>
            </a:pPr>
            <a:r>
              <a:rPr lang="en-US" sz="1004" b="1" kern="0" dirty="0">
                <a:solidFill>
                  <a:prstClr val="white"/>
                </a:solidFill>
                <a:latin typeface="Calibri" panose="020F0502020204030204"/>
              </a:rPr>
              <a:t>DMS</a:t>
            </a:r>
          </a:p>
        </p:txBody>
      </p:sp>
      <p:sp>
        <p:nvSpPr>
          <p:cNvPr id="221" name="Rounded Rectangle 220"/>
          <p:cNvSpPr/>
          <p:nvPr/>
        </p:nvSpPr>
        <p:spPr>
          <a:xfrm>
            <a:off x="668330" y="3617894"/>
            <a:ext cx="685355" cy="177027"/>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73937">
              <a:defRPr/>
            </a:pPr>
            <a:r>
              <a:rPr lang="en-US" sz="1004" b="1" kern="0" dirty="0">
                <a:solidFill>
                  <a:prstClr val="white"/>
                </a:solidFill>
                <a:latin typeface="Calibri" panose="020F0502020204030204"/>
              </a:rPr>
              <a:t>DMS</a:t>
            </a:r>
          </a:p>
        </p:txBody>
      </p:sp>
      <p:sp>
        <p:nvSpPr>
          <p:cNvPr id="185" name="Rounded Rectangle 184"/>
          <p:cNvSpPr/>
          <p:nvPr/>
        </p:nvSpPr>
        <p:spPr>
          <a:xfrm>
            <a:off x="2992361" y="3604453"/>
            <a:ext cx="685355" cy="177027"/>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73937">
              <a:defRPr/>
            </a:pPr>
            <a:r>
              <a:rPr lang="en-US" sz="1004" b="1" kern="0" dirty="0">
                <a:solidFill>
                  <a:prstClr val="white"/>
                </a:solidFill>
                <a:latin typeface="Calibri" panose="020F0502020204030204"/>
              </a:rPr>
              <a:t>DMS</a:t>
            </a:r>
          </a:p>
        </p:txBody>
      </p:sp>
      <p:sp>
        <p:nvSpPr>
          <p:cNvPr id="211" name="Rounded Rectangle 210"/>
          <p:cNvSpPr/>
          <p:nvPr/>
        </p:nvSpPr>
        <p:spPr>
          <a:xfrm>
            <a:off x="5316393" y="3604453"/>
            <a:ext cx="685355" cy="177027"/>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73937">
              <a:defRPr/>
            </a:pPr>
            <a:r>
              <a:rPr lang="en-US" sz="1004" b="1" kern="0" dirty="0">
                <a:solidFill>
                  <a:prstClr val="white"/>
                </a:solidFill>
                <a:latin typeface="Calibri" panose="020F0502020204030204"/>
              </a:rPr>
              <a:t>DMS</a:t>
            </a:r>
          </a:p>
        </p:txBody>
      </p:sp>
      <p:sp>
        <p:nvSpPr>
          <p:cNvPr id="256" name="Rounded Rectangle 255"/>
          <p:cNvSpPr/>
          <p:nvPr/>
        </p:nvSpPr>
        <p:spPr>
          <a:xfrm>
            <a:off x="7640425" y="3604453"/>
            <a:ext cx="685355" cy="177027"/>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73937">
              <a:defRPr/>
            </a:pPr>
            <a:r>
              <a:rPr lang="en-US" sz="1004" b="1" kern="0" dirty="0">
                <a:solidFill>
                  <a:prstClr val="white"/>
                </a:solidFill>
                <a:latin typeface="Calibri" panose="020F0502020204030204"/>
              </a:rPr>
              <a:t>DMS</a:t>
            </a:r>
          </a:p>
        </p:txBody>
      </p:sp>
      <p:sp>
        <p:nvSpPr>
          <p:cNvPr id="109" name="Rounded Rectangle 108"/>
          <p:cNvSpPr/>
          <p:nvPr/>
        </p:nvSpPr>
        <p:spPr>
          <a:xfrm>
            <a:off x="9134811" y="2598465"/>
            <a:ext cx="2983907" cy="1212212"/>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algn="ctr" defTabSz="896178">
              <a:defRPr/>
            </a:pPr>
            <a:r>
              <a:rPr lang="en-US" sz="1632" u="sng" kern="0" dirty="0">
                <a:solidFill>
                  <a:prstClr val="white"/>
                </a:solidFill>
                <a:latin typeface="Calibri" panose="020F0502020204030204"/>
              </a:rPr>
              <a:t>Compute </a:t>
            </a:r>
          </a:p>
          <a:p>
            <a:pPr algn="ctr" defTabSz="896178">
              <a:defRPr/>
            </a:pPr>
            <a:r>
              <a:rPr lang="en-US" sz="1632" kern="0" dirty="0">
                <a:solidFill>
                  <a:prstClr val="white"/>
                </a:solidFill>
                <a:latin typeface="Calibri" panose="020F0502020204030204"/>
              </a:rPr>
              <a:t>Handles query processing, ability to scale up/down</a:t>
            </a:r>
          </a:p>
        </p:txBody>
      </p:sp>
      <p:sp>
        <p:nvSpPr>
          <p:cNvPr id="111" name="Rounded Rectangle 110"/>
          <p:cNvSpPr/>
          <p:nvPr/>
        </p:nvSpPr>
        <p:spPr>
          <a:xfrm>
            <a:off x="9134811" y="1158607"/>
            <a:ext cx="2983907" cy="1212212"/>
          </a:xfrm>
          <a:prstGeom prst="roundRect">
            <a:avLst/>
          </a:prstGeom>
          <a:solidFill>
            <a:srgbClr val="0078D7"/>
          </a:solidFill>
          <a:ln w="12700" cap="flat" cmpd="sng" algn="ctr">
            <a:solidFill>
              <a:sysClr val="windowText" lastClr="000000"/>
            </a:solidFill>
            <a:prstDash val="solid"/>
            <a:miter lim="800000"/>
          </a:ln>
          <a:effectLst/>
        </p:spPr>
        <p:txBody>
          <a:bodyPr rtlCol="0" anchor="ctr"/>
          <a:lstStyle/>
          <a:p>
            <a:pPr algn="ctr" defTabSz="896178">
              <a:defRPr/>
            </a:pPr>
            <a:r>
              <a:rPr lang="en-US" sz="1632" u="sng" kern="0" dirty="0">
                <a:solidFill>
                  <a:prstClr val="white"/>
                </a:solidFill>
                <a:latin typeface="Calibri" panose="020F0502020204030204"/>
              </a:rPr>
              <a:t>Control </a:t>
            </a:r>
          </a:p>
          <a:p>
            <a:pPr algn="ctr" defTabSz="896178">
              <a:defRPr/>
            </a:pPr>
            <a:r>
              <a:rPr lang="en-US" sz="1632" kern="0" dirty="0">
                <a:solidFill>
                  <a:prstClr val="white"/>
                </a:solidFill>
                <a:latin typeface="Calibri" panose="020F0502020204030204"/>
              </a:rPr>
              <a:t>Connection and tool endpoint.  Coordinates compute activity.</a:t>
            </a:r>
          </a:p>
        </p:txBody>
      </p:sp>
      <p:sp>
        <p:nvSpPr>
          <p:cNvPr id="112" name="Rounded Rectangle 111"/>
          <p:cNvSpPr/>
          <p:nvPr/>
        </p:nvSpPr>
        <p:spPr>
          <a:xfrm>
            <a:off x="9134811" y="4038323"/>
            <a:ext cx="2983907" cy="1212212"/>
          </a:xfrm>
          <a:prstGeom prst="roundRect">
            <a:avLst/>
          </a:prstGeom>
          <a:solidFill>
            <a:srgbClr val="7030A0"/>
          </a:solidFill>
          <a:ln w="12700" cap="flat" cmpd="sng" algn="ctr">
            <a:solidFill>
              <a:sysClr val="windowText" lastClr="000000"/>
            </a:solidFill>
            <a:prstDash val="solid"/>
            <a:miter lim="800000"/>
          </a:ln>
          <a:effectLst/>
        </p:spPr>
        <p:txBody>
          <a:bodyPr rtlCol="0" anchor="ctr"/>
          <a:lstStyle/>
          <a:p>
            <a:pPr algn="ctr" defTabSz="896178">
              <a:defRPr/>
            </a:pPr>
            <a:r>
              <a:rPr lang="en-US" sz="1632" u="sng" kern="0" dirty="0">
                <a:solidFill>
                  <a:prstClr val="white"/>
                </a:solidFill>
                <a:latin typeface="Segoe UI"/>
              </a:rPr>
              <a:t>DMS: </a:t>
            </a:r>
            <a:r>
              <a:rPr lang="en-US" sz="1632" u="sng" kern="0" dirty="0">
                <a:solidFill>
                  <a:prstClr val="white"/>
                </a:solidFill>
                <a:latin typeface="Calibri" panose="020F0502020204030204"/>
              </a:rPr>
              <a:t>Data Movement Services / Instant Data Movement</a:t>
            </a:r>
          </a:p>
          <a:p>
            <a:pPr algn="ctr" defTabSz="896178">
              <a:defRPr/>
            </a:pPr>
            <a:r>
              <a:rPr lang="en-US" sz="1632" kern="0" dirty="0">
                <a:solidFill>
                  <a:prstClr val="white"/>
                </a:solidFill>
                <a:latin typeface="Calibri" panose="020F0502020204030204"/>
              </a:rPr>
              <a:t>Coordinates data movement between node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1123993" y="5400059"/>
            <a:ext cx="7101990" cy="1462921"/>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85035" y="5770563"/>
            <a:ext cx="1405031" cy="493052"/>
          </a:xfrm>
          <a:prstGeom prst="rect">
            <a:avLst/>
          </a:prstGeom>
          <a:noFill/>
        </p:spPr>
        <p:txBody>
          <a:bodyPr wrap="none" lIns="182854" tIns="146283" rIns="182854" bIns="146283" rtlCol="0">
            <a:spAutoFit/>
          </a:bodyPr>
          <a:lstStyle/>
          <a:p>
            <a:pPr defTabSz="932597">
              <a:lnSpc>
                <a:spcPct val="90000"/>
              </a:lnSpc>
              <a:spcAft>
                <a:spcPts val="600"/>
              </a:spcAft>
            </a:pPr>
            <a:r>
              <a:rPr lang="en-US" sz="1399" dirty="0">
                <a:gradFill>
                  <a:gsLst>
                    <a:gs pos="2917">
                      <a:srgbClr val="000000"/>
                    </a:gs>
                    <a:gs pos="30000">
                      <a:srgbClr val="000000"/>
                    </a:gs>
                  </a:gsLst>
                  <a:lin ang="5400000" scaled="0"/>
                </a:gradFill>
                <a:latin typeface="Segoe UI"/>
              </a:rPr>
              <a:t>Blob Storage</a:t>
            </a:r>
          </a:p>
        </p:txBody>
      </p:sp>
      <p:sp>
        <p:nvSpPr>
          <p:cNvPr id="78" name="Rounded Rectangle 111">
            <a:extLst>
              <a:ext uri="{FF2B5EF4-FFF2-40B4-BE49-F238E27FC236}">
                <a16:creationId xmlns:a16="http://schemas.microsoft.com/office/drawing/2014/main" id="{8CD93663-B041-43AF-98EC-E32CBE5AF904}"/>
              </a:ext>
            </a:extLst>
          </p:cNvPr>
          <p:cNvSpPr/>
          <p:nvPr/>
        </p:nvSpPr>
        <p:spPr>
          <a:xfrm>
            <a:off x="9134811" y="5478182"/>
            <a:ext cx="2983907" cy="1212212"/>
          </a:xfrm>
          <a:prstGeom prst="roundRect">
            <a:avLst/>
          </a:prstGeom>
          <a:solidFill>
            <a:srgbClr val="002050">
              <a:lumMod val="25000"/>
              <a:lumOff val="75000"/>
            </a:srgbClr>
          </a:solidFill>
          <a:ln w="12700" cap="flat" cmpd="sng" algn="ctr">
            <a:solidFill>
              <a:sysClr val="windowText" lastClr="000000"/>
            </a:solidFill>
            <a:prstDash val="solid"/>
            <a:miter lim="800000"/>
          </a:ln>
          <a:effectLst/>
        </p:spPr>
        <p:txBody>
          <a:bodyPr rtlCol="0" anchor="ctr"/>
          <a:lstStyle/>
          <a:p>
            <a:pPr algn="ctr" defTabSz="896178">
              <a:defRPr/>
            </a:pPr>
            <a:r>
              <a:rPr lang="en-US" sz="1632" u="sng" kern="0" dirty="0">
                <a:solidFill>
                  <a:prstClr val="white"/>
                </a:solidFill>
                <a:latin typeface="Segoe UI Semilight"/>
              </a:rPr>
              <a:t>Storage</a:t>
            </a:r>
            <a:endParaRPr lang="en-US" sz="1632" u="sng" kern="0" dirty="0">
              <a:solidFill>
                <a:prstClr val="white"/>
              </a:solidFill>
              <a:latin typeface="Calibri" panose="020F0502020204030204"/>
            </a:endParaRPr>
          </a:p>
          <a:p>
            <a:pPr algn="ctr" defTabSz="896178">
              <a:defRPr/>
            </a:pPr>
            <a:r>
              <a:rPr lang="en-US" sz="1632" kern="0" dirty="0">
                <a:solidFill>
                  <a:prstClr val="white"/>
                </a:solidFill>
                <a:latin typeface="Calibri" panose="020F0502020204030204"/>
              </a:rPr>
              <a:t>Remote storage.  Scales independently of compute</a:t>
            </a:r>
          </a:p>
        </p:txBody>
      </p: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700"/>
                                        <p:tgtEl>
                                          <p:spTgt spid="5"/>
                                        </p:tgtEl>
                                      </p:cBhvr>
                                    </p:animEffect>
                                  </p:childTnLst>
                                </p:cTn>
                              </p:par>
                            </p:childTnLst>
                          </p:cTn>
                        </p:par>
                        <p:par>
                          <p:cTn id="14" fill="hold">
                            <p:stCondLst>
                              <p:cond delay="2200"/>
                            </p:stCondLst>
                            <p:childTnLst>
                              <p:par>
                                <p:cTn id="15" presetID="2" presetClass="entr" presetSubtype="4"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2800" fill="hold"/>
                                        <p:tgtEl>
                                          <p:spTgt spid="27"/>
                                        </p:tgtEl>
                                        <p:attrNameLst>
                                          <p:attrName>ppt_x</p:attrName>
                                        </p:attrNameLst>
                                      </p:cBhvr>
                                      <p:tavLst>
                                        <p:tav tm="0">
                                          <p:val>
                                            <p:strVal val="#ppt_x"/>
                                          </p:val>
                                        </p:tav>
                                        <p:tav tm="100000">
                                          <p:val>
                                            <p:strVal val="#ppt_x"/>
                                          </p:val>
                                        </p:tav>
                                      </p:tavLst>
                                    </p:anim>
                                    <p:anim calcmode="lin" valueType="num">
                                      <p:cBhvr additive="base">
                                        <p:cTn id="18" dur="28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2800" fill="hold"/>
                                        <p:tgtEl>
                                          <p:spTgt spid="111"/>
                                        </p:tgtEl>
                                        <p:attrNameLst>
                                          <p:attrName>ppt_x</p:attrName>
                                        </p:attrNameLst>
                                      </p:cBhvr>
                                      <p:tavLst>
                                        <p:tav tm="0">
                                          <p:val>
                                            <p:strVal val="#ppt_x"/>
                                          </p:val>
                                        </p:tav>
                                        <p:tav tm="100000">
                                          <p:val>
                                            <p:strVal val="#ppt_x"/>
                                          </p:val>
                                        </p:tav>
                                      </p:tavLst>
                                    </p:anim>
                                    <p:anim calcmode="lin" valueType="num">
                                      <p:cBhvr additive="base">
                                        <p:cTn id="22" dur="2800" fill="hold"/>
                                        <p:tgtEl>
                                          <p:spTgt spid="111"/>
                                        </p:tgtEl>
                                        <p:attrNameLst>
                                          <p:attrName>ppt_y</p:attrName>
                                        </p:attrNameLst>
                                      </p:cBhvr>
                                      <p:tavLst>
                                        <p:tav tm="0">
                                          <p:val>
                                            <p:strVal val="1+#ppt_h/2"/>
                                          </p:val>
                                        </p:tav>
                                        <p:tav tm="100000">
                                          <p:val>
                                            <p:strVal val="#ppt_y"/>
                                          </p:val>
                                        </p:tav>
                                      </p:tavLst>
                                    </p:anim>
                                  </p:childTnLst>
                                </p:cTn>
                              </p:par>
                            </p:childTnLst>
                          </p:cTn>
                        </p:par>
                        <p:par>
                          <p:cTn id="23" fill="hold">
                            <p:stCondLst>
                              <p:cond delay="50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40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40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40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40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4000"/>
                                        <p:tgtEl>
                                          <p:spTgt spid="109"/>
                                        </p:tgtEl>
                                      </p:cBhvr>
                                    </p:animEffect>
                                  </p:childTnLst>
                                </p:cTn>
                              </p:par>
                            </p:childTnLst>
                          </p:cTn>
                        </p:par>
                        <p:par>
                          <p:cTn id="39" fill="hold">
                            <p:stCondLst>
                              <p:cond delay="90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animEffect transition="in" filter="fade">
                                      <p:cBhvr>
                                        <p:cTn id="47" dur="1000"/>
                                        <p:tgtEl>
                                          <p:spTgt spid="221"/>
                                        </p:tgtEl>
                                      </p:cBhvr>
                                    </p:animEffect>
                                    <p:anim calcmode="lin" valueType="num">
                                      <p:cBhvr>
                                        <p:cTn id="48" dur="1000" fill="hold"/>
                                        <p:tgtEl>
                                          <p:spTgt spid="221"/>
                                        </p:tgtEl>
                                        <p:attrNameLst>
                                          <p:attrName>ppt_x</p:attrName>
                                        </p:attrNameLst>
                                      </p:cBhvr>
                                      <p:tavLst>
                                        <p:tav tm="0">
                                          <p:val>
                                            <p:strVal val="#ppt_x"/>
                                          </p:val>
                                        </p:tav>
                                        <p:tav tm="100000">
                                          <p:val>
                                            <p:strVal val="#ppt_x"/>
                                          </p:val>
                                        </p:tav>
                                      </p:tavLst>
                                    </p:anim>
                                    <p:anim calcmode="lin" valueType="num">
                                      <p:cBhvr>
                                        <p:cTn id="49" dur="1000" fill="hold"/>
                                        <p:tgtEl>
                                          <p:spTgt spid="2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85"/>
                                        </p:tgtEl>
                                        <p:attrNameLst>
                                          <p:attrName>style.visibility</p:attrName>
                                        </p:attrNameLst>
                                      </p:cBhvr>
                                      <p:to>
                                        <p:strVal val="visible"/>
                                      </p:to>
                                    </p:set>
                                    <p:animEffect transition="in" filter="fade">
                                      <p:cBhvr>
                                        <p:cTn id="52" dur="1000"/>
                                        <p:tgtEl>
                                          <p:spTgt spid="185"/>
                                        </p:tgtEl>
                                      </p:cBhvr>
                                    </p:animEffect>
                                    <p:anim calcmode="lin" valueType="num">
                                      <p:cBhvr>
                                        <p:cTn id="53" dur="1000" fill="hold"/>
                                        <p:tgtEl>
                                          <p:spTgt spid="185"/>
                                        </p:tgtEl>
                                        <p:attrNameLst>
                                          <p:attrName>ppt_x</p:attrName>
                                        </p:attrNameLst>
                                      </p:cBhvr>
                                      <p:tavLst>
                                        <p:tav tm="0">
                                          <p:val>
                                            <p:strVal val="#ppt_x"/>
                                          </p:val>
                                        </p:tav>
                                        <p:tav tm="100000">
                                          <p:val>
                                            <p:strVal val="#ppt_x"/>
                                          </p:val>
                                        </p:tav>
                                      </p:tavLst>
                                    </p:anim>
                                    <p:anim calcmode="lin" valueType="num">
                                      <p:cBhvr>
                                        <p:cTn id="54" dur="1000" fill="hold"/>
                                        <p:tgtEl>
                                          <p:spTgt spid="18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fade">
                                      <p:cBhvr>
                                        <p:cTn id="57" dur="1000"/>
                                        <p:tgtEl>
                                          <p:spTgt spid="211"/>
                                        </p:tgtEl>
                                      </p:cBhvr>
                                    </p:animEffect>
                                    <p:anim calcmode="lin" valueType="num">
                                      <p:cBhvr>
                                        <p:cTn id="58" dur="1000" fill="hold"/>
                                        <p:tgtEl>
                                          <p:spTgt spid="211"/>
                                        </p:tgtEl>
                                        <p:attrNameLst>
                                          <p:attrName>ppt_x</p:attrName>
                                        </p:attrNameLst>
                                      </p:cBhvr>
                                      <p:tavLst>
                                        <p:tav tm="0">
                                          <p:val>
                                            <p:strVal val="#ppt_x"/>
                                          </p:val>
                                        </p:tav>
                                        <p:tav tm="100000">
                                          <p:val>
                                            <p:strVal val="#ppt_x"/>
                                          </p:val>
                                        </p:tav>
                                      </p:tavLst>
                                    </p:anim>
                                    <p:anim calcmode="lin" valueType="num">
                                      <p:cBhvr>
                                        <p:cTn id="59" dur="1000" fill="hold"/>
                                        <p:tgtEl>
                                          <p:spTgt spid="21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56"/>
                                        </p:tgtEl>
                                        <p:attrNameLst>
                                          <p:attrName>style.visibility</p:attrName>
                                        </p:attrNameLst>
                                      </p:cBhvr>
                                      <p:to>
                                        <p:strVal val="visible"/>
                                      </p:to>
                                    </p:set>
                                    <p:animEffect transition="in" filter="fade">
                                      <p:cBhvr>
                                        <p:cTn id="62" dur="1000"/>
                                        <p:tgtEl>
                                          <p:spTgt spid="256"/>
                                        </p:tgtEl>
                                      </p:cBhvr>
                                    </p:animEffect>
                                    <p:anim calcmode="lin" valueType="num">
                                      <p:cBhvr>
                                        <p:cTn id="63" dur="1000" fill="hold"/>
                                        <p:tgtEl>
                                          <p:spTgt spid="256"/>
                                        </p:tgtEl>
                                        <p:attrNameLst>
                                          <p:attrName>ppt_x</p:attrName>
                                        </p:attrNameLst>
                                      </p:cBhvr>
                                      <p:tavLst>
                                        <p:tav tm="0">
                                          <p:val>
                                            <p:strVal val="#ppt_x"/>
                                          </p:val>
                                        </p:tav>
                                        <p:tav tm="100000">
                                          <p:val>
                                            <p:strVal val="#ppt_x"/>
                                          </p:val>
                                        </p:tav>
                                      </p:tavLst>
                                    </p:anim>
                                    <p:anim calcmode="lin" valueType="num">
                                      <p:cBhvr>
                                        <p:cTn id="64" dur="1000" fill="hold"/>
                                        <p:tgtEl>
                                          <p:spTgt spid="25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39"/>
                                        </p:tgtEl>
                                        <p:attrNameLst>
                                          <p:attrName>style.visibility</p:attrName>
                                        </p:attrNameLst>
                                      </p:cBhvr>
                                      <p:to>
                                        <p:strVal val="visible"/>
                                      </p:to>
                                    </p:set>
                                    <p:animEffect transition="in" filter="fade">
                                      <p:cBhvr>
                                        <p:cTn id="67" dur="1000"/>
                                        <p:tgtEl>
                                          <p:spTgt spid="239"/>
                                        </p:tgtEl>
                                      </p:cBhvr>
                                    </p:animEffect>
                                    <p:anim calcmode="lin" valueType="num">
                                      <p:cBhvr>
                                        <p:cTn id="68" dur="1000" fill="hold"/>
                                        <p:tgtEl>
                                          <p:spTgt spid="239"/>
                                        </p:tgtEl>
                                        <p:attrNameLst>
                                          <p:attrName>ppt_x</p:attrName>
                                        </p:attrNameLst>
                                      </p:cBhvr>
                                      <p:tavLst>
                                        <p:tav tm="0">
                                          <p:val>
                                            <p:strVal val="#ppt_x"/>
                                          </p:val>
                                        </p:tav>
                                        <p:tav tm="100000">
                                          <p:val>
                                            <p:strVal val="#ppt_x"/>
                                          </p:val>
                                        </p:tav>
                                      </p:tavLst>
                                    </p:anim>
                                    <p:anim calcmode="lin" valueType="num">
                                      <p:cBhvr>
                                        <p:cTn id="69" dur="1000" fill="hold"/>
                                        <p:tgtEl>
                                          <p:spTgt spid="23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2"/>
                                        </p:tgtEl>
                                        <p:attrNameLst>
                                          <p:attrName>style.visibility</p:attrName>
                                        </p:attrNameLst>
                                      </p:cBhvr>
                                      <p:to>
                                        <p:strVal val="visible"/>
                                      </p:to>
                                    </p:set>
                                    <p:animEffect transition="in" filter="fade">
                                      <p:cBhvr>
                                        <p:cTn id="72" dur="1000"/>
                                        <p:tgtEl>
                                          <p:spTgt spid="112"/>
                                        </p:tgtEl>
                                      </p:cBhvr>
                                    </p:animEffect>
                                    <p:anim calcmode="lin" valueType="num">
                                      <p:cBhvr>
                                        <p:cTn id="73" dur="1000" fill="hold"/>
                                        <p:tgtEl>
                                          <p:spTgt spid="112"/>
                                        </p:tgtEl>
                                        <p:attrNameLst>
                                          <p:attrName>ppt_x</p:attrName>
                                        </p:attrNameLst>
                                      </p:cBhvr>
                                      <p:tavLst>
                                        <p:tav tm="0">
                                          <p:val>
                                            <p:strVal val="#ppt_x"/>
                                          </p:val>
                                        </p:tav>
                                        <p:tav tm="100000">
                                          <p:val>
                                            <p:strVal val="#ppt_x"/>
                                          </p:val>
                                        </p:tav>
                                      </p:tavLst>
                                    </p:anim>
                                    <p:anim calcmode="lin" valueType="num">
                                      <p:cBhvr>
                                        <p:cTn id="74" dur="1000" fill="hold"/>
                                        <p:tgtEl>
                                          <p:spTgt spid="11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28"/>
                                        </p:tgtEl>
                                        <p:attrNameLst>
                                          <p:attrName>style.visibility</p:attrName>
                                        </p:attrNameLst>
                                      </p:cBhvr>
                                      <p:to>
                                        <p:strVal val="visible"/>
                                      </p:to>
                                    </p:set>
                                    <p:animEffect transition="in" filter="fade">
                                      <p:cBhvr>
                                        <p:cTn id="77" dur="1000"/>
                                        <p:tgtEl>
                                          <p:spTgt spid="128"/>
                                        </p:tgtEl>
                                      </p:cBhvr>
                                    </p:animEffect>
                                    <p:anim calcmode="lin" valueType="num">
                                      <p:cBhvr>
                                        <p:cTn id="78" dur="1000" fill="hold"/>
                                        <p:tgtEl>
                                          <p:spTgt spid="128"/>
                                        </p:tgtEl>
                                        <p:attrNameLst>
                                          <p:attrName>ppt_x</p:attrName>
                                        </p:attrNameLst>
                                      </p:cBhvr>
                                      <p:tavLst>
                                        <p:tav tm="0">
                                          <p:val>
                                            <p:strVal val="#ppt_x"/>
                                          </p:val>
                                        </p:tav>
                                        <p:tav tm="100000">
                                          <p:val>
                                            <p:strVal val="#ppt_x"/>
                                          </p:val>
                                        </p:tav>
                                      </p:tavLst>
                                    </p:anim>
                                    <p:anim calcmode="lin" valueType="num">
                                      <p:cBhvr>
                                        <p:cTn id="79" dur="1000" fill="hold"/>
                                        <p:tgtEl>
                                          <p:spTgt spid="12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06"/>
                                        </p:tgtEl>
                                        <p:attrNameLst>
                                          <p:attrName>style.visibility</p:attrName>
                                        </p:attrNameLst>
                                      </p:cBhvr>
                                      <p:to>
                                        <p:strVal val="visible"/>
                                      </p:to>
                                    </p:set>
                                    <p:animEffect transition="in" filter="fade">
                                      <p:cBhvr>
                                        <p:cTn id="82" dur="1000"/>
                                        <p:tgtEl>
                                          <p:spTgt spid="306"/>
                                        </p:tgtEl>
                                      </p:cBhvr>
                                    </p:animEffect>
                                    <p:anim calcmode="lin" valueType="num">
                                      <p:cBhvr>
                                        <p:cTn id="83" dur="1000" fill="hold"/>
                                        <p:tgtEl>
                                          <p:spTgt spid="306"/>
                                        </p:tgtEl>
                                        <p:attrNameLst>
                                          <p:attrName>ppt_x</p:attrName>
                                        </p:attrNameLst>
                                      </p:cBhvr>
                                      <p:tavLst>
                                        <p:tav tm="0">
                                          <p:val>
                                            <p:strVal val="#ppt_x"/>
                                          </p:val>
                                        </p:tav>
                                        <p:tav tm="100000">
                                          <p:val>
                                            <p:strVal val="#ppt_x"/>
                                          </p:val>
                                        </p:tav>
                                      </p:tavLst>
                                    </p:anim>
                                    <p:anim calcmode="lin" valueType="num">
                                      <p:cBhvr>
                                        <p:cTn id="84" dur="1000" fill="hold"/>
                                        <p:tgtEl>
                                          <p:spTgt spid="30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fade">
                                      <p:cBhvr>
                                        <p:cTn id="87" dur="1000"/>
                                        <p:tgtEl>
                                          <p:spTgt spid="120"/>
                                        </p:tgtEl>
                                      </p:cBhvr>
                                    </p:animEffect>
                                    <p:anim calcmode="lin" valueType="num">
                                      <p:cBhvr>
                                        <p:cTn id="88" dur="1000" fill="hold"/>
                                        <p:tgtEl>
                                          <p:spTgt spid="120"/>
                                        </p:tgtEl>
                                        <p:attrNameLst>
                                          <p:attrName>ppt_x</p:attrName>
                                        </p:attrNameLst>
                                      </p:cBhvr>
                                      <p:tavLst>
                                        <p:tav tm="0">
                                          <p:val>
                                            <p:strVal val="#ppt_x"/>
                                          </p:val>
                                        </p:tav>
                                        <p:tav tm="100000">
                                          <p:val>
                                            <p:strVal val="#ppt_x"/>
                                          </p:val>
                                        </p:tav>
                                      </p:tavLst>
                                    </p:anim>
                                    <p:anim calcmode="lin" valueType="num">
                                      <p:cBhvr>
                                        <p:cTn id="89" dur="1000" fill="hold"/>
                                        <p:tgtEl>
                                          <p:spTgt spid="12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304"/>
                                        </p:tgtEl>
                                        <p:attrNameLst>
                                          <p:attrName>style.visibility</p:attrName>
                                        </p:attrNameLst>
                                      </p:cBhvr>
                                      <p:to>
                                        <p:strVal val="visible"/>
                                      </p:to>
                                    </p:set>
                                    <p:animEffect transition="in" filter="fade">
                                      <p:cBhvr>
                                        <p:cTn id="92" dur="1000"/>
                                        <p:tgtEl>
                                          <p:spTgt spid="304"/>
                                        </p:tgtEl>
                                      </p:cBhvr>
                                    </p:animEffect>
                                    <p:anim calcmode="lin" valueType="num">
                                      <p:cBhvr>
                                        <p:cTn id="93" dur="1000" fill="hold"/>
                                        <p:tgtEl>
                                          <p:spTgt spid="304"/>
                                        </p:tgtEl>
                                        <p:attrNameLst>
                                          <p:attrName>ppt_x</p:attrName>
                                        </p:attrNameLst>
                                      </p:cBhvr>
                                      <p:tavLst>
                                        <p:tav tm="0">
                                          <p:val>
                                            <p:strVal val="#ppt_x"/>
                                          </p:val>
                                        </p:tav>
                                        <p:tav tm="100000">
                                          <p:val>
                                            <p:strVal val="#ppt_x"/>
                                          </p:val>
                                        </p:tav>
                                      </p:tavLst>
                                    </p:anim>
                                    <p:anim calcmode="lin" valueType="num">
                                      <p:cBhvr>
                                        <p:cTn id="94"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p:bldP spid="45" grpId="0" animBg="1"/>
      <p:bldP spid="221" grpId="0" animBg="1"/>
      <p:bldP spid="185" grpId="0" animBg="1"/>
      <p:bldP spid="211" grpId="0" animBg="1"/>
      <p:bldP spid="256" grpId="0" animBg="1"/>
      <p:bldP spid="109" grpId="0" animBg="1"/>
      <p:bldP spid="111" grpId="0" animBg="1"/>
      <p:bldP spid="112" grpId="0" animBg="1"/>
      <p:bldP spid="5" grpId="0"/>
      <p:bldP spid="7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ADFFC8E-08A0-4A16-966B-BC7BBEE6E838}"/>
              </a:ext>
            </a:extLst>
          </p:cNvPr>
          <p:cNvSpPr txBox="1">
            <a:spLocks/>
          </p:cNvSpPr>
          <p:nvPr/>
        </p:nvSpPr>
        <p:spPr>
          <a:xfrm>
            <a:off x="427034" y="373062"/>
            <a:ext cx="11340655" cy="474489"/>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Materialized Views in SQL Pools: Benefits</a:t>
            </a:r>
            <a:endParaRPr lang="en-US" dirty="0">
              <a:solidFill>
                <a:srgbClr val="0078D7"/>
              </a:solidFill>
            </a:endParaRPr>
          </a:p>
        </p:txBody>
      </p:sp>
      <p:graphicFrame>
        <p:nvGraphicFramePr>
          <p:cNvPr id="9" name="Diagram 8">
            <a:extLst>
              <a:ext uri="{FF2B5EF4-FFF2-40B4-BE49-F238E27FC236}">
                <a16:creationId xmlns:a16="http://schemas.microsoft.com/office/drawing/2014/main" id="{5596041B-077C-47F7-8C52-CBDBA4C8D13C}"/>
              </a:ext>
            </a:extLst>
          </p:cNvPr>
          <p:cNvGraphicFramePr/>
          <p:nvPr>
            <p:extLst>
              <p:ext uri="{D42A27DB-BD31-4B8C-83A1-F6EECF244321}">
                <p14:modId xmlns:p14="http://schemas.microsoft.com/office/powerpoint/2010/main" val="1039302144"/>
              </p:ext>
            </p:extLst>
          </p:nvPr>
        </p:nvGraphicFramePr>
        <p:xfrm>
          <a:off x="808037" y="1160061"/>
          <a:ext cx="10959651" cy="54614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980507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515826-5849-441D-8C4A-CD72633F3B82}"/>
              </a:ext>
            </a:extLst>
          </p:cNvPr>
          <p:cNvSpPr>
            <a:spLocks noGrp="1"/>
          </p:cNvSpPr>
          <p:nvPr>
            <p:ph type="title"/>
          </p:nvPr>
        </p:nvSpPr>
        <p:spPr>
          <a:xfrm>
            <a:off x="427037" y="449262"/>
            <a:ext cx="11098906" cy="470856"/>
          </a:xfrm>
        </p:spPr>
        <p:txBody>
          <a:bodyPr/>
          <a:lstStyle/>
          <a:p>
            <a:r>
              <a:rPr lang="en-US" dirty="0"/>
              <a:t>Materialized Views in SQL Pools: Other Considerations</a:t>
            </a:r>
          </a:p>
        </p:txBody>
      </p:sp>
      <p:graphicFrame>
        <p:nvGraphicFramePr>
          <p:cNvPr id="7" name="Diagram 6">
            <a:extLst>
              <a:ext uri="{FF2B5EF4-FFF2-40B4-BE49-F238E27FC236}">
                <a16:creationId xmlns:a16="http://schemas.microsoft.com/office/drawing/2014/main" id="{DA6F252D-B69F-4FE4-A262-84350D81E397}"/>
              </a:ext>
            </a:extLst>
          </p:cNvPr>
          <p:cNvGraphicFramePr/>
          <p:nvPr>
            <p:extLst>
              <p:ext uri="{D42A27DB-BD31-4B8C-83A1-F6EECF244321}">
                <p14:modId xmlns:p14="http://schemas.microsoft.com/office/powerpoint/2010/main" val="3354632193"/>
              </p:ext>
            </p:extLst>
          </p:nvPr>
        </p:nvGraphicFramePr>
        <p:xfrm>
          <a:off x="1036637" y="1363662"/>
          <a:ext cx="10489306" cy="4800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450153804"/>
      </p:ext>
    </p:extLst>
  </p:cSld>
  <p:clrMapOvr>
    <a:masterClrMapping/>
  </p:clrMapOvr>
  <p:transition>
    <p:fade/>
  </p:transition>
  <p:extLst>
    <p:ext uri="{6950BFC3-D8DA-4A85-94F7-54DA5524770B}">
      <p188:commentRel xmlns:p188="http://schemas.microsoft.com/office/powerpoint/2018/8/main" r:id="rId3"/>
    </p:ext>
  </p:extLs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5F33E138-3E70-41CC-B1B8-518C4B56EFB4}"/>
              </a:ext>
            </a:extLst>
          </p:cNvPr>
          <p:cNvSpPr>
            <a:spLocks noGrp="1"/>
          </p:cNvSpPr>
          <p:nvPr>
            <p:ph type="body" sz="quarter" idx="10"/>
          </p:nvPr>
        </p:nvSpPr>
        <p:spPr>
          <a:xfrm>
            <a:off x="427037" y="1212850"/>
            <a:ext cx="11506200" cy="2059538"/>
          </a:xfrm>
          <a:solidFill>
            <a:schemeClr val="tx2"/>
          </a:solidFill>
        </p:spPr>
        <p:txBody>
          <a:bodyPr/>
          <a:lstStyle/>
          <a:p>
            <a:pPr marL="0" indent="0">
              <a:buNone/>
            </a:pPr>
            <a:r>
              <a:rPr lang="en-US" sz="3200" dirty="0">
                <a:solidFill>
                  <a:schemeClr val="bg1"/>
                </a:solidFill>
              </a:rPr>
              <a:t>EXPLAIN WITH_RECOMMENDATIONS can identify candidate MVs, </a:t>
            </a:r>
            <a:r>
              <a:rPr lang="en-US" sz="3200" i="1" dirty="0">
                <a:solidFill>
                  <a:schemeClr val="bg1"/>
                </a:solidFill>
              </a:rPr>
              <a:t>but …</a:t>
            </a:r>
          </a:p>
          <a:p>
            <a:pPr marL="0" indent="0">
              <a:buNone/>
            </a:pPr>
            <a:r>
              <a:rPr lang="en-US" sz="3200" dirty="0">
                <a:solidFill>
                  <a:schemeClr val="bg1"/>
                </a:solidFill>
              </a:rPr>
              <a:t>Results will be query specific, not considering the overall workload</a:t>
            </a:r>
          </a:p>
        </p:txBody>
      </p:sp>
      <p:sp>
        <p:nvSpPr>
          <p:cNvPr id="2" name="TextBox 1">
            <a:extLst>
              <a:ext uri="{FF2B5EF4-FFF2-40B4-BE49-F238E27FC236}">
                <a16:creationId xmlns:a16="http://schemas.microsoft.com/office/drawing/2014/main" id="{106D71ED-AD70-491B-BACC-6B787A1BCF3E}"/>
              </a:ext>
            </a:extLst>
          </p:cNvPr>
          <p:cNvSpPr txBox="1"/>
          <p:nvPr/>
        </p:nvSpPr>
        <p:spPr>
          <a:xfrm>
            <a:off x="247365" y="3497631"/>
            <a:ext cx="9982200" cy="3428631"/>
          </a:xfrm>
          <a:prstGeom prst="rect">
            <a:avLst/>
          </a:prstGeom>
          <a:noFill/>
        </p:spPr>
        <p:txBody>
          <a:bodyPr wrap="square" lIns="182880" tIns="146304" rIns="182880" bIns="146304" rtlCol="0">
            <a:spAutoFit/>
          </a:bodyPr>
          <a:lstStyle/>
          <a:p>
            <a:pPr>
              <a:lnSpc>
                <a:spcPct val="90000"/>
              </a:lnSpc>
              <a:spcAft>
                <a:spcPts val="600"/>
              </a:spcAft>
            </a:pPr>
            <a:r>
              <a:rPr lang="en-US" sz="1100" b="0" i="0" dirty="0">
                <a:solidFill>
                  <a:srgbClr val="008000"/>
                </a:solidFill>
                <a:effectLst/>
                <a:latin typeface="SFMono-Regular"/>
              </a:rPr>
              <a:t>-- Query 1 would benefit from having a materialized view created with this SELECT statement</a:t>
            </a:r>
            <a:r>
              <a:rPr lang="en-US" sz="1100" b="0" i="0" dirty="0">
                <a:solidFill>
                  <a:srgbClr val="171717"/>
                </a:solidFill>
                <a:effectLst/>
                <a:latin typeface="SFMono-Regular"/>
              </a:rPr>
              <a:t> </a:t>
            </a:r>
          </a:p>
          <a:p>
            <a:pPr>
              <a:lnSpc>
                <a:spcPct val="90000"/>
              </a:lnSpc>
              <a:spcAft>
                <a:spcPts val="600"/>
              </a:spcAft>
            </a:pPr>
            <a:r>
              <a:rPr lang="en-US" sz="1100" b="0" i="0" dirty="0">
                <a:solidFill>
                  <a:srgbClr val="0101FD"/>
                </a:solidFill>
                <a:effectLst/>
                <a:latin typeface="SFMono-Regular"/>
              </a:rPr>
              <a:t>SELECT</a:t>
            </a:r>
            <a:r>
              <a:rPr lang="en-US" sz="1100" b="0" i="0" dirty="0">
                <a:solidFill>
                  <a:srgbClr val="171717"/>
                </a:solidFill>
                <a:effectLst/>
                <a:latin typeface="SFMono-Regular"/>
              </a:rPr>
              <a:t> A, </a:t>
            </a:r>
            <a:r>
              <a:rPr lang="en-US" sz="1100" b="0" i="0" dirty="0">
                <a:solidFill>
                  <a:srgbClr val="0101FD"/>
                </a:solidFill>
                <a:effectLst/>
                <a:latin typeface="SFMono-Regular"/>
              </a:rPr>
              <a:t>SUM</a:t>
            </a:r>
            <a:r>
              <a:rPr lang="en-US" sz="1100" b="0" i="0" dirty="0">
                <a:solidFill>
                  <a:srgbClr val="171717"/>
                </a:solidFill>
                <a:effectLst/>
                <a:latin typeface="SFMono-Regular"/>
              </a:rPr>
              <a:t>(B) </a:t>
            </a:r>
          </a:p>
          <a:p>
            <a:pPr>
              <a:lnSpc>
                <a:spcPct val="90000"/>
              </a:lnSpc>
              <a:spcAft>
                <a:spcPts val="600"/>
              </a:spcAft>
            </a:pPr>
            <a:r>
              <a:rPr lang="en-US" sz="1100" b="0" i="0" dirty="0">
                <a:solidFill>
                  <a:srgbClr val="0101FD"/>
                </a:solidFill>
                <a:effectLst/>
                <a:latin typeface="SFMono-Regular"/>
              </a:rPr>
              <a:t>FROM</a:t>
            </a:r>
            <a:r>
              <a:rPr lang="en-US" sz="1100" b="0" i="0" dirty="0">
                <a:solidFill>
                  <a:srgbClr val="171717"/>
                </a:solidFill>
                <a:effectLst/>
                <a:latin typeface="SFMono-Regular"/>
              </a:rPr>
              <a:t> T </a:t>
            </a:r>
          </a:p>
          <a:p>
            <a:pPr>
              <a:lnSpc>
                <a:spcPct val="90000"/>
              </a:lnSpc>
              <a:spcAft>
                <a:spcPts val="600"/>
              </a:spcAft>
            </a:pPr>
            <a:r>
              <a:rPr lang="en-US" sz="1100" b="0" i="0" dirty="0">
                <a:solidFill>
                  <a:srgbClr val="0101FD"/>
                </a:solidFill>
                <a:effectLst/>
                <a:latin typeface="SFMono-Regular"/>
              </a:rPr>
              <a:t>GROUP</a:t>
            </a:r>
            <a:r>
              <a:rPr lang="en-US" sz="1100" b="0" i="0" dirty="0">
                <a:solidFill>
                  <a:srgbClr val="171717"/>
                </a:solidFill>
                <a:effectLst/>
                <a:latin typeface="SFMono-Regular"/>
              </a:rPr>
              <a:t> </a:t>
            </a:r>
            <a:r>
              <a:rPr lang="en-US" sz="1100" b="0" i="0" dirty="0">
                <a:solidFill>
                  <a:srgbClr val="0101FD"/>
                </a:solidFill>
                <a:effectLst/>
                <a:latin typeface="SFMono-Regular"/>
              </a:rPr>
              <a:t>BY</a:t>
            </a:r>
            <a:r>
              <a:rPr lang="en-US" sz="1100" b="0" i="0" dirty="0">
                <a:solidFill>
                  <a:srgbClr val="171717"/>
                </a:solidFill>
                <a:effectLst/>
                <a:latin typeface="SFMono-Regular"/>
              </a:rPr>
              <a:t> A </a:t>
            </a:r>
            <a:endParaRPr lang="en-US" sz="1100" b="0" i="0" dirty="0">
              <a:solidFill>
                <a:srgbClr val="008000"/>
              </a:solidFill>
              <a:effectLst/>
              <a:latin typeface="SFMono-Regular"/>
            </a:endParaRPr>
          </a:p>
          <a:p>
            <a:pPr>
              <a:lnSpc>
                <a:spcPct val="90000"/>
              </a:lnSpc>
              <a:spcAft>
                <a:spcPts val="600"/>
              </a:spcAft>
            </a:pPr>
            <a:endParaRPr lang="en-US" sz="1100" dirty="0">
              <a:solidFill>
                <a:srgbClr val="008000"/>
              </a:solidFill>
              <a:latin typeface="SFMono-Regular"/>
            </a:endParaRPr>
          </a:p>
          <a:p>
            <a:pPr>
              <a:lnSpc>
                <a:spcPct val="90000"/>
              </a:lnSpc>
              <a:spcAft>
                <a:spcPts val="600"/>
              </a:spcAft>
            </a:pPr>
            <a:r>
              <a:rPr lang="en-US" sz="1100" dirty="0">
                <a:solidFill>
                  <a:srgbClr val="008000"/>
                </a:solidFill>
                <a:latin typeface="SFMono-Regular"/>
              </a:rPr>
              <a:t>--  Query </a:t>
            </a:r>
            <a:r>
              <a:rPr lang="en-US" sz="1100" b="0" i="0" dirty="0">
                <a:solidFill>
                  <a:srgbClr val="008000"/>
                </a:solidFill>
                <a:effectLst/>
                <a:latin typeface="SFMono-Regular"/>
              </a:rPr>
              <a:t>2 would benefit from having a materialized view created with this SELECT statement</a:t>
            </a:r>
            <a:r>
              <a:rPr lang="en-US" sz="1100" b="0" i="0" dirty="0">
                <a:solidFill>
                  <a:srgbClr val="171717"/>
                </a:solidFill>
                <a:effectLst/>
                <a:latin typeface="SFMono-Regular"/>
              </a:rPr>
              <a:t> </a:t>
            </a:r>
          </a:p>
          <a:p>
            <a:pPr>
              <a:lnSpc>
                <a:spcPct val="90000"/>
              </a:lnSpc>
              <a:spcAft>
                <a:spcPts val="600"/>
              </a:spcAft>
            </a:pPr>
            <a:r>
              <a:rPr lang="en-US" sz="1100" b="0" i="0" dirty="0">
                <a:solidFill>
                  <a:srgbClr val="0101FD"/>
                </a:solidFill>
                <a:effectLst/>
                <a:latin typeface="SFMono-Regular"/>
              </a:rPr>
              <a:t>SELECT</a:t>
            </a:r>
            <a:r>
              <a:rPr lang="en-US" sz="1100" b="0" i="0" dirty="0">
                <a:solidFill>
                  <a:srgbClr val="171717"/>
                </a:solidFill>
                <a:effectLst/>
                <a:latin typeface="SFMono-Regular"/>
              </a:rPr>
              <a:t> C, </a:t>
            </a:r>
            <a:r>
              <a:rPr lang="en-US" sz="1100" b="0" i="0" dirty="0">
                <a:solidFill>
                  <a:srgbClr val="0101FD"/>
                </a:solidFill>
                <a:effectLst/>
                <a:latin typeface="SFMono-Regular"/>
              </a:rPr>
              <a:t>SUM</a:t>
            </a:r>
            <a:r>
              <a:rPr lang="en-US" sz="1100" b="0" i="0" dirty="0">
                <a:solidFill>
                  <a:srgbClr val="171717"/>
                </a:solidFill>
                <a:effectLst/>
                <a:latin typeface="SFMono-Regular"/>
              </a:rPr>
              <a:t>(D) </a:t>
            </a:r>
          </a:p>
          <a:p>
            <a:pPr>
              <a:lnSpc>
                <a:spcPct val="90000"/>
              </a:lnSpc>
              <a:spcAft>
                <a:spcPts val="600"/>
              </a:spcAft>
            </a:pPr>
            <a:r>
              <a:rPr lang="en-US" sz="1100" b="0" i="0" dirty="0">
                <a:solidFill>
                  <a:srgbClr val="0101FD"/>
                </a:solidFill>
                <a:effectLst/>
                <a:latin typeface="SFMono-Regular"/>
              </a:rPr>
              <a:t>FROM</a:t>
            </a:r>
            <a:r>
              <a:rPr lang="en-US" sz="1100" b="0" i="0" dirty="0">
                <a:solidFill>
                  <a:srgbClr val="171717"/>
                </a:solidFill>
                <a:effectLst/>
                <a:latin typeface="SFMono-Regular"/>
              </a:rPr>
              <a:t> T </a:t>
            </a:r>
          </a:p>
          <a:p>
            <a:pPr>
              <a:lnSpc>
                <a:spcPct val="90000"/>
              </a:lnSpc>
              <a:spcAft>
                <a:spcPts val="600"/>
              </a:spcAft>
            </a:pPr>
            <a:r>
              <a:rPr lang="en-US" sz="1100" b="0" i="0" dirty="0">
                <a:solidFill>
                  <a:srgbClr val="0101FD"/>
                </a:solidFill>
                <a:effectLst/>
                <a:latin typeface="SFMono-Regular"/>
              </a:rPr>
              <a:t>GROUP</a:t>
            </a:r>
            <a:r>
              <a:rPr lang="en-US" sz="1100" b="0" i="0" dirty="0">
                <a:solidFill>
                  <a:srgbClr val="171717"/>
                </a:solidFill>
                <a:effectLst/>
                <a:latin typeface="SFMono-Regular"/>
              </a:rPr>
              <a:t> </a:t>
            </a:r>
            <a:r>
              <a:rPr lang="en-US" sz="1100" b="0" i="0" dirty="0">
                <a:solidFill>
                  <a:srgbClr val="0101FD"/>
                </a:solidFill>
                <a:effectLst/>
                <a:latin typeface="SFMono-Regular"/>
              </a:rPr>
              <a:t>BY</a:t>
            </a:r>
            <a:r>
              <a:rPr lang="en-US" sz="1100" b="0" i="0" dirty="0">
                <a:solidFill>
                  <a:srgbClr val="171717"/>
                </a:solidFill>
                <a:effectLst/>
                <a:latin typeface="SFMono-Regular"/>
              </a:rPr>
              <a:t> C </a:t>
            </a:r>
          </a:p>
          <a:p>
            <a:pPr marL="171450" indent="-171450">
              <a:lnSpc>
                <a:spcPct val="90000"/>
              </a:lnSpc>
              <a:spcAft>
                <a:spcPts val="600"/>
              </a:spcAft>
              <a:buFontTx/>
              <a:buChar char="-"/>
            </a:pPr>
            <a:endParaRPr lang="en-US" sz="1100" dirty="0">
              <a:solidFill>
                <a:srgbClr val="171717"/>
              </a:solidFill>
              <a:latin typeface="SFMono-Regular"/>
            </a:endParaRPr>
          </a:p>
          <a:p>
            <a:pPr>
              <a:lnSpc>
                <a:spcPct val="90000"/>
              </a:lnSpc>
              <a:spcAft>
                <a:spcPts val="600"/>
              </a:spcAft>
            </a:pPr>
            <a:r>
              <a:rPr lang="en-US" sz="1100" b="0" i="0" dirty="0">
                <a:solidFill>
                  <a:srgbClr val="008000"/>
                </a:solidFill>
                <a:effectLst/>
                <a:latin typeface="SFMono-Regular"/>
              </a:rPr>
              <a:t>-- You could create a single materialized view of this form</a:t>
            </a:r>
            <a:r>
              <a:rPr lang="en-US" sz="1100" b="0" i="0" dirty="0">
                <a:solidFill>
                  <a:srgbClr val="171717"/>
                </a:solidFill>
                <a:effectLst/>
                <a:latin typeface="SFMono-Regular"/>
              </a:rPr>
              <a:t> </a:t>
            </a:r>
          </a:p>
          <a:p>
            <a:pPr>
              <a:lnSpc>
                <a:spcPct val="90000"/>
              </a:lnSpc>
              <a:spcAft>
                <a:spcPts val="600"/>
              </a:spcAft>
            </a:pPr>
            <a:r>
              <a:rPr lang="en-US" sz="1100" b="0" i="0" dirty="0">
                <a:solidFill>
                  <a:srgbClr val="0101FD"/>
                </a:solidFill>
                <a:effectLst/>
                <a:latin typeface="SFMono-Regular"/>
              </a:rPr>
              <a:t>SELECT</a:t>
            </a:r>
            <a:r>
              <a:rPr lang="en-US" sz="1100" b="0" i="0" dirty="0">
                <a:solidFill>
                  <a:srgbClr val="171717"/>
                </a:solidFill>
                <a:effectLst/>
                <a:latin typeface="SFMono-Regular"/>
              </a:rPr>
              <a:t> A, C, </a:t>
            </a:r>
            <a:r>
              <a:rPr lang="en-US" sz="1100" b="0" i="0" dirty="0">
                <a:solidFill>
                  <a:srgbClr val="0101FD"/>
                </a:solidFill>
                <a:effectLst/>
                <a:latin typeface="SFMono-Regular"/>
              </a:rPr>
              <a:t>SUM</a:t>
            </a:r>
            <a:r>
              <a:rPr lang="en-US" sz="1100" b="0" i="0" dirty="0">
                <a:solidFill>
                  <a:srgbClr val="171717"/>
                </a:solidFill>
                <a:effectLst/>
                <a:latin typeface="SFMono-Regular"/>
              </a:rPr>
              <a:t>(B), </a:t>
            </a:r>
            <a:r>
              <a:rPr lang="en-US" sz="1100" b="0" i="0" dirty="0">
                <a:solidFill>
                  <a:srgbClr val="0101FD"/>
                </a:solidFill>
                <a:effectLst/>
                <a:latin typeface="SFMono-Regular"/>
              </a:rPr>
              <a:t>SUM</a:t>
            </a:r>
            <a:r>
              <a:rPr lang="en-US" sz="1100" b="0" i="0" dirty="0">
                <a:solidFill>
                  <a:srgbClr val="171717"/>
                </a:solidFill>
                <a:effectLst/>
                <a:latin typeface="SFMono-Regular"/>
              </a:rPr>
              <a:t>(D) </a:t>
            </a:r>
          </a:p>
          <a:p>
            <a:pPr>
              <a:lnSpc>
                <a:spcPct val="90000"/>
              </a:lnSpc>
              <a:spcAft>
                <a:spcPts val="600"/>
              </a:spcAft>
            </a:pPr>
            <a:r>
              <a:rPr lang="en-US" sz="1100" b="0" i="0" dirty="0">
                <a:solidFill>
                  <a:srgbClr val="0101FD"/>
                </a:solidFill>
                <a:effectLst/>
                <a:latin typeface="SFMono-Regular"/>
              </a:rPr>
              <a:t>FROM</a:t>
            </a:r>
            <a:r>
              <a:rPr lang="en-US" sz="1100" b="0" i="0" dirty="0">
                <a:solidFill>
                  <a:srgbClr val="171717"/>
                </a:solidFill>
                <a:effectLst/>
                <a:latin typeface="SFMono-Regular"/>
              </a:rPr>
              <a:t> T </a:t>
            </a:r>
          </a:p>
          <a:p>
            <a:pPr>
              <a:lnSpc>
                <a:spcPct val="90000"/>
              </a:lnSpc>
              <a:spcAft>
                <a:spcPts val="600"/>
              </a:spcAft>
            </a:pPr>
            <a:r>
              <a:rPr lang="en-US" sz="1100" b="0" i="0" dirty="0">
                <a:solidFill>
                  <a:srgbClr val="0101FD"/>
                </a:solidFill>
                <a:effectLst/>
                <a:latin typeface="SFMono-Regular"/>
              </a:rPr>
              <a:t>GROUP</a:t>
            </a:r>
            <a:r>
              <a:rPr lang="en-US" sz="1100" b="0" i="0" dirty="0">
                <a:solidFill>
                  <a:srgbClr val="171717"/>
                </a:solidFill>
                <a:effectLst/>
                <a:latin typeface="SFMono-Regular"/>
              </a:rPr>
              <a:t> </a:t>
            </a:r>
            <a:r>
              <a:rPr lang="en-US" sz="1100" b="0" i="0" dirty="0">
                <a:solidFill>
                  <a:srgbClr val="0101FD"/>
                </a:solidFill>
                <a:effectLst/>
                <a:latin typeface="SFMono-Regular"/>
              </a:rPr>
              <a:t>BY</a:t>
            </a:r>
            <a:r>
              <a:rPr lang="en-US" sz="1100" b="0" i="0" dirty="0">
                <a:solidFill>
                  <a:srgbClr val="171717"/>
                </a:solidFill>
                <a:effectLst/>
                <a:latin typeface="SFMono-Regular"/>
              </a:rPr>
              <a:t> A, C</a:t>
            </a:r>
            <a:endParaRPr lang="en-US" sz="1100" dirty="0">
              <a:gradFill>
                <a:gsLst>
                  <a:gs pos="2917">
                    <a:schemeClr val="tx1"/>
                  </a:gs>
                  <a:gs pos="30000">
                    <a:schemeClr val="tx1"/>
                  </a:gs>
                </a:gsLst>
                <a:lin ang="5400000" scaled="0"/>
              </a:gradFill>
            </a:endParaRPr>
          </a:p>
        </p:txBody>
      </p:sp>
      <p:sp>
        <p:nvSpPr>
          <p:cNvPr id="5" name="Text Placeholder 1">
            <a:extLst>
              <a:ext uri="{FF2B5EF4-FFF2-40B4-BE49-F238E27FC236}">
                <a16:creationId xmlns:a16="http://schemas.microsoft.com/office/drawing/2014/main" id="{83A25F47-80C8-443D-BFFD-B044DF1ECC99}"/>
              </a:ext>
            </a:extLst>
          </p:cNvPr>
          <p:cNvSpPr txBox="1">
            <a:spLocks/>
          </p:cNvSpPr>
          <p:nvPr/>
        </p:nvSpPr>
        <p:spPr>
          <a:xfrm>
            <a:off x="5989637" y="5173662"/>
            <a:ext cx="5638800" cy="1514261"/>
          </a:xfrm>
          <a:prstGeom prst="rect">
            <a:avLst/>
          </a:prstGeom>
          <a:solidFill>
            <a:schemeClr val="accent6">
              <a:lumMod val="60000"/>
              <a:lumOff val="40000"/>
            </a:schemeClr>
          </a:solidFill>
          <a:scene3d>
            <a:camera prst="orthographicFront"/>
            <a:lightRig rig="threePt" dir="t"/>
          </a:scene3d>
          <a:sp3d>
            <a:bevelT prst="angle"/>
          </a:sp3d>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3200" dirty="0">
                <a:solidFill>
                  <a:schemeClr val="bg1"/>
                </a:solidFill>
              </a:rPr>
              <a:t>Resulting MV is larger, but processing overhead is reduced</a:t>
            </a:r>
            <a:endParaRPr lang="en-US" sz="3200" i="1" dirty="0">
              <a:solidFill>
                <a:schemeClr val="bg1"/>
              </a:solidFill>
            </a:endParaRPr>
          </a:p>
        </p:txBody>
      </p:sp>
      <p:sp>
        <p:nvSpPr>
          <p:cNvPr id="7" name="Title 2">
            <a:extLst>
              <a:ext uri="{FF2B5EF4-FFF2-40B4-BE49-F238E27FC236}">
                <a16:creationId xmlns:a16="http://schemas.microsoft.com/office/drawing/2014/main" id="{F26FB8E5-957C-4FAC-B075-16B49904D27F}"/>
              </a:ext>
            </a:extLst>
          </p:cNvPr>
          <p:cNvSpPr txBox="1">
            <a:spLocks/>
          </p:cNvSpPr>
          <p:nvPr/>
        </p:nvSpPr>
        <p:spPr>
          <a:xfrm>
            <a:off x="427037" y="449262"/>
            <a:ext cx="11098906" cy="470856"/>
          </a:xfrm>
          <a:prstGeom prst="rect">
            <a:avLst/>
          </a:prstGeom>
          <a:ln>
            <a:noFill/>
          </a:ln>
        </p:spPr>
        <p:txBody>
          <a:bodyPr vert="horz" wrap="square" lIns="0" tIns="0" rIns="0" bIns="0" rtlCol="0" anchor="t">
            <a:spAutoFit/>
          </a:bodyPr>
          <a:lst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a:lstStyle>
          <a:p>
            <a:r>
              <a:rPr lang="en-US" dirty="0"/>
              <a:t>Materialized Views in SQL Pools: Identifying Candidates</a:t>
            </a:r>
          </a:p>
        </p:txBody>
      </p:sp>
    </p:spTree>
    <p:extLst>
      <p:ext uri="{BB962C8B-B14F-4D97-AF65-F5344CB8AC3E}">
        <p14:creationId xmlns:p14="http://schemas.microsoft.com/office/powerpoint/2010/main" val="2285777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5F0C96-B21E-4406-A3E8-EAD0FC262377}"/>
              </a:ext>
            </a:extLst>
          </p:cNvPr>
          <p:cNvSpPr>
            <a:spLocks noGrp="1"/>
          </p:cNvSpPr>
          <p:nvPr>
            <p:ph type="title"/>
          </p:nvPr>
        </p:nvSpPr>
        <p:spPr>
          <a:xfrm>
            <a:off x="290195" y="373062"/>
            <a:ext cx="11098906" cy="470856"/>
          </a:xfrm>
        </p:spPr>
        <p:txBody>
          <a:bodyPr/>
          <a:lstStyle/>
          <a:p>
            <a:r>
              <a:rPr lang="en-US" dirty="0"/>
              <a:t>Materialized Views: Checking View Overhead</a:t>
            </a:r>
          </a:p>
        </p:txBody>
      </p:sp>
      <p:graphicFrame>
        <p:nvGraphicFramePr>
          <p:cNvPr id="7" name="Diagram 6">
            <a:extLst>
              <a:ext uri="{FF2B5EF4-FFF2-40B4-BE49-F238E27FC236}">
                <a16:creationId xmlns:a16="http://schemas.microsoft.com/office/drawing/2014/main" id="{E6D2BED1-9FCB-44BB-A8D9-C0C244F57E1A}"/>
              </a:ext>
            </a:extLst>
          </p:cNvPr>
          <p:cNvGraphicFramePr/>
          <p:nvPr>
            <p:extLst>
              <p:ext uri="{D42A27DB-BD31-4B8C-83A1-F6EECF244321}">
                <p14:modId xmlns:p14="http://schemas.microsoft.com/office/powerpoint/2010/main" val="4262512436"/>
              </p:ext>
            </p:extLst>
          </p:nvPr>
        </p:nvGraphicFramePr>
        <p:xfrm>
          <a:off x="884237" y="1211262"/>
          <a:ext cx="109728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72089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440743" y="0"/>
            <a:ext cx="6994525" cy="6998119"/>
          </a:xfrm>
          <a:prstGeom prst="rect">
            <a:avLst/>
          </a:prstGeom>
          <a:solidFill>
            <a:srgbClr val="243A5E"/>
          </a:solidFill>
        </p:spPr>
      </p:pic>
      <p:sp>
        <p:nvSpPr>
          <p:cNvPr id="13" name="Title 12">
            <a:extLst>
              <a:ext uri="{FF2B5EF4-FFF2-40B4-BE49-F238E27FC236}">
                <a16:creationId xmlns:a16="http://schemas.microsoft.com/office/drawing/2014/main" id="{8ECA2175-A291-4EB6-8E68-E942ADF6DCE2}"/>
              </a:ext>
            </a:extLst>
          </p:cNvPr>
          <p:cNvSpPr>
            <a:spLocks noGrp="1"/>
          </p:cNvSpPr>
          <p:nvPr>
            <p:ph type="title"/>
          </p:nvPr>
        </p:nvSpPr>
        <p:spPr/>
        <p:txBody>
          <a:bodyPr/>
          <a:lstStyle/>
          <a:p>
            <a:r>
              <a:rPr lang="en-US" dirty="0"/>
              <a:t>Demonstration</a:t>
            </a:r>
          </a:p>
        </p:txBody>
      </p:sp>
      <p:sp>
        <p:nvSpPr>
          <p:cNvPr id="15" name="Text Placeholder 14">
            <a:extLst>
              <a:ext uri="{FF2B5EF4-FFF2-40B4-BE49-F238E27FC236}">
                <a16:creationId xmlns:a16="http://schemas.microsoft.com/office/drawing/2014/main" id="{14B32024-4352-4504-BC4E-55EEC918FD5A}"/>
              </a:ext>
            </a:extLst>
          </p:cNvPr>
          <p:cNvSpPr>
            <a:spLocks noGrp="1"/>
          </p:cNvSpPr>
          <p:nvPr>
            <p:ph type="body" sz="quarter" idx="10"/>
          </p:nvPr>
        </p:nvSpPr>
        <p:spPr/>
        <p:txBody>
          <a:bodyPr/>
          <a:lstStyle/>
          <a:p>
            <a:pPr algn="ctr"/>
            <a:r>
              <a:rPr lang="en-US" sz="2450" dirty="0"/>
              <a:t>Views</a:t>
            </a:r>
          </a:p>
        </p:txBody>
      </p:sp>
    </p:spTree>
    <p:custDataLst>
      <p:tags r:id="rId1"/>
    </p:custDataLst>
    <p:extLst>
      <p:ext uri="{BB962C8B-B14F-4D97-AF65-F5344CB8AC3E}">
        <p14:creationId xmlns:p14="http://schemas.microsoft.com/office/powerpoint/2010/main" val="2756990593"/>
      </p:ext>
    </p:extLst>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Views</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1645012104"/>
              </p:ext>
            </p:extLst>
          </p:nvPr>
        </p:nvGraphicFramePr>
        <p:xfrm>
          <a:off x="529643" y="1914866"/>
          <a:ext cx="3100581" cy="37747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1117403096"/>
              </p:ext>
            </p:extLst>
          </p:nvPr>
        </p:nvGraphicFramePr>
        <p:xfrm>
          <a:off x="4664024" y="1914866"/>
          <a:ext cx="3100579" cy="37747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556440595"/>
              </p:ext>
            </p:extLst>
          </p:nvPr>
        </p:nvGraphicFramePr>
        <p:xfrm>
          <a:off x="8798404" y="1914866"/>
          <a:ext cx="3100579" cy="377473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72272" y="4217924"/>
            <a:ext cx="10968132" cy="2659949"/>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923424" y="4369445"/>
            <a:ext cx="818955" cy="265324"/>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9050158" y="4659602"/>
            <a:ext cx="639807" cy="653426"/>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1003514" y="3760103"/>
            <a:ext cx="10676842" cy="670275"/>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914228"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1009595"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104961"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20032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9569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91062"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8642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81795"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7715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7252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6789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63258"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5862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53992"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4935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34472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440091"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53545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630823"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726191"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82155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916923"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3012288"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10765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203022"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9838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9375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89121"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84488"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7985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75221"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87058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965953"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406131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15668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25205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34741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44278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538152"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633520"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728885"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824253"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91961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501498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110350"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20571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301082"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396450"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49181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587182"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68254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777915"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873281"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96864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606401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159384"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378464"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473831"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569196"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664563"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759928"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855296"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950661"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10046030" y="5925355"/>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1014365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239027"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334393"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429759"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52512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620490"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715858"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811226" y="5924366"/>
            <a:ext cx="274203" cy="5484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GB" sz="2000">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8471" y="2624233"/>
            <a:ext cx="1008337" cy="464694"/>
          </a:xfrm>
          <a:prstGeom prst="rect">
            <a:avLst/>
          </a:prstGeom>
          <a:noFill/>
        </p:spPr>
        <p:txBody>
          <a:bodyPr wrap="none" lIns="182803" tIns="146242" rIns="182803" bIns="146242" rtlCol="0">
            <a:spAutoFit/>
          </a:bodyPr>
          <a:lstStyle/>
          <a:p>
            <a:pPr defTabSz="932277">
              <a:lnSpc>
                <a:spcPct val="90000"/>
              </a:lnSpc>
              <a:spcAft>
                <a:spcPts val="600"/>
              </a:spcAft>
              <a:defRPr/>
            </a:pPr>
            <a:r>
              <a:rPr lang="en-US" sz="1198">
                <a:solidFill>
                  <a:srgbClr val="002050"/>
                </a:solidFill>
                <a:latin typeface="Segoe UI" panose="020B0502040204020203" pitchFamily="34" charset="0"/>
                <a:cs typeface="Segoe UI" panose="020B0502040204020203" pitchFamily="34" charset="0"/>
              </a:rPr>
              <a:t>Compute</a:t>
            </a:r>
            <a:endParaRPr lang="en-GB" sz="1198">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77773" y="4868307"/>
            <a:ext cx="2340833" cy="461424"/>
          </a:xfrm>
          <a:prstGeom prst="rect">
            <a:avLst/>
          </a:prstGeom>
          <a:noFill/>
        </p:spPr>
        <p:txBody>
          <a:bodyPr wrap="square" lIns="182803" tIns="146242" rIns="182803" bIns="146242" rtlCol="0">
            <a:spAutoFit/>
          </a:bodyPr>
          <a:lstStyle/>
          <a:p>
            <a:pPr algn="ctr" defTabSz="950680" fontAlgn="base">
              <a:lnSpc>
                <a:spcPct val="90000"/>
              </a:lnSpc>
              <a:spcBef>
                <a:spcPct val="0"/>
              </a:spcBef>
              <a:spcAft>
                <a:spcPts val="612"/>
              </a:spcAft>
              <a:defRPr/>
            </a:pPr>
            <a:r>
              <a:rPr lang="en-US" sz="1198">
                <a:solidFill>
                  <a:srgbClr val="002050"/>
                </a:solidFill>
                <a:latin typeface="Segoe UI" panose="020B0502040204020203" pitchFamily="34" charset="0"/>
                <a:cs typeface="Segoe UI" panose="020B0502040204020203" pitchFamily="34" charset="0"/>
              </a:rPr>
              <a:t>Remote storage</a:t>
            </a:r>
            <a:endParaRPr lang="en-GB" sz="1198">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39836" y="3494666"/>
            <a:ext cx="10968132"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203461" y="1781437"/>
            <a:ext cx="2186322" cy="1488104"/>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endParaRPr lang="en-GB" sz="1398">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002050"/>
                    </a:solidFill>
                    <a:latin typeface="Segoe UI Semilight"/>
                  </a:rPr>
                  <a:t>Cache</a:t>
                </a:r>
                <a:endParaRPr lang="en-GB" sz="1398">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002050"/>
                    </a:solidFill>
                    <a:latin typeface="Segoe UI Semilight"/>
                  </a:rPr>
                  <a:t>TempDB</a:t>
                </a:r>
                <a:endParaRPr lang="en-GB" sz="1398">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NVMe SSD</a:t>
              </a:r>
              <a:endParaRPr lang="en-GB" sz="1398">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2" rIns="182803" bIns="146242"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Cores</a:t>
              </a:r>
              <a:endParaRPr lang="en-GB" sz="1398">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Memory</a:t>
              </a:r>
              <a:endParaRPr lang="en-GB" sz="1398">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756117" y="4673699"/>
            <a:ext cx="1175188" cy="316837"/>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pPr>
            <a:r>
              <a:rPr lang="en-US" sz="1398">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756117" y="5054537"/>
            <a:ext cx="1175188" cy="316837"/>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pPr>
            <a:r>
              <a:rPr lang="en-US" sz="1398">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5087035" y="1781437"/>
            <a:ext cx="2186322" cy="1488104"/>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endParaRPr lang="en-GB" sz="1398">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002050"/>
                    </a:solidFill>
                    <a:latin typeface="Segoe UI Semilight"/>
                  </a:rPr>
                  <a:t>Cache</a:t>
                </a:r>
                <a:endParaRPr lang="en-GB" sz="1398">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002050"/>
                    </a:solidFill>
                    <a:latin typeface="Segoe UI Semilight"/>
                  </a:rPr>
                  <a:t>TempDB</a:t>
                </a:r>
                <a:endParaRPr lang="en-GB" sz="1398">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NVMe SSD</a:t>
              </a:r>
              <a:endParaRPr lang="en-GB" sz="1398">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2" rIns="182803" bIns="146242"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Cores</a:t>
              </a:r>
              <a:endParaRPr lang="en-GB" sz="1398">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dirty="0">
                  <a:solidFill>
                    <a:srgbClr val="FFFFFF"/>
                  </a:solidFill>
                  <a:latin typeface="Segoe UI Semilight"/>
                </a:rPr>
                <a:t>Memory</a:t>
              </a:r>
              <a:endParaRPr lang="en-GB" sz="1398"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969145" y="1781437"/>
            <a:ext cx="2186322" cy="1488104"/>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endParaRPr lang="en-GB" sz="1398">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002050"/>
                    </a:solidFill>
                    <a:latin typeface="Segoe UI Semilight"/>
                  </a:rPr>
                  <a:t>Cache</a:t>
                </a:r>
                <a:endParaRPr lang="en-GB" sz="1398">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002050"/>
                    </a:solidFill>
                    <a:latin typeface="Segoe UI Semilight"/>
                  </a:rPr>
                  <a:t>TempDB</a:t>
                </a:r>
                <a:endParaRPr lang="en-GB" sz="1398">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NVMe SSD</a:t>
              </a:r>
              <a:endParaRPr lang="en-GB" sz="1398">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2" rIns="182803" bIns="146242" numCol="1" spcCol="0" rtlCol="0" fromWordArt="0" anchor="t" anchorCtr="0" forceAA="0" compatLnSpc="1">
              <a:prstTxWarp prst="textNoShape">
                <a:avLst/>
              </a:prstTxWarp>
              <a:noAutofit/>
            </a:bodyPr>
            <a:lstStyle/>
            <a:p>
              <a:pPr algn="ctr" defTabSz="932007"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Cores</a:t>
              </a:r>
              <a:endParaRPr lang="en-GB" sz="1398">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Memory</a:t>
              </a:r>
              <a:endParaRPr lang="en-GB" sz="1398">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510663" y="5130705"/>
            <a:ext cx="1777137" cy="45700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1398">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358326" y="4978368"/>
            <a:ext cx="1777137" cy="45700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endParaRPr lang="en-US" sz="1398">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205992" y="4826032"/>
            <a:ext cx="1777137" cy="45700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2007" fontAlgn="base">
              <a:spcBef>
                <a:spcPct val="0"/>
              </a:spcBef>
              <a:spcAft>
                <a:spcPct val="0"/>
              </a:spcAft>
              <a:defRPr/>
            </a:pPr>
            <a:r>
              <a:rPr lang="en-US" sz="1398">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39836" y="1598700"/>
            <a:ext cx="10968132"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71956" y="717670"/>
            <a:ext cx="874294" cy="461424"/>
          </a:xfrm>
          <a:prstGeom prst="rect">
            <a:avLst/>
          </a:prstGeom>
          <a:noFill/>
        </p:spPr>
        <p:txBody>
          <a:bodyPr wrap="none" lIns="182803" tIns="146242" rIns="182803" bIns="146242" rtlCol="0">
            <a:spAutoFit/>
          </a:bodyPr>
          <a:lstStyle/>
          <a:p>
            <a:pPr algn="ctr" defTabSz="950680" fontAlgn="base">
              <a:lnSpc>
                <a:spcPct val="90000"/>
              </a:lnSpc>
              <a:spcBef>
                <a:spcPct val="0"/>
              </a:spcBef>
              <a:spcAft>
                <a:spcPts val="612"/>
              </a:spcAft>
              <a:defRPr/>
            </a:pPr>
            <a:r>
              <a:rPr lang="en-US" sz="1198">
                <a:solidFill>
                  <a:srgbClr val="002050"/>
                </a:solidFill>
                <a:latin typeface="Segoe UI" panose="020B0502040204020203" pitchFamily="34" charset="0"/>
                <a:cs typeface="Segoe UI" panose="020B0502040204020203" pitchFamily="34" charset="0"/>
              </a:rPr>
              <a:t>Control</a:t>
            </a:r>
            <a:endParaRPr lang="en-GB" sz="1198">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5081732" y="455122"/>
            <a:ext cx="2179238" cy="87814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endParaRPr lang="en-GB" sz="1398">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Cores</a:t>
              </a:r>
              <a:endParaRPr lang="en-GB" sz="1398">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Memory</a:t>
              </a:r>
              <a:endParaRPr lang="en-GB" sz="1398">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noAutofit/>
            </a:bodyPr>
            <a:lstStyle/>
            <a:p>
              <a:pPr algn="ctr" defTabSz="932007" fontAlgn="base">
                <a:spcBef>
                  <a:spcPct val="0"/>
                </a:spcBef>
                <a:spcAft>
                  <a:spcPct val="0"/>
                </a:spcAft>
                <a:defRPr/>
              </a:pPr>
              <a:r>
                <a:rPr lang="en-US" sz="1398">
                  <a:solidFill>
                    <a:srgbClr val="FFFFFF"/>
                  </a:solidFill>
                  <a:latin typeface="Segoe UI Semilight"/>
                </a:rPr>
                <a:t>SSD TempDB</a:t>
              </a:r>
              <a:endParaRPr lang="en-GB" sz="1398">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1CD41E-0B35-4021-BFC1-361B23B8D8A8}"/>
              </a:ext>
            </a:extLst>
          </p:cNvPr>
          <p:cNvSpPr>
            <a:spLocks noGrp="1"/>
          </p:cNvSpPr>
          <p:nvPr>
            <p:ph type="title"/>
          </p:nvPr>
        </p:nvSpPr>
        <p:spPr/>
        <p:txBody>
          <a:bodyPr/>
          <a:lstStyle/>
          <a:p>
            <a:r>
              <a:rPr lang="en-US" dirty="0"/>
              <a:t>Compute Data Warehouse Units (</a:t>
            </a:r>
            <a:r>
              <a:rPr lang="en-US" dirty="0" err="1"/>
              <a:t>cDWUs</a:t>
            </a:r>
            <a:r>
              <a:rPr lang="en-US" dirty="0"/>
              <a:t>)</a:t>
            </a:r>
          </a:p>
        </p:txBody>
      </p:sp>
      <p:sp>
        <p:nvSpPr>
          <p:cNvPr id="4" name="Content Placeholder 3">
            <a:extLst>
              <a:ext uri="{FF2B5EF4-FFF2-40B4-BE49-F238E27FC236}">
                <a16:creationId xmlns:a16="http://schemas.microsoft.com/office/drawing/2014/main" id="{372F98B0-027E-4D77-9A03-5798800F1101}"/>
              </a:ext>
            </a:extLst>
          </p:cNvPr>
          <p:cNvSpPr>
            <a:spLocks noGrp="1"/>
          </p:cNvSpPr>
          <p:nvPr>
            <p:ph sz="quarter" idx="13"/>
          </p:nvPr>
        </p:nvSpPr>
        <p:spPr>
          <a:xfrm>
            <a:off x="669572" y="1436146"/>
            <a:ext cx="11097333" cy="996394"/>
          </a:xfrm>
        </p:spPr>
        <p:txBody>
          <a:bodyPr/>
          <a:lstStyle/>
          <a:p>
            <a:r>
              <a:rPr lang="en-US" dirty="0"/>
              <a:t>Normalized amount of Compute</a:t>
            </a:r>
          </a:p>
          <a:p>
            <a:r>
              <a:rPr lang="en-US" dirty="0"/>
              <a:t>Converts to billing units  i.e. what you pay</a:t>
            </a:r>
          </a:p>
        </p:txBody>
      </p:sp>
      <p:sp>
        <p:nvSpPr>
          <p:cNvPr id="9" name="Rectangle 8">
            <a:extLst>
              <a:ext uri="{FF2B5EF4-FFF2-40B4-BE49-F238E27FC236}">
                <a16:creationId xmlns:a16="http://schemas.microsoft.com/office/drawing/2014/main" id="{27B2C8C9-DBA6-4367-9F8A-521235A29CB8}"/>
              </a:ext>
            </a:extLst>
          </p:cNvPr>
          <p:cNvSpPr/>
          <p:nvPr/>
        </p:nvSpPr>
        <p:spPr bwMode="auto">
          <a:xfrm>
            <a:off x="731421" y="3358989"/>
            <a:ext cx="1981782" cy="16242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4488" dirty="0">
                <a:gradFill>
                  <a:gsLst>
                    <a:gs pos="0">
                      <a:srgbClr val="FFFFFF"/>
                    </a:gs>
                    <a:gs pos="100000">
                      <a:srgbClr val="FFFFFF"/>
                    </a:gs>
                  </a:gsLst>
                  <a:lin ang="5400000" scaled="0"/>
                </a:gradFill>
                <a:latin typeface="Segoe UI"/>
                <a:ea typeface="Segoe UI" pitchFamily="34" charset="0"/>
                <a:cs typeface="Segoe UI" pitchFamily="34" charset="0"/>
              </a:rPr>
              <a:t>CPU</a:t>
            </a: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72DB3D3C-C116-432F-A1D6-15C843E3A981}"/>
              </a:ext>
            </a:extLst>
          </p:cNvPr>
          <p:cNvSpPr/>
          <p:nvPr/>
        </p:nvSpPr>
        <p:spPr bwMode="auto">
          <a:xfrm>
            <a:off x="3816783" y="3358989"/>
            <a:ext cx="1981782" cy="162428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4488" dirty="0">
                <a:gradFill>
                  <a:gsLst>
                    <a:gs pos="0">
                      <a:srgbClr val="FFFFFF"/>
                    </a:gs>
                    <a:gs pos="100000">
                      <a:srgbClr val="FFFFFF"/>
                    </a:gs>
                  </a:gsLst>
                  <a:lin ang="5400000" scaled="0"/>
                </a:gradFill>
                <a:latin typeface="Segoe UI"/>
                <a:ea typeface="Segoe UI" pitchFamily="34" charset="0"/>
                <a:cs typeface="Segoe UI" pitchFamily="34" charset="0"/>
              </a:rPr>
              <a:t>RAM</a:t>
            </a: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EA071DEE-322D-4CC7-B88A-E98DF349D823}"/>
              </a:ext>
            </a:extLst>
          </p:cNvPr>
          <p:cNvSpPr/>
          <p:nvPr/>
        </p:nvSpPr>
        <p:spPr bwMode="auto">
          <a:xfrm>
            <a:off x="6902146" y="3358989"/>
            <a:ext cx="1981782" cy="162428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4488" dirty="0">
                <a:gradFill>
                  <a:gsLst>
                    <a:gs pos="0">
                      <a:srgbClr val="FFFFFF"/>
                    </a:gs>
                    <a:gs pos="100000">
                      <a:srgbClr val="FFFFFF"/>
                    </a:gs>
                  </a:gsLst>
                  <a:lin ang="5400000" scaled="0"/>
                </a:gradFill>
                <a:latin typeface="Segoe UI"/>
                <a:ea typeface="Segoe UI" pitchFamily="34" charset="0"/>
                <a:cs typeface="Segoe UI" pitchFamily="34" charset="0"/>
              </a:rPr>
              <a:t>I/O</a:t>
            </a: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53686D6-BF30-412D-AF35-9BB6CBAB1C4B}"/>
              </a:ext>
            </a:extLst>
          </p:cNvPr>
          <p:cNvSpPr/>
          <p:nvPr/>
        </p:nvSpPr>
        <p:spPr bwMode="auto">
          <a:xfrm>
            <a:off x="731421" y="5231968"/>
            <a:ext cx="8152507" cy="6528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4488" dirty="0" err="1">
                <a:gradFill>
                  <a:gsLst>
                    <a:gs pos="0">
                      <a:srgbClr val="FFFFFF"/>
                    </a:gs>
                    <a:gs pos="100000">
                      <a:srgbClr val="FFFFFF"/>
                    </a:gs>
                  </a:gsLst>
                  <a:lin ang="5400000" scaled="0"/>
                </a:gradFill>
                <a:latin typeface="Segoe UI"/>
                <a:ea typeface="Segoe UI" pitchFamily="34" charset="0"/>
                <a:cs typeface="Segoe UI" pitchFamily="34" charset="0"/>
              </a:rPr>
              <a:t>cDWUs</a:t>
            </a:r>
            <a:endParaRPr lang="en-US" sz="2040" dirty="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16" name="Table 15">
            <a:extLst>
              <a:ext uri="{FF2B5EF4-FFF2-40B4-BE49-F238E27FC236}">
                <a16:creationId xmlns:a16="http://schemas.microsoft.com/office/drawing/2014/main" id="{72D5E3EF-ED4E-427C-BF3A-1362ED912E11}"/>
              </a:ext>
            </a:extLst>
          </p:cNvPr>
          <p:cNvGraphicFramePr>
            <a:graphicFrameLocks noGrp="1"/>
          </p:cNvGraphicFramePr>
          <p:nvPr/>
        </p:nvGraphicFramePr>
        <p:xfrm>
          <a:off x="10189921" y="555404"/>
          <a:ext cx="1715686" cy="5149490"/>
        </p:xfrm>
        <a:graphic>
          <a:graphicData uri="http://schemas.openxmlformats.org/drawingml/2006/table">
            <a:tbl>
              <a:tblPr firstRow="1" bandRow="1"/>
              <a:tblGrid>
                <a:gridCol w="1715686">
                  <a:extLst>
                    <a:ext uri="{9D8B030D-6E8A-4147-A177-3AD203B41FA5}">
                      <a16:colId xmlns:a16="http://schemas.microsoft.com/office/drawing/2014/main" val="4153378583"/>
                    </a:ext>
                  </a:extLst>
                </a:gridCol>
              </a:tblGrid>
              <a:tr h="744110">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2400" dirty="0" err="1"/>
                        <a:t>cDWU</a:t>
                      </a:r>
                      <a:endParaRPr lang="en-US" sz="2400" b="0" dirty="0">
                        <a:solidFill>
                          <a:schemeClr val="bg1"/>
                        </a:solidFill>
                        <a:latin typeface="+mn-lt"/>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737373"/>
                    </a:solidFill>
                  </a:tcPr>
                </a:tc>
                <a:extLst>
                  <a:ext uri="{0D108BD9-81ED-4DB2-BD59-A6C34878D82A}">
                    <a16:rowId xmlns:a16="http://schemas.microsoft.com/office/drawing/2014/main" val="2533851355"/>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t>100</a:t>
                      </a:r>
                      <a:endParaRPr lang="en-US" sz="200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737373">
                        <a:tint val="20000"/>
                      </a:srgbClr>
                    </a:solidFill>
                  </a:tcPr>
                </a:tc>
                <a:extLst>
                  <a:ext uri="{0D108BD9-81ED-4DB2-BD59-A6C34878D82A}">
                    <a16:rowId xmlns:a16="http://schemas.microsoft.com/office/drawing/2014/main" val="3477186362"/>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t>200</a:t>
                      </a:r>
                      <a:endParaRPr lang="en-US" sz="200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7118834"/>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t>300</a:t>
                      </a:r>
                      <a:endParaRPr lang="en-US" sz="200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737373">
                        <a:tint val="20000"/>
                      </a:srgbClr>
                    </a:solidFill>
                  </a:tcPr>
                </a:tc>
                <a:extLst>
                  <a:ext uri="{0D108BD9-81ED-4DB2-BD59-A6C34878D82A}">
                    <a16:rowId xmlns:a16="http://schemas.microsoft.com/office/drawing/2014/main" val="1753638064"/>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dirty="0"/>
                        <a:t>400</a:t>
                      </a:r>
                      <a:endParaRPr lang="en-US" sz="2000" dirty="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15905599"/>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dirty="0"/>
                        <a:t>500</a:t>
                      </a:r>
                      <a:endParaRPr lang="en-US" sz="2000" dirty="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737373">
                        <a:tint val="20000"/>
                      </a:srgbClr>
                    </a:solidFill>
                  </a:tcPr>
                </a:tc>
                <a:extLst>
                  <a:ext uri="{0D108BD9-81ED-4DB2-BD59-A6C34878D82A}">
                    <a16:rowId xmlns:a16="http://schemas.microsoft.com/office/drawing/2014/main" val="1849564835"/>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dirty="0"/>
                        <a:t>1000</a:t>
                      </a:r>
                      <a:endParaRPr lang="en-US" sz="2000" dirty="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ap="flat" cmpd="sng" algn="ctr">
                      <a:solidFill>
                        <a:srgbClr val="737373"/>
                      </a:solidFill>
                      <a:prstDash val="solid"/>
                      <a:round/>
                      <a:headEnd type="none" w="med" len="med"/>
                      <a:tailEnd type="none" w="med" len="med"/>
                    </a:lnT>
                    <a:lnB w="12700" cmpd="sng">
                      <a:solidFill>
                        <a:srgbClr val="737373"/>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425811"/>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dirty="0"/>
                        <a:t>1500</a:t>
                      </a:r>
                      <a:endParaRPr lang="en-US" sz="2000" dirty="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ap="flat" cmpd="sng" algn="ctr">
                      <a:solidFill>
                        <a:srgbClr val="737373"/>
                      </a:solidFill>
                      <a:prstDash val="solid"/>
                      <a:round/>
                      <a:headEnd type="none" w="med" len="med"/>
                      <a:tailEnd type="none" w="med" len="med"/>
                    </a:lnT>
                    <a:lnB w="12700" cmpd="sng">
                      <a:solidFill>
                        <a:srgbClr val="737373"/>
                      </a:solidFill>
                    </a:lnB>
                    <a:lnTlToBr w="12700" cmpd="sng">
                      <a:noFill/>
                      <a:prstDash val="solid"/>
                    </a:lnTlToBr>
                    <a:lnBlToTr w="12700" cmpd="sng">
                      <a:noFill/>
                      <a:prstDash val="solid"/>
                    </a:lnBlToTr>
                    <a:solidFill>
                      <a:srgbClr val="737373">
                        <a:tint val="20000"/>
                      </a:srgbClr>
                    </a:solidFill>
                  </a:tcPr>
                </a:tc>
                <a:extLst>
                  <a:ext uri="{0D108BD9-81ED-4DB2-BD59-A6C34878D82A}">
                    <a16:rowId xmlns:a16="http://schemas.microsoft.com/office/drawing/2014/main" val="3231641694"/>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t>2000</a:t>
                      </a:r>
                      <a:endParaRPr lang="en-US" sz="200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6155575"/>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t>3000</a:t>
                      </a:r>
                      <a:endParaRPr lang="en-US" sz="200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737373">
                        <a:tint val="20000"/>
                      </a:srgbClr>
                    </a:solidFill>
                  </a:tcPr>
                </a:tc>
                <a:extLst>
                  <a:ext uri="{0D108BD9-81ED-4DB2-BD59-A6C34878D82A}">
                    <a16:rowId xmlns:a16="http://schemas.microsoft.com/office/drawing/2014/main" val="520820379"/>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t>6000</a:t>
                      </a:r>
                      <a:endParaRPr lang="en-US" sz="2000">
                        <a:gradFill>
                          <a:gsLst>
                            <a:gs pos="66981">
                              <a:schemeClr val="tx1">
                                <a:lumMod val="75000"/>
                                <a:lumOff val="25000"/>
                              </a:schemeClr>
                            </a:gs>
                            <a:gs pos="0">
                              <a:schemeClr val="tx1">
                                <a:lumMod val="75000"/>
                                <a:lumOff val="25000"/>
                              </a:schemeClr>
                            </a:gs>
                          </a:gsLst>
                          <a:lin ang="5400000" scaled="0"/>
                        </a:gradFill>
                      </a:endParaRP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39557582"/>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a:solidFill>
                            <a:schemeClr val="tx1"/>
                          </a:solidFill>
                        </a:rPr>
                        <a:t>…</a:t>
                      </a: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737373">
                        <a:tint val="20000"/>
                      </a:srgbClr>
                    </a:solidFill>
                  </a:tcPr>
                </a:tc>
                <a:extLst>
                  <a:ext uri="{0D108BD9-81ED-4DB2-BD59-A6C34878D82A}">
                    <a16:rowId xmlns:a16="http://schemas.microsoft.com/office/drawing/2014/main" val="1619682564"/>
                  </a:ext>
                </a:extLst>
              </a:tr>
              <a:tr h="36711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sz="2000" dirty="0">
                          <a:solidFill>
                            <a:schemeClr val="tx1"/>
                          </a:solidFill>
                        </a:rPr>
                        <a:t>30000</a:t>
                      </a:r>
                    </a:p>
                  </a:txBody>
                  <a:tcPr marL="93247" marR="93247" marT="0" marB="0" anchor="ctr">
                    <a:lnL w="12700" cmpd="sng">
                      <a:solidFill>
                        <a:srgbClr val="737373"/>
                      </a:solidFill>
                    </a:lnL>
                    <a:lnR w="12700" cmpd="sng">
                      <a:solidFill>
                        <a:srgbClr val="737373"/>
                      </a:solidFill>
                    </a:lnR>
                    <a:lnT w="12700" cmpd="sng">
                      <a:solidFill>
                        <a:srgbClr val="737373"/>
                      </a:solidFill>
                    </a:lnT>
                    <a:lnB w="12700" cmpd="sng">
                      <a:solidFill>
                        <a:srgbClr val="737373"/>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66515835"/>
                  </a:ext>
                </a:extLst>
              </a:tr>
            </a:tbl>
          </a:graphicData>
        </a:graphic>
      </p:graphicFrame>
    </p:spTree>
    <p:extLst>
      <p:ext uri="{BB962C8B-B14F-4D97-AF65-F5344CB8AC3E}">
        <p14:creationId xmlns:p14="http://schemas.microsoft.com/office/powerpoint/2010/main" val="740811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4FF8-EC7A-4C87-8567-8BACFD795911}"/>
              </a:ext>
            </a:extLst>
          </p:cNvPr>
          <p:cNvSpPr>
            <a:spLocks noGrp="1"/>
          </p:cNvSpPr>
          <p:nvPr>
            <p:ph type="title"/>
          </p:nvPr>
        </p:nvSpPr>
        <p:spPr>
          <a:xfrm>
            <a:off x="669572" y="326411"/>
            <a:ext cx="11097332" cy="941711"/>
          </a:xfrm>
        </p:spPr>
        <p:txBody>
          <a:bodyPr/>
          <a:lstStyle/>
          <a:p>
            <a:r>
              <a:rPr lang="en-US" dirty="0"/>
              <a:t>Compute Data Warehouse Units – Memory and  Adaptive Cache</a:t>
            </a:r>
          </a:p>
        </p:txBody>
      </p:sp>
      <p:sp>
        <p:nvSpPr>
          <p:cNvPr id="3" name="Content Placeholder 2">
            <a:extLst>
              <a:ext uri="{FF2B5EF4-FFF2-40B4-BE49-F238E27FC236}">
                <a16:creationId xmlns:a16="http://schemas.microsoft.com/office/drawing/2014/main" id="{5A30ECC7-8433-4B94-890E-DD7A842C9CA1}"/>
              </a:ext>
            </a:extLst>
          </p:cNvPr>
          <p:cNvSpPr>
            <a:spLocks noGrp="1"/>
          </p:cNvSpPr>
          <p:nvPr>
            <p:ph sz="quarter" idx="13"/>
          </p:nvPr>
        </p:nvSpPr>
        <p:spPr>
          <a:xfrm>
            <a:off x="669571" y="1436145"/>
            <a:ext cx="3862208" cy="4915597"/>
          </a:xfrm>
        </p:spPr>
        <p:txBody>
          <a:bodyPr vert="horz" lIns="0" tIns="0" rIns="0" bIns="0" rtlCol="0" anchor="t">
            <a:normAutofit/>
          </a:bodyPr>
          <a:lstStyle/>
          <a:p>
            <a:pPr marL="475365" indent="-475365">
              <a:buFont typeface="Arial" panose="020B0604020202020204" pitchFamily="34" charset="0"/>
              <a:buChar char="•"/>
            </a:pPr>
            <a:r>
              <a:rPr lang="en-US" sz="2040" dirty="0">
                <a:cs typeface="Segoe UI"/>
              </a:rPr>
              <a:t>300 GB per DWU500</a:t>
            </a:r>
          </a:p>
          <a:p>
            <a:pPr marL="475365" indent="-475365">
              <a:buFont typeface="Arial" panose="020B0604020202020204" pitchFamily="34" charset="0"/>
              <a:buChar char="•"/>
            </a:pPr>
            <a:r>
              <a:rPr lang="en-US" sz="2040" dirty="0">
                <a:cs typeface="Segoe UI"/>
              </a:rPr>
              <a:t>1.5TB cache per DWU 500</a:t>
            </a:r>
            <a:endParaRPr lang="en-US" dirty="0">
              <a:cs typeface="Segoe UI"/>
            </a:endParaRPr>
          </a:p>
          <a:p>
            <a:pPr marL="475365" indent="-475365">
              <a:buFont typeface="Arial" panose="020B0604020202020204" pitchFamily="34" charset="0"/>
              <a:buChar char="•"/>
            </a:pPr>
            <a:r>
              <a:rPr lang="en-US" sz="2040" dirty="0"/>
              <a:t>EXEC </a:t>
            </a:r>
            <a:r>
              <a:rPr lang="en-US" sz="2040" b="1" dirty="0" err="1"/>
              <a:t>sp_spaceused</a:t>
            </a:r>
            <a:r>
              <a:rPr lang="en-US" sz="2040" dirty="0"/>
              <a:t> </a:t>
            </a:r>
          </a:p>
          <a:p>
            <a:pPr marL="475365" indent="-475365">
              <a:buFont typeface="Arial" panose="020B0604020202020204" pitchFamily="34" charset="0"/>
              <a:buChar char="•"/>
            </a:pPr>
            <a:r>
              <a:rPr lang="en-US" sz="2040" dirty="0"/>
              <a:t>This cache is </a:t>
            </a:r>
            <a:r>
              <a:rPr lang="en-US" sz="2040" i="1" dirty="0"/>
              <a:t>per node</a:t>
            </a:r>
          </a:p>
          <a:p>
            <a:pPr marL="316694" indent="-316694"/>
            <a:endParaRPr lang="en-US" dirty="0"/>
          </a:p>
        </p:txBody>
      </p:sp>
      <p:graphicFrame>
        <p:nvGraphicFramePr>
          <p:cNvPr id="4" name="Table 3">
            <a:extLst>
              <a:ext uri="{FF2B5EF4-FFF2-40B4-BE49-F238E27FC236}">
                <a16:creationId xmlns:a16="http://schemas.microsoft.com/office/drawing/2014/main" id="{F755E1A2-04BB-4AD4-8D54-EB497B53BF13}"/>
              </a:ext>
            </a:extLst>
          </p:cNvPr>
          <p:cNvGraphicFramePr>
            <a:graphicFrameLocks noGrp="1"/>
          </p:cNvGraphicFramePr>
          <p:nvPr/>
        </p:nvGraphicFramePr>
        <p:xfrm>
          <a:off x="5029491" y="1257029"/>
          <a:ext cx="6997888" cy="5440554"/>
        </p:xfrm>
        <a:graphic>
          <a:graphicData uri="http://schemas.openxmlformats.org/drawingml/2006/table">
            <a:tbl>
              <a:tblPr>
                <a:tableStyleId>{5C22544A-7EE6-4342-B048-85BDC9FD1C3A}</a:tableStyleId>
              </a:tblPr>
              <a:tblGrid>
                <a:gridCol w="1847790">
                  <a:extLst>
                    <a:ext uri="{9D8B030D-6E8A-4147-A177-3AD203B41FA5}">
                      <a16:colId xmlns:a16="http://schemas.microsoft.com/office/drawing/2014/main" val="2286826540"/>
                    </a:ext>
                  </a:extLst>
                </a:gridCol>
                <a:gridCol w="1901270">
                  <a:extLst>
                    <a:ext uri="{9D8B030D-6E8A-4147-A177-3AD203B41FA5}">
                      <a16:colId xmlns:a16="http://schemas.microsoft.com/office/drawing/2014/main" val="470242949"/>
                    </a:ext>
                  </a:extLst>
                </a:gridCol>
                <a:gridCol w="1624414">
                  <a:extLst>
                    <a:ext uri="{9D8B030D-6E8A-4147-A177-3AD203B41FA5}">
                      <a16:colId xmlns:a16="http://schemas.microsoft.com/office/drawing/2014/main" val="1345424083"/>
                    </a:ext>
                  </a:extLst>
                </a:gridCol>
                <a:gridCol w="1624414">
                  <a:extLst>
                    <a:ext uri="{9D8B030D-6E8A-4147-A177-3AD203B41FA5}">
                      <a16:colId xmlns:a16="http://schemas.microsoft.com/office/drawing/2014/main" val="1049291834"/>
                    </a:ext>
                  </a:extLst>
                </a:gridCol>
              </a:tblGrid>
              <a:tr h="628340">
                <a:tc>
                  <a:txBody>
                    <a:bodyPr/>
                    <a:lstStyle/>
                    <a:p>
                      <a:pPr algn="ctr" fontAlgn="ctr"/>
                      <a:r>
                        <a:rPr lang="en-US" sz="2000" b="0" i="0" u="none" strike="noStrike">
                          <a:solidFill>
                            <a:srgbClr val="000000"/>
                          </a:solidFill>
                          <a:effectLst/>
                          <a:latin typeface="Segoe UI (Body)"/>
                        </a:rPr>
                        <a:t>DWU</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Cache</a:t>
                      </a:r>
                    </a:p>
                    <a:p>
                      <a:pPr algn="ctr" fontAlgn="ctr"/>
                      <a:r>
                        <a:rPr lang="en-US" sz="2000" b="0" i="0" u="none" strike="noStrike" dirty="0">
                          <a:solidFill>
                            <a:srgbClr val="000000"/>
                          </a:solidFill>
                          <a:effectLst/>
                          <a:latin typeface="Segoe UI (Body)"/>
                        </a:rPr>
                        <a:t>(TB)</a:t>
                      </a:r>
                    </a:p>
                  </a:txBody>
                  <a:tcPr marL="6605" marR="6605" marT="66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37474">
                <a:tc>
                  <a:txBody>
                    <a:bodyPr/>
                    <a:lstStyle/>
                    <a:p>
                      <a:pPr algn="ctr" fontAlgn="ctr"/>
                      <a:r>
                        <a:rPr lang="en-US" sz="2000" u="none" strike="noStrike" dirty="0">
                          <a:effectLst/>
                          <a:latin typeface="Segoe UI (Body)"/>
                        </a:rPr>
                        <a:t>1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4</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3</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37474">
                <a:tc>
                  <a:txBody>
                    <a:bodyPr/>
                    <a:lstStyle/>
                    <a:p>
                      <a:pPr algn="ctr" fontAlgn="ctr"/>
                      <a:r>
                        <a:rPr lang="en-US" sz="2000" u="none" strike="noStrike" dirty="0">
                          <a:effectLst/>
                          <a:latin typeface="Segoe UI (Body)"/>
                        </a:rPr>
                        <a:t>15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6</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4.5</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37474">
                <a:tc>
                  <a:txBody>
                    <a:bodyPr/>
                    <a:lstStyle/>
                    <a:p>
                      <a:pPr algn="ctr" fontAlgn="ctr"/>
                      <a:r>
                        <a:rPr lang="en-US" sz="2000" u="none" strike="noStrike" dirty="0">
                          <a:effectLst/>
                          <a:latin typeface="Segoe UI (Body)"/>
                        </a:rPr>
                        <a:t>2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2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8</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37474">
                <a:tc>
                  <a:txBody>
                    <a:bodyPr/>
                    <a:lstStyle/>
                    <a:p>
                      <a:pPr algn="ctr" fontAlgn="ctr"/>
                      <a:r>
                        <a:rPr lang="en-US" sz="2000" u="none" strike="noStrike" dirty="0">
                          <a:effectLst/>
                          <a:latin typeface="Segoe UI (Body)"/>
                        </a:rPr>
                        <a:t>25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5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1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37474">
                <a:tc>
                  <a:txBody>
                    <a:bodyPr/>
                    <a:lstStyle/>
                    <a:p>
                      <a:pPr algn="ctr" fontAlgn="ctr"/>
                      <a:r>
                        <a:rPr lang="en-US" sz="2000" u="none" strike="noStrike" dirty="0">
                          <a:effectLst/>
                          <a:latin typeface="Segoe UI (Body)"/>
                        </a:rPr>
                        <a:t>3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20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2</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37474">
                <a:tc>
                  <a:txBody>
                    <a:bodyPr/>
                    <a:lstStyle/>
                    <a:p>
                      <a:pPr algn="ctr" fontAlgn="ctr"/>
                      <a:r>
                        <a:rPr lang="en-US" sz="2000" u="none" strike="noStrike" dirty="0">
                          <a:effectLst/>
                          <a:latin typeface="Segoe UI (Body)"/>
                        </a:rPr>
                        <a:t>5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0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9</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5</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37474">
                <a:tc>
                  <a:txBody>
                    <a:bodyPr/>
                    <a:lstStyle/>
                    <a:p>
                      <a:pPr algn="ctr" fontAlgn="ctr"/>
                      <a:r>
                        <a:rPr lang="en-US" sz="2000" u="none" strike="noStrike" dirty="0">
                          <a:effectLst/>
                          <a:latin typeface="Segoe UI (Body)"/>
                        </a:rPr>
                        <a:t>6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6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3</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37474">
                <a:tc>
                  <a:txBody>
                    <a:bodyPr/>
                    <a:lstStyle/>
                    <a:p>
                      <a:pPr algn="ctr" fontAlgn="ctr"/>
                      <a:r>
                        <a:rPr lang="en-US" sz="2000" u="none" strike="noStrike" dirty="0">
                          <a:effectLst/>
                          <a:latin typeface="Segoe UI (Body)"/>
                        </a:rPr>
                        <a:t>75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45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9</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37474">
                <a:tc>
                  <a:txBody>
                    <a:bodyPr/>
                    <a:lstStyle/>
                    <a:p>
                      <a:pPr algn="ctr" fontAlgn="ctr"/>
                      <a:r>
                        <a:rPr lang="en-US" sz="2000" u="none" strike="noStrike" dirty="0">
                          <a:effectLst/>
                          <a:latin typeface="Segoe UI (Body)"/>
                        </a:rPr>
                        <a:t>10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39</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37474">
                <a:tc>
                  <a:txBody>
                    <a:bodyPr/>
                    <a:lstStyle/>
                    <a:p>
                      <a:pPr algn="ctr" fontAlgn="ctr"/>
                      <a:r>
                        <a:rPr lang="en-US" sz="2000" u="none" strike="noStrike" dirty="0">
                          <a:effectLst/>
                          <a:latin typeface="Segoe UI (Body)"/>
                        </a:rPr>
                        <a:t>15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58</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37474">
                <a:tc>
                  <a:txBody>
                    <a:bodyPr/>
                    <a:lstStyle/>
                    <a:p>
                      <a:pPr algn="ctr" fontAlgn="ctr"/>
                      <a:r>
                        <a:rPr lang="en-US" sz="2000" u="none" strike="noStrike" dirty="0">
                          <a:effectLst/>
                          <a:latin typeface="Segoe UI (Body)"/>
                        </a:rPr>
                        <a:t>30000</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8000</a:t>
                      </a: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17</a:t>
                      </a:r>
                      <a:endParaRPr lang="en-US" sz="2000" b="0" i="0" u="none" strike="noStrike" dirty="0">
                        <a:solidFill>
                          <a:srgbClr val="000000"/>
                        </a:solidFill>
                        <a:effectLst/>
                        <a:latin typeface="Segoe UI (Body)"/>
                      </a:endParaRPr>
                    </a:p>
                  </a:txBody>
                  <a:tcPr marL="4821" marR="4821" marT="48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605" marR="6605" marT="660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28187695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TIMING" val="|6.1|15.9"/>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049C9B04-611F-4F96-A503-3B399F13ECCB}"/>
    </a:ext>
  </a:extLst>
</a:theme>
</file>

<file path=ppt/theme/theme3.xml><?xml version="1.0" encoding="utf-8"?>
<a:theme xmlns:a="http://schemas.openxmlformats.org/drawingml/2006/main" name="Theme1">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Theme1" id="{349BCF27-C73A-42D7-B8CA-9EE08F400EB0}" vid="{2AB530F0-C036-482A-86E1-D42F9CB4AA29}"/>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Master_Template_Synapse.pptx" id="{79629E0D-DE60-400E-921E-E5299AF045D4}" vid="{B048F383-D88F-4C72-AC28-19BD49D003A5}"/>
    </a:ext>
  </a:extLst>
</a:theme>
</file>

<file path=ppt/theme/theme5.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purl.org/dc/dcmitype/"/>
    <ds:schemaRef ds:uri="http://purl.org/dc/terms/"/>
    <ds:schemaRef ds:uri="http://purl.org/dc/elements/1.1/"/>
    <ds:schemaRef ds:uri="ac57c417-f8e7-4332-a7b2-e7f34f734ebc"/>
    <ds:schemaRef ds:uri="http://schemas.microsoft.com/office/2006/metadata/properties"/>
    <ds:schemaRef ds:uri="http://schemas.microsoft.com/sharepoint/v3"/>
    <ds:schemaRef ds:uri="http://schemas.microsoft.com/office/infopath/2007/PartnerControls"/>
    <ds:schemaRef ds:uri="http://schemas.openxmlformats.org/package/2006/metadata/core-properties"/>
    <ds:schemaRef ds:uri="40650e35-5471-45d3-b28a-3f2a8b1bc025"/>
    <ds:schemaRef ds:uri="http://www.w3.org/XML/1998/namespace"/>
    <ds:schemaRef ds:uri="0b15a96f-9efd-4f0c-b199-c53b2a01cb9d"/>
    <ds:schemaRef ds:uri="6cd3d847-4521-4863-8800-2cff076dfc18"/>
    <ds:schemaRef ds:uri="230e9df3-be65-4c73-a93b-d1236ebd677e"/>
  </ds:schemaRefs>
</ds:datastoreItem>
</file>

<file path=customXml/itemProps2.xml><?xml version="1.0" encoding="utf-8"?>
<ds:datastoreItem xmlns:ds="http://schemas.openxmlformats.org/officeDocument/2006/customXml" ds:itemID="{81A5550D-B138-4182-9A9D-4110A11BBE58}">
  <ds:schemaRefs>
    <ds:schemaRef ds:uri="Strauss.PersonalizationDefinition"/>
  </ds:schemaRefs>
</ds:datastoreItem>
</file>

<file path=customXml/itemProps3.xml><?xml version="1.0" encoding="utf-8"?>
<ds:datastoreItem xmlns:ds="http://schemas.openxmlformats.org/officeDocument/2006/customXml" ds:itemID="{9E1BBC74-7078-4191-98A9-5EC293C832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5.xml><?xml version="1.0" encoding="utf-8"?>
<ds:datastoreItem xmlns:ds="http://schemas.openxmlformats.org/officeDocument/2006/customXml" ds:itemID="{772CAEB3-F6A6-459B-BBBC-D05E94E0B7A0}">
  <ds:schemaRefs>
    <ds:schemaRef ds:uri="Strauss.PersonalizationDefinition"/>
  </ds:schemaRefs>
</ds:datastoreItem>
</file>

<file path=customXml/itemProps6.xml><?xml version="1.0" encoding="utf-8"?>
<ds:datastoreItem xmlns:ds="http://schemas.openxmlformats.org/officeDocument/2006/customXml" ds:itemID="{14CA8128-2005-44FE-9899-945704087947}">
  <ds:schemaRefs>
    <ds:schemaRef ds:uri="Strauss.PersonalizationDefinition"/>
  </ds:schemaRefs>
</ds:datastoreItem>
</file>

<file path=customXml/itemProps7.xml><?xml version="1.0" encoding="utf-8"?>
<ds:datastoreItem xmlns:ds="http://schemas.openxmlformats.org/officeDocument/2006/customXml" ds:itemID="{C68DFDA4-9A7D-4A03-88F7-3F01D0044E37}">
  <ds:schemaRefs>
    <ds:schemaRef ds:uri="Strauss.PersonalizationDefinition"/>
  </ds:schemaRefs>
</ds:datastoreItem>
</file>

<file path=customXml/itemProps8.xml><?xml version="1.0" encoding="utf-8"?>
<ds:datastoreItem xmlns:ds="http://schemas.openxmlformats.org/officeDocument/2006/customXml" ds:itemID="{B8771E8B-20B3-470C-9F0F-9C4772186AD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PTO Module template</Template>
  <TotalTime>1050</TotalTime>
  <Words>12689</Words>
  <Application>Microsoft Office PowerPoint</Application>
  <PresentationFormat>Custom</PresentationFormat>
  <Paragraphs>1317</Paragraphs>
  <Slides>66</Slides>
  <Notes>64</Notes>
  <HiddenSlides>3</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66</vt:i4>
      </vt:variant>
    </vt:vector>
  </HeadingPairs>
  <TitlesOfParts>
    <vt:vector size="87" baseType="lpstr">
      <vt:lpstr>NSimSun</vt:lpstr>
      <vt:lpstr>Arial</vt:lpstr>
      <vt:lpstr>Calibri</vt:lpstr>
      <vt:lpstr>Calibri Light</vt:lpstr>
      <vt:lpstr>Comic Sans MS</vt:lpstr>
      <vt:lpstr>Consolas</vt:lpstr>
      <vt:lpstr>Lucida Console</vt:lpstr>
      <vt:lpstr>Segoe UI</vt:lpstr>
      <vt:lpstr>Segoe UI (Body)</vt:lpstr>
      <vt:lpstr>Segoe UI Light</vt:lpstr>
      <vt:lpstr>Segoe UI Semibold</vt:lpstr>
      <vt:lpstr>Segoe UI Semilight</vt:lpstr>
      <vt:lpstr>SFMono-Regular</vt:lpstr>
      <vt:lpstr>Wingdings</vt:lpstr>
      <vt:lpstr>WHITE TEMPLATE</vt:lpstr>
      <vt:lpstr>COLOR TEMPLATE</vt:lpstr>
      <vt:lpstr>Theme1</vt:lpstr>
      <vt:lpstr>1_Dark Blue</vt:lpstr>
      <vt:lpstr>Dark Blue</vt:lpstr>
      <vt:lpstr>Template</vt:lpstr>
      <vt:lpstr>Bitmap Image</vt:lpstr>
      <vt:lpstr>Optimize Azure Synapse SQL Pools</vt:lpstr>
      <vt:lpstr>Table Architecture</vt:lpstr>
      <vt:lpstr>PowerPoint Presentation</vt:lpstr>
      <vt:lpstr>Learning Units covered in this Module</vt:lpstr>
      <vt:lpstr>Review: Synapse SQL Pool Architecture</vt:lpstr>
      <vt:lpstr>Synapse SQL MPP Architecture</vt:lpstr>
      <vt:lpstr>PowerPoint Presentation</vt:lpstr>
      <vt:lpstr>Compute Data Warehouse Units (cDWUs)</vt:lpstr>
      <vt:lpstr>Compute Data Warehouse Units – Memory and  Adaptive Cache</vt:lpstr>
      <vt:lpstr>Separate Compute From Storage </vt:lpstr>
      <vt:lpstr>Independently Scale Compute </vt:lpstr>
      <vt:lpstr>Pause and Resume Workload</vt:lpstr>
      <vt:lpstr>Scaling Compute</vt:lpstr>
      <vt:lpstr>Query Execution</vt:lpstr>
      <vt:lpstr>Lesson 1: Introduction to Table Architecture</vt:lpstr>
      <vt:lpstr>Objectives</vt:lpstr>
      <vt:lpstr>Distributions</vt:lpstr>
      <vt:lpstr>Separation of Compute from Storage</vt:lpstr>
      <vt:lpstr>Table Types</vt:lpstr>
      <vt:lpstr>Hash-distributed Tables: Distribution</vt:lpstr>
      <vt:lpstr>Hash-distributed Tables: When to use</vt:lpstr>
      <vt:lpstr>Hash-distributed Tables: Joins</vt:lpstr>
      <vt:lpstr>Hash-distributed Tables: Choosing a Distribution Key</vt:lpstr>
      <vt:lpstr>Hash-distributed Tables: Minimize Data Movement</vt:lpstr>
      <vt:lpstr>Hash-distributed Tables: Minimize Data Movement</vt:lpstr>
      <vt:lpstr>PowerPoint Presentation</vt:lpstr>
      <vt:lpstr>Hash-distributed tables: Minimize Data Skew</vt:lpstr>
      <vt:lpstr>Hash-distributed Tables: Minimize Data Skew</vt:lpstr>
      <vt:lpstr>Hash-distributed tables: Minimize Data Skew</vt:lpstr>
      <vt:lpstr>Hash-distributed Tables: Balanced Execution</vt:lpstr>
      <vt:lpstr>Demonst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licated Tables: Caching</vt:lpstr>
      <vt:lpstr>Replicated Tables: Cache / Re-cache</vt:lpstr>
      <vt:lpstr>Replicated Tables: Monitoring Cache Status</vt:lpstr>
      <vt:lpstr>PowerPoint Presentation</vt:lpstr>
      <vt:lpstr>Knowledge Check – Table Architecture</vt:lpstr>
      <vt:lpstr>Lesson 2: Table Persistence</vt:lpstr>
      <vt:lpstr>Objectives</vt:lpstr>
      <vt:lpstr>Table Location Types</vt:lpstr>
      <vt:lpstr>Temporary Tables</vt:lpstr>
      <vt:lpstr>Temporary Tables: Statistics</vt:lpstr>
      <vt:lpstr>External Tables</vt:lpstr>
      <vt:lpstr>External Tables: Creating External Tables</vt:lpstr>
      <vt:lpstr>Knowledge Check – Table Persistence</vt:lpstr>
      <vt:lpstr>Lesson 3: Views</vt:lpstr>
      <vt:lpstr>Objectives</vt:lpstr>
      <vt:lpstr>PowerPoint Presentation</vt:lpstr>
      <vt:lpstr>PowerPoint Presentation</vt:lpstr>
      <vt:lpstr>PowerPoint Presentation</vt:lpstr>
      <vt:lpstr>Standard Views vs Materialized Views</vt:lpstr>
      <vt:lpstr> </vt:lpstr>
      <vt:lpstr>PowerPoint Presentation</vt:lpstr>
      <vt:lpstr>PowerPoint Presentation</vt:lpstr>
      <vt:lpstr>Materialized Views in SQL Pools: Other Considerations</vt:lpstr>
      <vt:lpstr>PowerPoint Presentation</vt:lpstr>
      <vt:lpstr>Materialized Views: Checking View Overhead</vt:lpstr>
      <vt:lpstr>Demonstration</vt:lpstr>
      <vt:lpstr>Knowledge Check – View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DW – Table Design</dc:title>
  <dc:subject>&lt;Speech title here&gt;</dc:subject>
  <dc:creator>Nick Salch</dc:creator>
  <cp:keywords>MSVID, Brand Guidelines, Branding, Visual Identity, grid</cp:keywords>
  <dc:description>Template: Maryfj_x000d_
Formatting: _x000d_
Audience Type:</dc:description>
  <cp:lastModifiedBy>John Deardurff</cp:lastModifiedBy>
  <cp:revision>95</cp:revision>
  <dcterms:created xsi:type="dcterms:W3CDTF">2018-01-19T21:17:19Z</dcterms:created>
  <dcterms:modified xsi:type="dcterms:W3CDTF">2022-04-19T16:4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4018ff3-f7cd-49ec-be29-23dee7970696</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SetDate">
    <vt:lpwstr>2017-10-04T13:15:56.0607831-07:00</vt:lpwstr>
  </property>
  <property fmtid="{D5CDD505-2E9C-101B-9397-08002B2CF9AE}" pid="16" name="MSIP_Label_f42aa342-8706-4288-bd11-ebb85995028c_Name">
    <vt:lpwstr>General</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y fmtid="{D5CDD505-2E9C-101B-9397-08002B2CF9AE}" pid="19" name="MediaServiceImageTags">
    <vt:lpwstr/>
  </property>
</Properties>
</file>